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66" r:id="rId4"/>
    <p:sldMasterId id="2147483847" r:id="rId5"/>
    <p:sldMasterId id="2147483884" r:id="rId6"/>
    <p:sldMasterId id="2147483917" r:id="rId7"/>
    <p:sldMasterId id="2147483954" r:id="rId8"/>
  </p:sldMasterIdLst>
  <p:notesMasterIdLst>
    <p:notesMasterId r:id="rId27"/>
  </p:notesMasterIdLst>
  <p:handoutMasterIdLst>
    <p:handoutMasterId r:id="rId28"/>
  </p:handoutMasterIdLst>
  <p:sldIdLst>
    <p:sldId id="279" r:id="rId9"/>
    <p:sldId id="319" r:id="rId10"/>
    <p:sldId id="382" r:id="rId11"/>
    <p:sldId id="372" r:id="rId12"/>
    <p:sldId id="412" r:id="rId13"/>
    <p:sldId id="405" r:id="rId14"/>
    <p:sldId id="406" r:id="rId15"/>
    <p:sldId id="407" r:id="rId16"/>
    <p:sldId id="408" r:id="rId17"/>
    <p:sldId id="413" r:id="rId18"/>
    <p:sldId id="411" r:id="rId19"/>
    <p:sldId id="400" r:id="rId20"/>
    <p:sldId id="397" r:id="rId21"/>
    <p:sldId id="410" r:id="rId22"/>
    <p:sldId id="387" r:id="rId23"/>
    <p:sldId id="388" r:id="rId24"/>
    <p:sldId id="404" r:id="rId25"/>
    <p:sldId id="342" r:id="rId26"/>
  </p:sldIdLst>
  <p:sldSz cx="12192000" cy="6858000"/>
  <p:notesSz cx="6858000" cy="91440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sic slides" id="{181D2C02-83EB-4D36-8480-ADD192D6B133}">
          <p14:sldIdLst>
            <p14:sldId id="279"/>
            <p14:sldId id="319"/>
            <p14:sldId id="382"/>
            <p14:sldId id="372"/>
            <p14:sldId id="412"/>
            <p14:sldId id="405"/>
            <p14:sldId id="406"/>
            <p14:sldId id="407"/>
            <p14:sldId id="408"/>
            <p14:sldId id="413"/>
            <p14:sldId id="411"/>
            <p14:sldId id="400"/>
            <p14:sldId id="397"/>
            <p14:sldId id="410"/>
            <p14:sldId id="387"/>
            <p14:sldId id="388"/>
            <p14:sldId id="404"/>
          </p14:sldIdLst>
        </p14:section>
        <p14:section name="More useful slides" id="{0AE2FE91-5B1D-4ABD-84C2-FBD837473E59}">
          <p14:sldIdLst>
            <p14:sldId id="342"/>
          </p14:sldIdLst>
        </p14:section>
      </p14:sectionLst>
    </p:ext>
    <p:ext uri="{EFAFB233-063F-42B5-8137-9DF3F51BA10A}">
      <p15:sldGuideLst xmlns:p15="http://schemas.microsoft.com/office/powerpoint/2012/main">
        <p15:guide id="1" orient="horz" pos="1752" userDrawn="1">
          <p15:clr>
            <a:srgbClr val="A4A3A4"/>
          </p15:clr>
        </p15:guide>
        <p15:guide id="2" pos="4363" userDrawn="1">
          <p15:clr>
            <a:srgbClr val="A4A3A4"/>
          </p15:clr>
        </p15:guide>
        <p15:guide id="3" orient="horz" pos="214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BDA8"/>
    <a:srgbClr val="E95326"/>
    <a:srgbClr val="2478AD"/>
    <a:srgbClr val="4D4D4D"/>
    <a:srgbClr val="00A9E0"/>
    <a:srgbClr val="D3E8F8"/>
    <a:srgbClr val="005E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72" autoAdjust="0"/>
    <p:restoredTop sz="93140" autoAdjust="0"/>
  </p:normalViewPr>
  <p:slideViewPr>
    <p:cSldViewPr snapToGrid="0" snapToObjects="1">
      <p:cViewPr varScale="1">
        <p:scale>
          <a:sx n="61" d="100"/>
          <a:sy n="61" d="100"/>
        </p:scale>
        <p:origin x="684" y="28"/>
      </p:cViewPr>
      <p:guideLst>
        <p:guide orient="horz" pos="1752"/>
        <p:guide pos="4363"/>
        <p:guide orient="horz" pos="2143"/>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0"/>
    </p:cViewPr>
  </p:sorterViewPr>
  <p:notesViewPr>
    <p:cSldViewPr snapToGrid="0" snapToObjects="1">
      <p:cViewPr varScale="1">
        <p:scale>
          <a:sx n="88" d="100"/>
          <a:sy n="88" d="100"/>
        </p:scale>
        <p:origin x="2964"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AABEB51-FB0B-4122-930F-C76579434EBC}" type="datetimeFigureOut">
              <a:rPr lang="en-GB" smtClean="0"/>
              <a:t>17/03/2019</a:t>
            </a:fld>
            <a:endParaRPr lang="en-GB" dirty="0"/>
          </a:p>
        </p:txBody>
      </p:sp>
      <p:sp>
        <p:nvSpPr>
          <p:cNvPr id="4" name="Footer Placeholder 3"/>
          <p:cNvSpPr>
            <a:spLocks noGrp="1"/>
          </p:cNvSpPr>
          <p:nvPr>
            <p:ph type="ftr" sz="quarter" idx="2"/>
          </p:nvPr>
        </p:nvSpPr>
        <p:spPr>
          <a:xfrm>
            <a:off x="0" y="8685213"/>
            <a:ext cx="3799114" cy="458787"/>
          </a:xfrm>
          <a:prstGeom prst="rect">
            <a:avLst/>
          </a:prstGeom>
        </p:spPr>
        <p:txBody>
          <a:bodyPr vert="horz" lIns="91440" tIns="45720" rIns="91440" bIns="45720" rtlCol="0" anchor="b"/>
          <a:lstStyle>
            <a:lvl1pPr algn="l">
              <a:defRPr sz="1200"/>
            </a:lvl1pPr>
          </a:lstStyle>
          <a:p>
            <a:r>
              <a:rPr lang="en-GB" dirty="0"/>
              <a:t>© Amadeus IT Group and its affiliates and subsidiaries</a:t>
            </a:r>
          </a:p>
        </p:txBody>
      </p:sp>
      <p:sp>
        <p:nvSpPr>
          <p:cNvPr id="5" name="Slide Number Placeholder 4"/>
          <p:cNvSpPr>
            <a:spLocks noGrp="1"/>
          </p:cNvSpPr>
          <p:nvPr>
            <p:ph type="sldNum" sz="quarter" idx="3"/>
          </p:nvPr>
        </p:nvSpPr>
        <p:spPr>
          <a:xfrm>
            <a:off x="4855029" y="8685213"/>
            <a:ext cx="2001384" cy="458787"/>
          </a:xfrm>
          <a:prstGeom prst="rect">
            <a:avLst/>
          </a:prstGeom>
        </p:spPr>
        <p:txBody>
          <a:bodyPr vert="horz" lIns="91440" tIns="45720" rIns="91440" bIns="45720" rtlCol="0" anchor="b"/>
          <a:lstStyle>
            <a:lvl1pPr algn="r">
              <a:defRPr sz="1200"/>
            </a:lvl1pPr>
          </a:lstStyle>
          <a:p>
            <a:fld id="{4FE73864-8AF9-4AF7-8C43-8DE0AF565002}" type="slidenum">
              <a:rPr lang="en-GB" smtClean="0"/>
              <a:t>‹#›</a:t>
            </a:fld>
            <a:endParaRPr lang="en-GB" dirty="0"/>
          </a:p>
        </p:txBody>
      </p:sp>
    </p:spTree>
    <p:extLst>
      <p:ext uri="{BB962C8B-B14F-4D97-AF65-F5344CB8AC3E}">
        <p14:creationId xmlns:p14="http://schemas.microsoft.com/office/powerpoint/2010/main" val="2777683893"/>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noProof="0"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E55AE2-5BD9-4A29-8080-AC129110D5D3}" type="datetimeFigureOut">
              <a:rPr lang="en-GB" noProof="0" smtClean="0"/>
              <a:t>17/03/2019</a:t>
            </a:fld>
            <a:endParaRPr lang="en-GB" noProof="0"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Footer Placeholder 5"/>
          <p:cNvSpPr>
            <a:spLocks noGrp="1"/>
          </p:cNvSpPr>
          <p:nvPr>
            <p:ph type="ftr" sz="quarter" idx="4"/>
          </p:nvPr>
        </p:nvSpPr>
        <p:spPr>
          <a:xfrm>
            <a:off x="-1" y="8685213"/>
            <a:ext cx="3788229" cy="458787"/>
          </a:xfrm>
          <a:prstGeom prst="rect">
            <a:avLst/>
          </a:prstGeom>
        </p:spPr>
        <p:txBody>
          <a:bodyPr vert="horz" lIns="91440" tIns="45720" rIns="91440" bIns="45720" rtlCol="0" anchor="b"/>
          <a:lstStyle>
            <a:lvl1pPr algn="l">
              <a:defRPr sz="1200"/>
            </a:lvl1pPr>
          </a:lstStyle>
          <a:p>
            <a:r>
              <a:rPr lang="en-GB" dirty="0"/>
              <a:t>© Amadeus IT Group and its affiliates and subsidiaries</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98739B-D4C8-44A6-B797-7501FD315B16}" type="slidenum">
              <a:rPr lang="en-GB" noProof="0" smtClean="0"/>
              <a:t>‹#›</a:t>
            </a:fld>
            <a:endParaRPr lang="en-GB" noProof="0" dirty="0"/>
          </a:p>
        </p:txBody>
      </p:sp>
    </p:spTree>
    <p:extLst>
      <p:ext uri="{BB962C8B-B14F-4D97-AF65-F5344CB8AC3E}">
        <p14:creationId xmlns:p14="http://schemas.microsoft.com/office/powerpoint/2010/main" val="1501317402"/>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685800" y="1143000"/>
            <a:ext cx="5486400" cy="3086100"/>
          </a:xfrm>
        </p:spPr>
      </p:sp>
      <p:sp>
        <p:nvSpPr>
          <p:cNvPr id="3" name="Marcador de notas 2"/>
          <p:cNvSpPr>
            <a:spLocks noGrp="1"/>
          </p:cNvSpPr>
          <p:nvPr>
            <p:ph type="body" idx="1"/>
          </p:nvPr>
        </p:nvSpPr>
        <p:spPr/>
        <p:txBody>
          <a:bodyPr/>
          <a:lstStyle/>
          <a:p>
            <a:pPr marL="171450" indent="-171450">
              <a:buClr>
                <a:schemeClr val="accent2"/>
              </a:buClr>
              <a:buFont typeface="Calibri" panose="020F0502020204030204" pitchFamily="34" charset="0"/>
              <a:buChar char="_"/>
            </a:pPr>
            <a:r>
              <a:rPr lang="en-GB" sz="1100" dirty="0">
                <a:latin typeface="+mj-lt"/>
              </a:rPr>
              <a:t>Please read these useful</a:t>
            </a:r>
            <a:r>
              <a:rPr lang="en-GB" sz="1100" baseline="0" dirty="0">
                <a:latin typeface="+mj-lt"/>
              </a:rPr>
              <a:t> tips </a:t>
            </a:r>
            <a:r>
              <a:rPr lang="en-GB" sz="1100" dirty="0">
                <a:latin typeface="+mj-lt"/>
              </a:rPr>
              <a:t>before you start using this template</a:t>
            </a:r>
          </a:p>
          <a:p>
            <a:pPr marL="171450" indent="-171450">
              <a:buClr>
                <a:schemeClr val="accent2"/>
              </a:buClr>
              <a:buFont typeface="Calibri" panose="020F0502020204030204" pitchFamily="34" charset="0"/>
              <a:buChar char="_"/>
            </a:pPr>
            <a:r>
              <a:rPr lang="en-GB" sz="1100" dirty="0">
                <a:latin typeface="+mj-lt"/>
              </a:rPr>
              <a:t>Remove this slide when your PPT is ready</a:t>
            </a:r>
          </a:p>
        </p:txBody>
      </p:sp>
      <p:sp>
        <p:nvSpPr>
          <p:cNvPr id="4" name="Marcador de número de diapositiva 3"/>
          <p:cNvSpPr>
            <a:spLocks noGrp="1"/>
          </p:cNvSpPr>
          <p:nvPr>
            <p:ph type="sldNum" sz="quarter" idx="10"/>
          </p:nvPr>
        </p:nvSpPr>
        <p:spPr/>
        <p:txBody>
          <a:bodyPr/>
          <a:lstStyle/>
          <a:p>
            <a:fld id="{7F98739B-D4C8-44A6-B797-7501FD315B16}" type="slidenum">
              <a:rPr lang="es-ES" smtClean="0"/>
              <a:t>1</a:t>
            </a:fld>
            <a:endParaRPr lang="es-ES" dirty="0"/>
          </a:p>
        </p:txBody>
      </p:sp>
      <p:sp>
        <p:nvSpPr>
          <p:cNvPr id="6" name="Marcador de encabezado 5"/>
          <p:cNvSpPr>
            <a:spLocks noGrp="1"/>
          </p:cNvSpPr>
          <p:nvPr>
            <p:ph type="hdr" sz="quarter" idx="12"/>
          </p:nvPr>
        </p:nvSpPr>
        <p:spPr/>
        <p:txBody>
          <a:bodyPr/>
          <a:lstStyle/>
          <a:p>
            <a:endParaRPr lang="es-ES" dirty="0"/>
          </a:p>
        </p:txBody>
      </p:sp>
    </p:spTree>
    <p:extLst>
      <p:ext uri="{BB962C8B-B14F-4D97-AF65-F5344CB8AC3E}">
        <p14:creationId xmlns:p14="http://schemas.microsoft.com/office/powerpoint/2010/main" val="30239370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spcBef>
                <a:spcPts val="300"/>
              </a:spcBef>
              <a:buClr>
                <a:schemeClr val="tx2"/>
              </a:buClr>
              <a:buSzPct val="120000"/>
              <a:buNone/>
            </a:pPr>
            <a:r>
              <a:rPr lang="en-GB" sz="1600" dirty="0">
                <a:solidFill>
                  <a:srgbClr val="005EB8"/>
                </a:solidFill>
              </a:rPr>
              <a:t>Amadeus Value Hotels</a:t>
            </a:r>
          </a:p>
          <a:p>
            <a:pPr marL="0" indent="0">
              <a:spcBef>
                <a:spcPts val="300"/>
              </a:spcBef>
              <a:buClr>
                <a:schemeClr val="tx2"/>
              </a:buClr>
              <a:buSzPct val="120000"/>
              <a:buNone/>
            </a:pPr>
            <a:r>
              <a:rPr lang="en-GB" sz="1200" dirty="0"/>
              <a:t>Net rate hotel content with Amadeus acting as 'merchant of record'. Amadeus sources competitive net rates which travel agencies can then mark up for onward sale. Perfect for smaller leisure agents who don't have buying power to negotiate rates independently</a:t>
            </a:r>
            <a:r>
              <a:rPr lang="en-GB" sz="1100" dirty="0"/>
              <a:t>.</a:t>
            </a:r>
            <a:endParaRPr lang="en-GB" dirty="0"/>
          </a:p>
        </p:txBody>
      </p:sp>
      <p:sp>
        <p:nvSpPr>
          <p:cNvPr id="4" name="Marcador de encabezado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797658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685800" y="1143000"/>
            <a:ext cx="5486400" cy="3086100"/>
          </a:xfrm>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noProof="0" dirty="0" err="1"/>
              <a:t>Backcover</a:t>
            </a:r>
            <a:r>
              <a:rPr lang="en-GB" baseline="0" noProof="0" dirty="0"/>
              <a:t> option 2</a:t>
            </a:r>
            <a:endParaRPr lang="en-GB" noProof="0" dirty="0"/>
          </a:p>
          <a:p>
            <a:endParaRPr lang="es-ES" dirty="0"/>
          </a:p>
        </p:txBody>
      </p:sp>
      <p:sp>
        <p:nvSpPr>
          <p:cNvPr id="4" name="Marcador de número de diapositiva 3"/>
          <p:cNvSpPr>
            <a:spLocks noGrp="1"/>
          </p:cNvSpPr>
          <p:nvPr>
            <p:ph type="sldNum" sz="quarter" idx="10"/>
          </p:nvPr>
        </p:nvSpPr>
        <p:spPr/>
        <p:txBody>
          <a:bodyPr/>
          <a:lstStyle/>
          <a:p>
            <a:fld id="{7F98739B-D4C8-44A6-B797-7501FD315B16}" type="slidenum">
              <a:rPr lang="es-ES" smtClean="0"/>
              <a:t>18</a:t>
            </a:fld>
            <a:endParaRPr lang="es-ES"/>
          </a:p>
        </p:txBody>
      </p:sp>
      <p:sp>
        <p:nvSpPr>
          <p:cNvPr id="6" name="Marcador de encabezado 5"/>
          <p:cNvSpPr>
            <a:spLocks noGrp="1"/>
          </p:cNvSpPr>
          <p:nvPr>
            <p:ph type="hdr" sz="quarter" idx="12"/>
          </p:nvPr>
        </p:nvSpPr>
        <p:spPr/>
        <p:txBody>
          <a:bodyPr/>
          <a:lstStyle/>
          <a:p>
            <a:endParaRPr lang="es-ES"/>
          </a:p>
        </p:txBody>
      </p:sp>
    </p:spTree>
    <p:extLst>
      <p:ext uri="{BB962C8B-B14F-4D97-AF65-F5344CB8AC3E}">
        <p14:creationId xmlns:p14="http://schemas.microsoft.com/office/powerpoint/2010/main" val="856843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s-ES" dirty="0"/>
          </a:p>
        </p:txBody>
      </p:sp>
      <p:sp>
        <p:nvSpPr>
          <p:cNvPr id="5" name="Slide Number Placeholder 4"/>
          <p:cNvSpPr>
            <a:spLocks noGrp="1"/>
          </p:cNvSpPr>
          <p:nvPr>
            <p:ph type="sldNum" sz="quarter" idx="11"/>
          </p:nvPr>
        </p:nvSpPr>
        <p:spPr/>
        <p:txBody>
          <a:bodyPr/>
          <a:lstStyle/>
          <a:p>
            <a:fld id="{7F98739B-D4C8-44A6-B797-7501FD315B16}" type="slidenum">
              <a:rPr lang="es-ES" smtClean="0"/>
              <a:t>2</a:t>
            </a:fld>
            <a:endParaRPr lang="es-ES" dirty="0"/>
          </a:p>
        </p:txBody>
      </p:sp>
    </p:spTree>
    <p:extLst>
      <p:ext uri="{BB962C8B-B14F-4D97-AF65-F5344CB8AC3E}">
        <p14:creationId xmlns:p14="http://schemas.microsoft.com/office/powerpoint/2010/main" val="551620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Time</a:t>
            </a:r>
          </a:p>
          <a:p>
            <a:r>
              <a:rPr lang="en-GB" sz="1200" kern="1200" dirty="0">
                <a:solidFill>
                  <a:schemeClr val="tx1"/>
                </a:solidFill>
                <a:effectLst/>
                <a:latin typeface="+mn-lt"/>
                <a:ea typeface="+mn-ea"/>
                <a:cs typeface="+mn-cs"/>
              </a:rPr>
              <a:t>There is too much choice with so many distribution channels available today. Each traveller has different needs at different points. The only constant is that the traveller requires content which is relevant to them at the point at which they are travelling.</a:t>
            </a:r>
          </a:p>
          <a:p>
            <a:endParaRPr lang="en-US" dirty="0"/>
          </a:p>
          <a:p>
            <a:r>
              <a:rPr lang="en-GB" sz="1200" kern="1200" dirty="0">
                <a:solidFill>
                  <a:schemeClr val="tx1"/>
                </a:solidFill>
                <a:effectLst/>
                <a:latin typeface="+mn-lt"/>
                <a:ea typeface="+mn-ea"/>
                <a:cs typeface="+mn-cs"/>
              </a:rPr>
              <a:t>Value for money</a:t>
            </a:r>
          </a:p>
          <a:p>
            <a:r>
              <a:rPr lang="en-GB" sz="1200" kern="1200" dirty="0">
                <a:solidFill>
                  <a:schemeClr val="tx1"/>
                </a:solidFill>
                <a:effectLst/>
                <a:latin typeface="+mn-lt"/>
                <a:ea typeface="+mn-ea"/>
                <a:cs typeface="+mn-cs"/>
              </a:rPr>
              <a:t>Relevance is vital when understanding value for money. It’s different for everyone where expectations change depending on the traveller type as well as why they’re travelling and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who they’re travelling with.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Amadeus’ recent research has identified six future traveller tribes and the potential implication for </a:t>
            </a:r>
            <a:br>
              <a:rPr lang="en-GB" sz="1200" kern="1200" dirty="0">
                <a:solidFill>
                  <a:schemeClr val="tx1"/>
                </a:solidFill>
                <a:effectLst/>
                <a:latin typeface="+mn-lt"/>
                <a:ea typeface="+mn-ea"/>
                <a:cs typeface="+mn-cs"/>
              </a:rPr>
            </a:br>
            <a:r>
              <a:rPr lang="en-GB" sz="1200" kern="1200" dirty="0">
                <a:solidFill>
                  <a:schemeClr val="tx1"/>
                </a:solidFill>
                <a:effectLst/>
                <a:latin typeface="+mn-lt"/>
                <a:ea typeface="+mn-ea"/>
                <a:cs typeface="+mn-cs"/>
              </a:rPr>
              <a:t>the hospitality industry.</a:t>
            </a:r>
          </a:p>
          <a:p>
            <a:endParaRPr lang="en-US" dirty="0"/>
          </a:p>
          <a:p>
            <a:r>
              <a:rPr lang="en-GB" sz="1200" kern="1200" dirty="0">
                <a:solidFill>
                  <a:schemeClr val="tx1"/>
                </a:solidFill>
                <a:effectLst/>
                <a:latin typeface="+mn-lt"/>
                <a:ea typeface="+mn-ea"/>
                <a:cs typeface="+mn-cs"/>
              </a:rPr>
              <a:t>Agility</a:t>
            </a:r>
          </a:p>
          <a:p>
            <a:r>
              <a:rPr lang="en-US" sz="1200" kern="1200" dirty="0">
                <a:solidFill>
                  <a:schemeClr val="tx1"/>
                </a:solidFill>
                <a:effectLst/>
                <a:latin typeface="+mn-lt"/>
                <a:ea typeface="+mn-ea"/>
                <a:cs typeface="+mn-cs"/>
              </a:rPr>
              <a:t>Unexpected events, group bookings, tech to work anywhere and </a:t>
            </a:r>
            <a:r>
              <a:rPr lang="en-US" sz="1200" kern="1200" dirty="0" err="1">
                <a:solidFill>
                  <a:schemeClr val="tx1"/>
                </a:solidFill>
                <a:effectLst/>
                <a:latin typeface="+mn-lt"/>
                <a:ea typeface="+mn-ea"/>
                <a:cs typeface="+mn-cs"/>
              </a:rPr>
              <a:t>travellers</a:t>
            </a:r>
            <a:r>
              <a:rPr lang="en-US" sz="1200" kern="1200" dirty="0">
                <a:solidFill>
                  <a:schemeClr val="tx1"/>
                </a:solidFill>
                <a:effectLst/>
                <a:latin typeface="+mn-lt"/>
                <a:ea typeface="+mn-ea"/>
                <a:cs typeface="+mn-cs"/>
              </a:rPr>
              <a:t> wanting to combine business and leisure together in one trip, highlights the need for hoteliers and travel intermediaries to be able to meet the ever-changing needs of the </a:t>
            </a:r>
            <a:r>
              <a:rPr lang="en-US" sz="1200" kern="1200" dirty="0" err="1">
                <a:solidFill>
                  <a:schemeClr val="tx1"/>
                </a:solidFill>
                <a:effectLst/>
                <a:latin typeface="+mn-lt"/>
                <a:ea typeface="+mn-ea"/>
                <a:cs typeface="+mn-cs"/>
              </a:rPr>
              <a:t>traveller</a:t>
            </a:r>
            <a:r>
              <a:rPr lang="en-US" sz="1200" kern="1200" dirty="0">
                <a:solidFill>
                  <a:schemeClr val="tx1"/>
                </a:solidFill>
                <a:effectLst/>
                <a:latin typeface="+mn-lt"/>
                <a:ea typeface="+mn-ea"/>
                <a:cs typeface="+mn-cs"/>
              </a:rPr>
              <a:t>.</a:t>
            </a:r>
            <a:endParaRPr lang="en-GB" sz="1200" kern="1200" dirty="0">
              <a:solidFill>
                <a:schemeClr val="tx1"/>
              </a:solidFill>
              <a:effectLst/>
              <a:latin typeface="+mn-lt"/>
              <a:ea typeface="+mn-ea"/>
              <a:cs typeface="+mn-cs"/>
            </a:endParaRPr>
          </a:p>
          <a:p>
            <a:endParaRPr lang="en-US" dirty="0"/>
          </a:p>
          <a:p>
            <a:r>
              <a:rPr lang="en-GB" sz="1200" kern="1200" dirty="0">
                <a:solidFill>
                  <a:schemeClr val="tx1"/>
                </a:solidFill>
                <a:effectLst/>
                <a:latin typeface="+mn-lt"/>
                <a:ea typeface="+mn-ea"/>
                <a:cs typeface="+mn-cs"/>
              </a:rPr>
              <a:t>Expectation of personalisation</a:t>
            </a:r>
          </a:p>
          <a:p>
            <a:r>
              <a:rPr lang="en-US" sz="1200" kern="1200" dirty="0">
                <a:solidFill>
                  <a:schemeClr val="tx1"/>
                </a:solidFill>
                <a:effectLst/>
                <a:latin typeface="+mn-lt"/>
                <a:ea typeface="+mn-ea"/>
                <a:cs typeface="+mn-cs"/>
              </a:rPr>
              <a:t>The challenge is not the ability to do </a:t>
            </a:r>
            <a:r>
              <a:rPr lang="en-US" sz="1200" kern="1200" dirty="0" err="1">
                <a:solidFill>
                  <a:schemeClr val="tx1"/>
                </a:solidFill>
                <a:effectLst/>
                <a:latin typeface="+mn-lt"/>
                <a:ea typeface="+mn-ea"/>
                <a:cs typeface="+mn-cs"/>
              </a:rPr>
              <a:t>personalisation</a:t>
            </a:r>
            <a:r>
              <a:rPr lang="en-US" sz="1200" kern="1200" dirty="0">
                <a:solidFill>
                  <a:schemeClr val="tx1"/>
                </a:solidFill>
                <a:effectLst/>
                <a:latin typeface="+mn-lt"/>
                <a:ea typeface="+mn-ea"/>
                <a:cs typeface="+mn-cs"/>
              </a:rPr>
              <a:t> in itself but what to do, when and how much. </a:t>
            </a:r>
            <a:r>
              <a:rPr lang="en-US" sz="1200" kern="1200" dirty="0" err="1">
                <a:solidFill>
                  <a:schemeClr val="tx1"/>
                </a:solidFill>
                <a:effectLst/>
                <a:latin typeface="+mn-lt"/>
                <a:ea typeface="+mn-ea"/>
                <a:cs typeface="+mn-cs"/>
              </a:rPr>
              <a:t>Personalisation</a:t>
            </a:r>
            <a:r>
              <a:rPr lang="en-US" sz="1200" kern="1200" dirty="0">
                <a:solidFill>
                  <a:schemeClr val="tx1"/>
                </a:solidFill>
                <a:effectLst/>
                <a:latin typeface="+mn-lt"/>
                <a:ea typeface="+mn-ea"/>
                <a:cs typeface="+mn-cs"/>
              </a:rPr>
              <a:t> can drive relevance, convenience and value. However, it’s important to understand how the </a:t>
            </a:r>
            <a:r>
              <a:rPr lang="en-US" sz="1200" kern="1200" dirty="0" err="1">
                <a:solidFill>
                  <a:schemeClr val="tx1"/>
                </a:solidFill>
                <a:effectLst/>
                <a:latin typeface="+mn-lt"/>
                <a:ea typeface="+mn-ea"/>
                <a:cs typeface="+mn-cs"/>
              </a:rPr>
              <a:t>traveller</a:t>
            </a:r>
            <a:r>
              <a:rPr lang="en-US" sz="1200" kern="1200" dirty="0">
                <a:solidFill>
                  <a:schemeClr val="tx1"/>
                </a:solidFill>
                <a:effectLst/>
                <a:latin typeface="+mn-lt"/>
                <a:ea typeface="+mn-ea"/>
                <a:cs typeface="+mn-cs"/>
              </a:rPr>
              <a:t> wants to engage with you (hotel or travel agent) at every touchpoint before doing anything at all.</a:t>
            </a:r>
            <a:endParaRPr lang="en-GB"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endParaRPr lang="en-GB" noProof="0" dirty="0"/>
          </a:p>
        </p:txBody>
      </p:sp>
      <p:sp>
        <p:nvSpPr>
          <p:cNvPr id="5" name="Slide Number Placeholder 4"/>
          <p:cNvSpPr>
            <a:spLocks noGrp="1"/>
          </p:cNvSpPr>
          <p:nvPr>
            <p:ph type="sldNum" sz="quarter" idx="11"/>
          </p:nvPr>
        </p:nvSpPr>
        <p:spPr/>
        <p:txBody>
          <a:bodyPr/>
          <a:lstStyle/>
          <a:p>
            <a:fld id="{7F98739B-D4C8-44A6-B797-7501FD315B16}" type="slidenum">
              <a:rPr lang="en-GB" noProof="0" smtClean="0"/>
              <a:t>3</a:t>
            </a:fld>
            <a:endParaRPr lang="en-GB" noProof="0" dirty="0"/>
          </a:p>
        </p:txBody>
      </p:sp>
    </p:spTree>
    <p:extLst>
      <p:ext uri="{BB962C8B-B14F-4D97-AF65-F5344CB8AC3E}">
        <p14:creationId xmlns:p14="http://schemas.microsoft.com/office/powerpoint/2010/main" val="2552551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323232"/>
                </a:solidFill>
              </a:rPr>
              <a:t>We have partnered with an extensive range of hotel suppliers to cater to the needs of all hotel bookers across sales channels, whether corporate, leisure or a mixture of both.</a:t>
            </a:r>
            <a:endParaRPr lang="en-IE" sz="1600" dirty="0">
              <a:solidFill>
                <a:srgbClr val="323232"/>
              </a:solidFill>
            </a:endParaRPr>
          </a:p>
        </p:txBody>
      </p:sp>
      <p:sp>
        <p:nvSpPr>
          <p:cNvPr id="4" name="Header Placeholder 3"/>
          <p:cNvSpPr>
            <a:spLocks noGrp="1"/>
          </p:cNvSpPr>
          <p:nvPr>
            <p:ph type="hdr" sz="quarter" idx="10"/>
          </p:nvPr>
        </p:nvSpPr>
        <p:spPr/>
        <p:txBody>
          <a:bodyPr/>
          <a:lstStyle/>
          <a:p>
            <a:endParaRPr lang="en-GB" noProof="0" dirty="0"/>
          </a:p>
        </p:txBody>
      </p:sp>
      <p:sp>
        <p:nvSpPr>
          <p:cNvPr id="5" name="Slide Number Placeholder 4"/>
          <p:cNvSpPr>
            <a:spLocks noGrp="1"/>
          </p:cNvSpPr>
          <p:nvPr>
            <p:ph type="sldNum" sz="quarter" idx="11"/>
          </p:nvPr>
        </p:nvSpPr>
        <p:spPr/>
        <p:txBody>
          <a:bodyPr/>
          <a:lstStyle/>
          <a:p>
            <a:fld id="{7F98739B-D4C8-44A6-B797-7501FD315B16}" type="slidenum">
              <a:rPr lang="en-GB" noProof="0" smtClean="0"/>
              <a:t>4</a:t>
            </a:fld>
            <a:endParaRPr lang="en-GB" noProof="0" dirty="0"/>
          </a:p>
        </p:txBody>
      </p:sp>
    </p:spTree>
    <p:extLst>
      <p:ext uri="{BB962C8B-B14F-4D97-AF65-F5344CB8AC3E}">
        <p14:creationId xmlns:p14="http://schemas.microsoft.com/office/powerpoint/2010/main" val="26511965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spcBef>
                <a:spcPts val="300"/>
              </a:spcBef>
              <a:buClr>
                <a:schemeClr val="tx2"/>
              </a:buClr>
              <a:buSzPct val="120000"/>
              <a:buNone/>
            </a:pPr>
            <a:r>
              <a:rPr lang="en-GB" sz="1600" dirty="0">
                <a:solidFill>
                  <a:srgbClr val="005EB8"/>
                </a:solidFill>
              </a:rPr>
              <a:t>Amadeus Value Hotels</a:t>
            </a:r>
          </a:p>
          <a:p>
            <a:pPr marL="0" indent="0">
              <a:spcBef>
                <a:spcPts val="300"/>
              </a:spcBef>
              <a:buClr>
                <a:schemeClr val="tx2"/>
              </a:buClr>
              <a:buSzPct val="120000"/>
              <a:buNone/>
            </a:pPr>
            <a:r>
              <a:rPr lang="en-GB" sz="1200" dirty="0"/>
              <a:t>Net rate hotel content with Amadeus acting as 'merchant of record'. Amadeus sources competitive net rates which travel agencies can then mark up for onward sale. Perfect for smaller leisure agents who don't have buying power to negotiate rates independently</a:t>
            </a:r>
            <a:r>
              <a:rPr lang="en-GB" sz="1100" dirty="0"/>
              <a:t>.</a:t>
            </a:r>
            <a:endParaRPr lang="en-GB" dirty="0"/>
          </a:p>
        </p:txBody>
      </p:sp>
      <p:sp>
        <p:nvSpPr>
          <p:cNvPr id="4" name="Marcador de encabezado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623309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spcBef>
                <a:spcPts val="300"/>
              </a:spcBef>
              <a:buClr>
                <a:schemeClr val="tx2"/>
              </a:buClr>
              <a:buSzPct val="120000"/>
              <a:buNone/>
            </a:pPr>
            <a:r>
              <a:rPr lang="en-GB" sz="1600" dirty="0">
                <a:solidFill>
                  <a:srgbClr val="005EB8"/>
                </a:solidFill>
              </a:rPr>
              <a:t>Amadeus Value Hotels</a:t>
            </a:r>
          </a:p>
          <a:p>
            <a:pPr marL="0" indent="0">
              <a:spcBef>
                <a:spcPts val="300"/>
              </a:spcBef>
              <a:buClr>
                <a:schemeClr val="tx2"/>
              </a:buClr>
              <a:buSzPct val="120000"/>
              <a:buNone/>
            </a:pPr>
            <a:r>
              <a:rPr lang="en-GB" sz="1200" dirty="0"/>
              <a:t>Net rate hotel content with Amadeus acting as 'merchant of record'. Amadeus sources competitive net rates which travel agencies can then mark up for onward sale. Perfect for smaller leisure agents who don't have buying power to negotiate rates independently</a:t>
            </a:r>
            <a:r>
              <a:rPr lang="en-GB" sz="1100" dirty="0"/>
              <a:t>.</a:t>
            </a:r>
            <a:endParaRPr lang="en-GB" dirty="0"/>
          </a:p>
        </p:txBody>
      </p:sp>
      <p:sp>
        <p:nvSpPr>
          <p:cNvPr id="4" name="Marcador de encabezado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893665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spcBef>
                <a:spcPts val="300"/>
              </a:spcBef>
              <a:buNone/>
            </a:pPr>
            <a:r>
              <a:rPr lang="en-GB" sz="1600" dirty="0">
                <a:solidFill>
                  <a:srgbClr val="005EB8"/>
                </a:solidFill>
              </a:rPr>
              <a:t>310 top hotel chains </a:t>
            </a:r>
          </a:p>
          <a:p>
            <a:pPr marL="0" indent="0">
              <a:spcBef>
                <a:spcPts val="300"/>
              </a:spcBef>
              <a:buNone/>
            </a:pPr>
            <a:r>
              <a:rPr lang="en-US" sz="1200" dirty="0"/>
              <a:t>310+ top Hotel chains &amp; Rep. companies offer of 3 &amp; 4 star business hotels, budget chains, extended stay properties, leisure/resort hotels, luxury hotels, boutique hotels, B&amp;Bs &amp; serviced apartments. </a:t>
            </a:r>
          </a:p>
        </p:txBody>
      </p:sp>
      <p:sp>
        <p:nvSpPr>
          <p:cNvPr id="4" name="Marcador de encabezado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656938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spcBef>
                <a:spcPts val="300"/>
              </a:spcBef>
              <a:buNone/>
            </a:pPr>
            <a:r>
              <a:rPr lang="en-GB" sz="1600" dirty="0">
                <a:solidFill>
                  <a:srgbClr val="005EB8"/>
                </a:solidFill>
              </a:rPr>
              <a:t>Regional &amp; global aggregators</a:t>
            </a:r>
          </a:p>
          <a:p>
            <a:pPr marL="0" indent="0">
              <a:spcBef>
                <a:spcPts val="300"/>
              </a:spcBef>
              <a:buNone/>
            </a:pPr>
            <a:r>
              <a:rPr lang="en-US" sz="1200" dirty="0"/>
              <a:t>Established regional and global aggregators can now be booked directly through Amadeus.</a:t>
            </a:r>
          </a:p>
        </p:txBody>
      </p:sp>
      <p:sp>
        <p:nvSpPr>
          <p:cNvPr id="4" name="Marcador de encabezado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7332309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spcBef>
                <a:spcPts val="300"/>
              </a:spcBef>
              <a:buNone/>
            </a:pPr>
            <a:r>
              <a:rPr lang="en-GB" sz="1600" dirty="0">
                <a:solidFill>
                  <a:schemeClr val="tx2"/>
                </a:solidFill>
              </a:rPr>
              <a:t>Independent hotels &amp; small groups</a:t>
            </a:r>
          </a:p>
          <a:p>
            <a:pPr marL="0" indent="0">
              <a:spcBef>
                <a:spcPts val="300"/>
              </a:spcBef>
              <a:buNone/>
            </a:pPr>
            <a:r>
              <a:rPr lang="en-GB" sz="1200" dirty="0"/>
              <a:t>Amadeus </a:t>
            </a:r>
            <a:r>
              <a:rPr lang="en-GB" sz="1200" dirty="0" err="1"/>
              <a:t>LinkHotel</a:t>
            </a:r>
            <a:r>
              <a:rPr lang="en-GB" sz="1200" dirty="0"/>
              <a:t>, our own representation company, sources 3,000+ independent hotels and small groups from   around the world.</a:t>
            </a:r>
          </a:p>
          <a:p>
            <a:endParaRPr lang="en-GB" dirty="0"/>
          </a:p>
        </p:txBody>
      </p:sp>
      <p:sp>
        <p:nvSpPr>
          <p:cNvPr id="4" name="Marcador de encabezado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Marcador de número de diapositiva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739B-D4C8-44A6-B797-7501FD315B16}" type="slidenum">
              <a:rPr kumimoji="0" lang="es-E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s-E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966451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8.jpe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12.jpe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emf"/><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8.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268224" y="296865"/>
            <a:ext cx="11253216" cy="482549"/>
          </a:xfrm>
          <a:prstGeom prst="rect">
            <a:avLst/>
          </a:prstGeom>
        </p:spPr>
        <p:txBody>
          <a:bodyPr anchor="t">
            <a:noAutofit/>
          </a:bodyPr>
          <a:lstStyle>
            <a:lvl1pPr>
              <a:defRPr sz="2800">
                <a:solidFill>
                  <a:schemeClr val="tx2"/>
                </a:solidFill>
                <a:latin typeface="+mj-lt"/>
              </a:defRPr>
            </a:lvl1pPr>
          </a:lstStyle>
          <a:p>
            <a:r>
              <a:rPr lang="en-GB" noProof="0" dirty="0"/>
              <a:t>Add your title here</a:t>
            </a:r>
          </a:p>
        </p:txBody>
      </p:sp>
      <p:sp>
        <p:nvSpPr>
          <p:cNvPr id="16" name="Text Placeholder 19"/>
          <p:cNvSpPr>
            <a:spLocks noGrp="1"/>
          </p:cNvSpPr>
          <p:nvPr>
            <p:ph type="body" sz="quarter" idx="13" hasCustomPrompt="1"/>
          </p:nvPr>
        </p:nvSpPr>
        <p:spPr>
          <a:xfrm>
            <a:off x="268224" y="789351"/>
            <a:ext cx="1125299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
        <p:nvSpPr>
          <p:cNvPr id="29" name="Marcador de texto 2"/>
          <p:cNvSpPr>
            <a:spLocks noGrp="1"/>
          </p:cNvSpPr>
          <p:nvPr>
            <p:ph type="body" sz="quarter" idx="18" hasCustomPrompt="1"/>
          </p:nvPr>
        </p:nvSpPr>
        <p:spPr>
          <a:xfrm>
            <a:off x="292609" y="1480159"/>
            <a:ext cx="11228409" cy="4298341"/>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Tree>
    <p:extLst>
      <p:ext uri="{BB962C8B-B14F-4D97-AF65-F5344CB8AC3E}">
        <p14:creationId xmlns:p14="http://schemas.microsoft.com/office/powerpoint/2010/main" val="13913332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292608" y="1480173"/>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7"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8"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8" name="Marcador de texto 2"/>
          <p:cNvSpPr>
            <a:spLocks noGrp="1"/>
          </p:cNvSpPr>
          <p:nvPr>
            <p:ph type="body" sz="quarter" idx="19" hasCustomPrompt="1"/>
          </p:nvPr>
        </p:nvSpPr>
        <p:spPr>
          <a:xfrm>
            <a:off x="6063308" y="1472789"/>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Tree>
    <p:extLst>
      <p:ext uri="{BB962C8B-B14F-4D97-AF65-F5344CB8AC3E}">
        <p14:creationId xmlns:p14="http://schemas.microsoft.com/office/powerpoint/2010/main" val="144164111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lumMod val="50000"/>
                  </a:schemeClr>
                </a:solidFill>
              </a:defRPr>
            </a:lvl1pPr>
          </a:lstStyle>
          <a:p>
            <a:pPr marL="0" lvl="0" algn="ctr" defTabSz="342875">
              <a:lnSpc>
                <a:spcPts val="3075"/>
              </a:lnSpc>
            </a:pPr>
            <a:r>
              <a:rPr lang="en-GB" noProof="0" dirty="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GB" noProof="0" dirty="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dirty="0">
                <a:solidFill>
                  <a:srgbClr val="FFFFFF">
                    <a:lumMod val="85000"/>
                  </a:srgbClr>
                </a:solidFill>
              </a:rPr>
              <a:t>© Amadeus IT Group and its affiliates and subsidiaries</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GB" noProof="0" dirty="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5EB8"/>
              </a:solidFill>
            </a:endParaRPr>
          </a:p>
        </p:txBody>
      </p:sp>
    </p:spTree>
    <p:extLst>
      <p:ext uri="{BB962C8B-B14F-4D97-AF65-F5344CB8AC3E}">
        <p14:creationId xmlns:p14="http://schemas.microsoft.com/office/powerpoint/2010/main" val="248547840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 with photo background and shape">
    <p:bg>
      <p:bgPr>
        <a:solidFill>
          <a:schemeClr val="bg1"/>
        </a:solidFill>
        <a:effectLst/>
      </p:bgPr>
    </p:bg>
    <p:spTree>
      <p:nvGrpSpPr>
        <p:cNvPr id="1" name=""/>
        <p:cNvGrpSpPr/>
        <p:nvPr/>
      </p:nvGrpSpPr>
      <p:grpSpPr>
        <a:xfrm>
          <a:off x="0" y="0"/>
          <a:ext cx="0" cy="0"/>
          <a:chOff x="0" y="0"/>
          <a:chExt cx="0" cy="0"/>
        </a:xfrm>
      </p:grpSpPr>
      <p:pic>
        <p:nvPicPr>
          <p:cNvPr id="14" name="Picture Placeholder 5"/>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1588"/>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27"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15" name="Freeform 5"/>
          <p:cNvSpPr>
            <a:spLocks/>
          </p:cNvSpPr>
          <p:nvPr userDrawn="1"/>
        </p:nvSpPr>
        <p:spPr bwMode="auto">
          <a:xfrm flipH="1" flipV="1">
            <a:off x="6166575" y="777582"/>
            <a:ext cx="6049376" cy="6080418"/>
          </a:xfrm>
          <a:custGeom>
            <a:avLst/>
            <a:gdLst>
              <a:gd name="T0" fmla="*/ 0 w 3320"/>
              <a:gd name="T1" fmla="*/ 0 h 3714"/>
              <a:gd name="T2" fmla="*/ 0 w 3320"/>
              <a:gd name="T3" fmla="*/ 3714 h 3714"/>
              <a:gd name="T4" fmla="*/ 3015 w 3320"/>
              <a:gd name="T5" fmla="*/ 2561 h 3714"/>
              <a:gd name="T6" fmla="*/ 3038 w 3320"/>
              <a:gd name="T7" fmla="*/ 2552 h 3714"/>
              <a:gd name="T8" fmla="*/ 3061 w 3320"/>
              <a:gd name="T9" fmla="*/ 2541 h 3714"/>
              <a:gd name="T10" fmla="*/ 3082 w 3320"/>
              <a:gd name="T11" fmla="*/ 2531 h 3714"/>
              <a:gd name="T12" fmla="*/ 3102 w 3320"/>
              <a:gd name="T13" fmla="*/ 2518 h 3714"/>
              <a:gd name="T14" fmla="*/ 3121 w 3320"/>
              <a:gd name="T15" fmla="*/ 2504 h 3714"/>
              <a:gd name="T16" fmla="*/ 3140 w 3320"/>
              <a:gd name="T17" fmla="*/ 2490 h 3714"/>
              <a:gd name="T18" fmla="*/ 3158 w 3320"/>
              <a:gd name="T19" fmla="*/ 2476 h 3714"/>
              <a:gd name="T20" fmla="*/ 3176 w 3320"/>
              <a:gd name="T21" fmla="*/ 2460 h 3714"/>
              <a:gd name="T22" fmla="*/ 3192 w 3320"/>
              <a:gd name="T23" fmla="*/ 2442 h 3714"/>
              <a:gd name="T24" fmla="*/ 3207 w 3320"/>
              <a:gd name="T25" fmla="*/ 2427 h 3714"/>
              <a:gd name="T26" fmla="*/ 3220 w 3320"/>
              <a:gd name="T27" fmla="*/ 2409 h 3714"/>
              <a:gd name="T28" fmla="*/ 3234 w 3320"/>
              <a:gd name="T29" fmla="*/ 2390 h 3714"/>
              <a:gd name="T30" fmla="*/ 3246 w 3320"/>
              <a:gd name="T31" fmla="*/ 2370 h 3714"/>
              <a:gd name="T32" fmla="*/ 3259 w 3320"/>
              <a:gd name="T33" fmla="*/ 2353 h 3714"/>
              <a:gd name="T34" fmla="*/ 3269 w 3320"/>
              <a:gd name="T35" fmla="*/ 2331 h 3714"/>
              <a:gd name="T36" fmla="*/ 3280 w 3320"/>
              <a:gd name="T37" fmla="*/ 2312 h 3714"/>
              <a:gd name="T38" fmla="*/ 3289 w 3320"/>
              <a:gd name="T39" fmla="*/ 2291 h 3714"/>
              <a:gd name="T40" fmla="*/ 3296 w 3320"/>
              <a:gd name="T41" fmla="*/ 2268 h 3714"/>
              <a:gd name="T42" fmla="*/ 3303 w 3320"/>
              <a:gd name="T43" fmla="*/ 2247 h 3714"/>
              <a:gd name="T44" fmla="*/ 3308 w 3320"/>
              <a:gd name="T45" fmla="*/ 2226 h 3714"/>
              <a:gd name="T46" fmla="*/ 3313 w 3320"/>
              <a:gd name="T47" fmla="*/ 2203 h 3714"/>
              <a:gd name="T48" fmla="*/ 3317 w 3320"/>
              <a:gd name="T49" fmla="*/ 2180 h 3714"/>
              <a:gd name="T50" fmla="*/ 3318 w 3320"/>
              <a:gd name="T51" fmla="*/ 2157 h 3714"/>
              <a:gd name="T52" fmla="*/ 3320 w 3320"/>
              <a:gd name="T53" fmla="*/ 2134 h 3714"/>
              <a:gd name="T54" fmla="*/ 3320 w 3320"/>
              <a:gd name="T55" fmla="*/ 2111 h 3714"/>
              <a:gd name="T56" fmla="*/ 3320 w 3320"/>
              <a:gd name="T57" fmla="*/ 2088 h 3714"/>
              <a:gd name="T58" fmla="*/ 3318 w 3320"/>
              <a:gd name="T59" fmla="*/ 2065 h 3714"/>
              <a:gd name="T60" fmla="*/ 3315 w 3320"/>
              <a:gd name="T61" fmla="*/ 2042 h 3714"/>
              <a:gd name="T62" fmla="*/ 3310 w 3320"/>
              <a:gd name="T63" fmla="*/ 2017 h 3714"/>
              <a:gd name="T64" fmla="*/ 3304 w 3320"/>
              <a:gd name="T65" fmla="*/ 1995 h 3714"/>
              <a:gd name="T66" fmla="*/ 3297 w 3320"/>
              <a:gd name="T67" fmla="*/ 1972 h 3714"/>
              <a:gd name="T68" fmla="*/ 3289 w 3320"/>
              <a:gd name="T69" fmla="*/ 1949 h 3714"/>
              <a:gd name="T70" fmla="*/ 3285 w 3320"/>
              <a:gd name="T71" fmla="*/ 1938 h 3714"/>
              <a:gd name="T72" fmla="*/ 3280 w 3320"/>
              <a:gd name="T73" fmla="*/ 1928 h 3714"/>
              <a:gd name="T74" fmla="*/ 3276 w 3320"/>
              <a:gd name="T75" fmla="*/ 1917 h 3714"/>
              <a:gd name="T76" fmla="*/ 3269 w 3320"/>
              <a:gd name="T77" fmla="*/ 1906 h 3714"/>
              <a:gd name="T78" fmla="*/ 3259 w 3320"/>
              <a:gd name="T79" fmla="*/ 1885 h 3714"/>
              <a:gd name="T80" fmla="*/ 3246 w 3320"/>
              <a:gd name="T81" fmla="*/ 1868 h 3714"/>
              <a:gd name="T82" fmla="*/ 3232 w 3320"/>
              <a:gd name="T83" fmla="*/ 1848 h 3714"/>
              <a:gd name="T84" fmla="*/ 3216 w 3320"/>
              <a:gd name="T85" fmla="*/ 1831 h 3714"/>
              <a:gd name="T86" fmla="*/ 3202 w 3320"/>
              <a:gd name="T87" fmla="*/ 1813 h 3714"/>
              <a:gd name="T88" fmla="*/ 3184 w 3320"/>
              <a:gd name="T89" fmla="*/ 1795 h 3714"/>
              <a:gd name="T90" fmla="*/ 3169 w 3320"/>
              <a:gd name="T91" fmla="*/ 1779 h 3714"/>
              <a:gd name="T92" fmla="*/ 3151 w 3320"/>
              <a:gd name="T93" fmla="*/ 1765 h 3714"/>
              <a:gd name="T94" fmla="*/ 3133 w 3320"/>
              <a:gd name="T95" fmla="*/ 1749 h 3714"/>
              <a:gd name="T96" fmla="*/ 3116 w 3320"/>
              <a:gd name="T97" fmla="*/ 1735 h 3714"/>
              <a:gd name="T98" fmla="*/ 3096 w 3320"/>
              <a:gd name="T99" fmla="*/ 1723 h 3714"/>
              <a:gd name="T100" fmla="*/ 3079 w 3320"/>
              <a:gd name="T101" fmla="*/ 1711 h 3714"/>
              <a:gd name="T102" fmla="*/ 3059 w 3320"/>
              <a:gd name="T103" fmla="*/ 1696 h 3714"/>
              <a:gd name="T104" fmla="*/ 3040 w 3320"/>
              <a:gd name="T105" fmla="*/ 1686 h 3714"/>
              <a:gd name="T106" fmla="*/ 0 w 3320"/>
              <a:gd name="T107" fmla="*/ 0 h 3714"/>
              <a:gd name="connsiteX0" fmla="*/ 0 w 10000"/>
              <a:gd name="connsiteY0" fmla="*/ 0 h 10000"/>
              <a:gd name="connsiteX1" fmla="*/ 0 w 10000"/>
              <a:gd name="connsiteY1" fmla="*/ 10000 h 10000"/>
              <a:gd name="connsiteX2" fmla="*/ 9081 w 10000"/>
              <a:gd name="connsiteY2" fmla="*/ 6896 h 10000"/>
              <a:gd name="connsiteX3" fmla="*/ 9151 w 10000"/>
              <a:gd name="connsiteY3" fmla="*/ 6871 h 10000"/>
              <a:gd name="connsiteX4" fmla="*/ 9220 w 10000"/>
              <a:gd name="connsiteY4" fmla="*/ 6842 h 10000"/>
              <a:gd name="connsiteX5" fmla="*/ 9283 w 10000"/>
              <a:gd name="connsiteY5" fmla="*/ 6815 h 10000"/>
              <a:gd name="connsiteX6" fmla="*/ 9343 w 10000"/>
              <a:gd name="connsiteY6" fmla="*/ 6780 h 10000"/>
              <a:gd name="connsiteX7" fmla="*/ 9401 w 10000"/>
              <a:gd name="connsiteY7" fmla="*/ 6742 h 10000"/>
              <a:gd name="connsiteX8" fmla="*/ 9458 w 10000"/>
              <a:gd name="connsiteY8" fmla="*/ 6704 h 10000"/>
              <a:gd name="connsiteX9" fmla="*/ 9512 w 10000"/>
              <a:gd name="connsiteY9" fmla="*/ 6667 h 10000"/>
              <a:gd name="connsiteX10" fmla="*/ 9566 w 10000"/>
              <a:gd name="connsiteY10" fmla="*/ 6624 h 10000"/>
              <a:gd name="connsiteX11" fmla="*/ 9614 w 10000"/>
              <a:gd name="connsiteY11" fmla="*/ 6575 h 10000"/>
              <a:gd name="connsiteX12" fmla="*/ 9660 w 10000"/>
              <a:gd name="connsiteY12" fmla="*/ 6535 h 10000"/>
              <a:gd name="connsiteX13" fmla="*/ 9699 w 10000"/>
              <a:gd name="connsiteY13" fmla="*/ 6486 h 10000"/>
              <a:gd name="connsiteX14" fmla="*/ 9741 w 10000"/>
              <a:gd name="connsiteY14" fmla="*/ 6435 h 10000"/>
              <a:gd name="connsiteX15" fmla="*/ 9777 w 10000"/>
              <a:gd name="connsiteY15" fmla="*/ 6381 h 10000"/>
              <a:gd name="connsiteX16" fmla="*/ 9816 w 10000"/>
              <a:gd name="connsiteY16" fmla="*/ 6335 h 10000"/>
              <a:gd name="connsiteX17" fmla="*/ 9846 w 10000"/>
              <a:gd name="connsiteY17" fmla="*/ 6276 h 10000"/>
              <a:gd name="connsiteX18" fmla="*/ 9880 w 10000"/>
              <a:gd name="connsiteY18" fmla="*/ 6225 h 10000"/>
              <a:gd name="connsiteX19" fmla="*/ 9907 w 10000"/>
              <a:gd name="connsiteY19" fmla="*/ 6169 h 10000"/>
              <a:gd name="connsiteX20" fmla="*/ 9928 w 10000"/>
              <a:gd name="connsiteY20" fmla="*/ 6107 h 10000"/>
              <a:gd name="connsiteX21" fmla="*/ 9949 w 10000"/>
              <a:gd name="connsiteY21" fmla="*/ 6050 h 10000"/>
              <a:gd name="connsiteX22" fmla="*/ 9964 w 10000"/>
              <a:gd name="connsiteY22" fmla="*/ 5994 h 10000"/>
              <a:gd name="connsiteX23" fmla="*/ 9979 w 10000"/>
              <a:gd name="connsiteY23" fmla="*/ 5932 h 10000"/>
              <a:gd name="connsiteX24" fmla="*/ 9991 w 10000"/>
              <a:gd name="connsiteY24" fmla="*/ 5870 h 10000"/>
              <a:gd name="connsiteX25" fmla="*/ 9994 w 10000"/>
              <a:gd name="connsiteY25" fmla="*/ 5808 h 10000"/>
              <a:gd name="connsiteX26" fmla="*/ 10000 w 10000"/>
              <a:gd name="connsiteY26" fmla="*/ 5746 h 10000"/>
              <a:gd name="connsiteX27" fmla="*/ 10000 w 10000"/>
              <a:gd name="connsiteY27" fmla="*/ 5684 h 10000"/>
              <a:gd name="connsiteX28" fmla="*/ 10000 w 10000"/>
              <a:gd name="connsiteY28" fmla="*/ 5622 h 10000"/>
              <a:gd name="connsiteX29" fmla="*/ 9994 w 10000"/>
              <a:gd name="connsiteY29" fmla="*/ 5560 h 10000"/>
              <a:gd name="connsiteX30" fmla="*/ 9985 w 10000"/>
              <a:gd name="connsiteY30" fmla="*/ 5498 h 10000"/>
              <a:gd name="connsiteX31" fmla="*/ 9970 w 10000"/>
              <a:gd name="connsiteY31" fmla="*/ 5431 h 10000"/>
              <a:gd name="connsiteX32" fmla="*/ 9952 w 10000"/>
              <a:gd name="connsiteY32" fmla="*/ 5372 h 10000"/>
              <a:gd name="connsiteX33" fmla="*/ 9931 w 10000"/>
              <a:gd name="connsiteY33" fmla="*/ 5310 h 10000"/>
              <a:gd name="connsiteX34" fmla="*/ 9907 w 10000"/>
              <a:gd name="connsiteY34" fmla="*/ 5248 h 10000"/>
              <a:gd name="connsiteX35" fmla="*/ 9895 w 10000"/>
              <a:gd name="connsiteY35" fmla="*/ 5218 h 10000"/>
              <a:gd name="connsiteX36" fmla="*/ 9880 w 10000"/>
              <a:gd name="connsiteY36" fmla="*/ 5191 h 10000"/>
              <a:gd name="connsiteX37" fmla="*/ 9867 w 10000"/>
              <a:gd name="connsiteY37" fmla="*/ 5162 h 10000"/>
              <a:gd name="connsiteX38" fmla="*/ 9846 w 10000"/>
              <a:gd name="connsiteY38" fmla="*/ 5132 h 10000"/>
              <a:gd name="connsiteX39" fmla="*/ 9816 w 10000"/>
              <a:gd name="connsiteY39" fmla="*/ 5075 h 10000"/>
              <a:gd name="connsiteX40" fmla="*/ 9777 w 10000"/>
              <a:gd name="connsiteY40" fmla="*/ 5030 h 10000"/>
              <a:gd name="connsiteX41" fmla="*/ 9735 w 10000"/>
              <a:gd name="connsiteY41" fmla="*/ 4976 h 10000"/>
              <a:gd name="connsiteX42" fmla="*/ 9687 w 10000"/>
              <a:gd name="connsiteY42" fmla="*/ 4930 h 10000"/>
              <a:gd name="connsiteX43" fmla="*/ 9645 w 10000"/>
              <a:gd name="connsiteY43" fmla="*/ 4882 h 10000"/>
              <a:gd name="connsiteX44" fmla="*/ 9590 w 10000"/>
              <a:gd name="connsiteY44" fmla="*/ 4833 h 10000"/>
              <a:gd name="connsiteX45" fmla="*/ 9545 w 10000"/>
              <a:gd name="connsiteY45" fmla="*/ 4790 h 10000"/>
              <a:gd name="connsiteX46" fmla="*/ 9491 w 10000"/>
              <a:gd name="connsiteY46" fmla="*/ 4752 h 10000"/>
              <a:gd name="connsiteX47" fmla="*/ 9437 w 10000"/>
              <a:gd name="connsiteY47" fmla="*/ 4709 h 10000"/>
              <a:gd name="connsiteX48" fmla="*/ 9386 w 10000"/>
              <a:gd name="connsiteY48" fmla="*/ 4672 h 10000"/>
              <a:gd name="connsiteX49" fmla="*/ 9325 w 10000"/>
              <a:gd name="connsiteY49" fmla="*/ 4639 h 10000"/>
              <a:gd name="connsiteX50" fmla="*/ 9274 w 10000"/>
              <a:gd name="connsiteY50" fmla="*/ 4607 h 10000"/>
              <a:gd name="connsiteX51" fmla="*/ 9214 w 10000"/>
              <a:gd name="connsiteY51" fmla="*/ 4567 h 10000"/>
              <a:gd name="connsiteX52" fmla="*/ 9157 w 10000"/>
              <a:gd name="connsiteY52" fmla="*/ 4540 h 10000"/>
              <a:gd name="connsiteX53" fmla="*/ 3147 w 10000"/>
              <a:gd name="connsiteY53" fmla="*/ 1546 h 10000"/>
              <a:gd name="connsiteX54" fmla="*/ 0 w 10000"/>
              <a:gd name="connsiteY54" fmla="*/ 0 h 10000"/>
              <a:gd name="connsiteX0" fmla="*/ 1031 w 10000"/>
              <a:gd name="connsiteY0" fmla="*/ 24 h 8454"/>
              <a:gd name="connsiteX1" fmla="*/ 0 w 10000"/>
              <a:gd name="connsiteY1" fmla="*/ 8454 h 8454"/>
              <a:gd name="connsiteX2" fmla="*/ 9081 w 10000"/>
              <a:gd name="connsiteY2" fmla="*/ 5350 h 8454"/>
              <a:gd name="connsiteX3" fmla="*/ 9151 w 10000"/>
              <a:gd name="connsiteY3" fmla="*/ 5325 h 8454"/>
              <a:gd name="connsiteX4" fmla="*/ 9220 w 10000"/>
              <a:gd name="connsiteY4" fmla="*/ 5296 h 8454"/>
              <a:gd name="connsiteX5" fmla="*/ 9283 w 10000"/>
              <a:gd name="connsiteY5" fmla="*/ 5269 h 8454"/>
              <a:gd name="connsiteX6" fmla="*/ 9343 w 10000"/>
              <a:gd name="connsiteY6" fmla="*/ 5234 h 8454"/>
              <a:gd name="connsiteX7" fmla="*/ 9401 w 10000"/>
              <a:gd name="connsiteY7" fmla="*/ 5196 h 8454"/>
              <a:gd name="connsiteX8" fmla="*/ 9458 w 10000"/>
              <a:gd name="connsiteY8" fmla="*/ 5158 h 8454"/>
              <a:gd name="connsiteX9" fmla="*/ 9512 w 10000"/>
              <a:gd name="connsiteY9" fmla="*/ 5121 h 8454"/>
              <a:gd name="connsiteX10" fmla="*/ 9566 w 10000"/>
              <a:gd name="connsiteY10" fmla="*/ 5078 h 8454"/>
              <a:gd name="connsiteX11" fmla="*/ 9614 w 10000"/>
              <a:gd name="connsiteY11" fmla="*/ 5029 h 8454"/>
              <a:gd name="connsiteX12" fmla="*/ 9660 w 10000"/>
              <a:gd name="connsiteY12" fmla="*/ 4989 h 8454"/>
              <a:gd name="connsiteX13" fmla="*/ 9699 w 10000"/>
              <a:gd name="connsiteY13" fmla="*/ 4940 h 8454"/>
              <a:gd name="connsiteX14" fmla="*/ 9741 w 10000"/>
              <a:gd name="connsiteY14" fmla="*/ 4889 h 8454"/>
              <a:gd name="connsiteX15" fmla="*/ 9777 w 10000"/>
              <a:gd name="connsiteY15" fmla="*/ 4835 h 8454"/>
              <a:gd name="connsiteX16" fmla="*/ 9816 w 10000"/>
              <a:gd name="connsiteY16" fmla="*/ 4789 h 8454"/>
              <a:gd name="connsiteX17" fmla="*/ 9846 w 10000"/>
              <a:gd name="connsiteY17" fmla="*/ 4730 h 8454"/>
              <a:gd name="connsiteX18" fmla="*/ 9880 w 10000"/>
              <a:gd name="connsiteY18" fmla="*/ 4679 h 8454"/>
              <a:gd name="connsiteX19" fmla="*/ 9907 w 10000"/>
              <a:gd name="connsiteY19" fmla="*/ 4623 h 8454"/>
              <a:gd name="connsiteX20" fmla="*/ 9928 w 10000"/>
              <a:gd name="connsiteY20" fmla="*/ 4561 h 8454"/>
              <a:gd name="connsiteX21" fmla="*/ 9949 w 10000"/>
              <a:gd name="connsiteY21" fmla="*/ 4504 h 8454"/>
              <a:gd name="connsiteX22" fmla="*/ 9964 w 10000"/>
              <a:gd name="connsiteY22" fmla="*/ 4448 h 8454"/>
              <a:gd name="connsiteX23" fmla="*/ 9979 w 10000"/>
              <a:gd name="connsiteY23" fmla="*/ 4386 h 8454"/>
              <a:gd name="connsiteX24" fmla="*/ 9991 w 10000"/>
              <a:gd name="connsiteY24" fmla="*/ 4324 h 8454"/>
              <a:gd name="connsiteX25" fmla="*/ 9994 w 10000"/>
              <a:gd name="connsiteY25" fmla="*/ 4262 h 8454"/>
              <a:gd name="connsiteX26" fmla="*/ 10000 w 10000"/>
              <a:gd name="connsiteY26" fmla="*/ 4200 h 8454"/>
              <a:gd name="connsiteX27" fmla="*/ 10000 w 10000"/>
              <a:gd name="connsiteY27" fmla="*/ 4138 h 8454"/>
              <a:gd name="connsiteX28" fmla="*/ 10000 w 10000"/>
              <a:gd name="connsiteY28" fmla="*/ 4076 h 8454"/>
              <a:gd name="connsiteX29" fmla="*/ 9994 w 10000"/>
              <a:gd name="connsiteY29" fmla="*/ 4014 h 8454"/>
              <a:gd name="connsiteX30" fmla="*/ 9985 w 10000"/>
              <a:gd name="connsiteY30" fmla="*/ 3952 h 8454"/>
              <a:gd name="connsiteX31" fmla="*/ 9970 w 10000"/>
              <a:gd name="connsiteY31" fmla="*/ 3885 h 8454"/>
              <a:gd name="connsiteX32" fmla="*/ 9952 w 10000"/>
              <a:gd name="connsiteY32" fmla="*/ 3826 h 8454"/>
              <a:gd name="connsiteX33" fmla="*/ 9931 w 10000"/>
              <a:gd name="connsiteY33" fmla="*/ 3764 h 8454"/>
              <a:gd name="connsiteX34" fmla="*/ 9907 w 10000"/>
              <a:gd name="connsiteY34" fmla="*/ 3702 h 8454"/>
              <a:gd name="connsiteX35" fmla="*/ 9895 w 10000"/>
              <a:gd name="connsiteY35" fmla="*/ 3672 h 8454"/>
              <a:gd name="connsiteX36" fmla="*/ 9880 w 10000"/>
              <a:gd name="connsiteY36" fmla="*/ 3645 h 8454"/>
              <a:gd name="connsiteX37" fmla="*/ 9867 w 10000"/>
              <a:gd name="connsiteY37" fmla="*/ 3616 h 8454"/>
              <a:gd name="connsiteX38" fmla="*/ 9846 w 10000"/>
              <a:gd name="connsiteY38" fmla="*/ 3586 h 8454"/>
              <a:gd name="connsiteX39" fmla="*/ 9816 w 10000"/>
              <a:gd name="connsiteY39" fmla="*/ 3529 h 8454"/>
              <a:gd name="connsiteX40" fmla="*/ 9777 w 10000"/>
              <a:gd name="connsiteY40" fmla="*/ 3484 h 8454"/>
              <a:gd name="connsiteX41" fmla="*/ 9735 w 10000"/>
              <a:gd name="connsiteY41" fmla="*/ 3430 h 8454"/>
              <a:gd name="connsiteX42" fmla="*/ 9687 w 10000"/>
              <a:gd name="connsiteY42" fmla="*/ 3384 h 8454"/>
              <a:gd name="connsiteX43" fmla="*/ 9645 w 10000"/>
              <a:gd name="connsiteY43" fmla="*/ 3336 h 8454"/>
              <a:gd name="connsiteX44" fmla="*/ 9590 w 10000"/>
              <a:gd name="connsiteY44" fmla="*/ 3287 h 8454"/>
              <a:gd name="connsiteX45" fmla="*/ 9545 w 10000"/>
              <a:gd name="connsiteY45" fmla="*/ 3244 h 8454"/>
              <a:gd name="connsiteX46" fmla="*/ 9491 w 10000"/>
              <a:gd name="connsiteY46" fmla="*/ 3206 h 8454"/>
              <a:gd name="connsiteX47" fmla="*/ 9437 w 10000"/>
              <a:gd name="connsiteY47" fmla="*/ 3163 h 8454"/>
              <a:gd name="connsiteX48" fmla="*/ 9386 w 10000"/>
              <a:gd name="connsiteY48" fmla="*/ 3126 h 8454"/>
              <a:gd name="connsiteX49" fmla="*/ 9325 w 10000"/>
              <a:gd name="connsiteY49" fmla="*/ 3093 h 8454"/>
              <a:gd name="connsiteX50" fmla="*/ 9274 w 10000"/>
              <a:gd name="connsiteY50" fmla="*/ 3061 h 8454"/>
              <a:gd name="connsiteX51" fmla="*/ 9214 w 10000"/>
              <a:gd name="connsiteY51" fmla="*/ 3021 h 8454"/>
              <a:gd name="connsiteX52" fmla="*/ 9157 w 10000"/>
              <a:gd name="connsiteY52" fmla="*/ 2994 h 8454"/>
              <a:gd name="connsiteX53" fmla="*/ 3147 w 10000"/>
              <a:gd name="connsiteY53" fmla="*/ 0 h 8454"/>
              <a:gd name="connsiteX54" fmla="*/ 1031 w 10000"/>
              <a:gd name="connsiteY54" fmla="*/ 24 h 8454"/>
              <a:gd name="connsiteX0" fmla="*/ 1031 w 10000"/>
              <a:gd name="connsiteY0" fmla="*/ 28 h 10000"/>
              <a:gd name="connsiteX1" fmla="*/ 0 w 10000"/>
              <a:gd name="connsiteY1" fmla="*/ 10000 h 10000"/>
              <a:gd name="connsiteX2" fmla="*/ 9081 w 10000"/>
              <a:gd name="connsiteY2" fmla="*/ 6328 h 10000"/>
              <a:gd name="connsiteX3" fmla="*/ 9151 w 10000"/>
              <a:gd name="connsiteY3" fmla="*/ 6299 h 10000"/>
              <a:gd name="connsiteX4" fmla="*/ 9220 w 10000"/>
              <a:gd name="connsiteY4" fmla="*/ 6264 h 10000"/>
              <a:gd name="connsiteX5" fmla="*/ 9283 w 10000"/>
              <a:gd name="connsiteY5" fmla="*/ 6233 h 10000"/>
              <a:gd name="connsiteX6" fmla="*/ 9343 w 10000"/>
              <a:gd name="connsiteY6" fmla="*/ 6191 h 10000"/>
              <a:gd name="connsiteX7" fmla="*/ 9401 w 10000"/>
              <a:gd name="connsiteY7" fmla="*/ 6146 h 10000"/>
              <a:gd name="connsiteX8" fmla="*/ 9458 w 10000"/>
              <a:gd name="connsiteY8" fmla="*/ 6101 h 10000"/>
              <a:gd name="connsiteX9" fmla="*/ 9512 w 10000"/>
              <a:gd name="connsiteY9" fmla="*/ 6057 h 10000"/>
              <a:gd name="connsiteX10" fmla="*/ 9566 w 10000"/>
              <a:gd name="connsiteY10" fmla="*/ 6007 h 10000"/>
              <a:gd name="connsiteX11" fmla="*/ 9614 w 10000"/>
              <a:gd name="connsiteY11" fmla="*/ 5949 h 10000"/>
              <a:gd name="connsiteX12" fmla="*/ 9660 w 10000"/>
              <a:gd name="connsiteY12" fmla="*/ 5901 h 10000"/>
              <a:gd name="connsiteX13" fmla="*/ 9699 w 10000"/>
              <a:gd name="connsiteY13" fmla="*/ 5843 h 10000"/>
              <a:gd name="connsiteX14" fmla="*/ 9741 w 10000"/>
              <a:gd name="connsiteY14" fmla="*/ 5783 h 10000"/>
              <a:gd name="connsiteX15" fmla="*/ 9777 w 10000"/>
              <a:gd name="connsiteY15" fmla="*/ 5719 h 10000"/>
              <a:gd name="connsiteX16" fmla="*/ 9816 w 10000"/>
              <a:gd name="connsiteY16" fmla="*/ 5665 h 10000"/>
              <a:gd name="connsiteX17" fmla="*/ 9846 w 10000"/>
              <a:gd name="connsiteY17" fmla="*/ 5595 h 10000"/>
              <a:gd name="connsiteX18" fmla="*/ 9880 w 10000"/>
              <a:gd name="connsiteY18" fmla="*/ 5535 h 10000"/>
              <a:gd name="connsiteX19" fmla="*/ 9907 w 10000"/>
              <a:gd name="connsiteY19" fmla="*/ 5468 h 10000"/>
              <a:gd name="connsiteX20" fmla="*/ 9928 w 10000"/>
              <a:gd name="connsiteY20" fmla="*/ 5395 h 10000"/>
              <a:gd name="connsiteX21" fmla="*/ 9949 w 10000"/>
              <a:gd name="connsiteY21" fmla="*/ 5328 h 10000"/>
              <a:gd name="connsiteX22" fmla="*/ 9964 w 10000"/>
              <a:gd name="connsiteY22" fmla="*/ 5261 h 10000"/>
              <a:gd name="connsiteX23" fmla="*/ 9979 w 10000"/>
              <a:gd name="connsiteY23" fmla="*/ 5188 h 10000"/>
              <a:gd name="connsiteX24" fmla="*/ 9991 w 10000"/>
              <a:gd name="connsiteY24" fmla="*/ 5115 h 10000"/>
              <a:gd name="connsiteX25" fmla="*/ 9994 w 10000"/>
              <a:gd name="connsiteY25" fmla="*/ 5041 h 10000"/>
              <a:gd name="connsiteX26" fmla="*/ 10000 w 10000"/>
              <a:gd name="connsiteY26" fmla="*/ 4968 h 10000"/>
              <a:gd name="connsiteX27" fmla="*/ 10000 w 10000"/>
              <a:gd name="connsiteY27" fmla="*/ 4895 h 10000"/>
              <a:gd name="connsiteX28" fmla="*/ 10000 w 10000"/>
              <a:gd name="connsiteY28" fmla="*/ 4821 h 10000"/>
              <a:gd name="connsiteX29" fmla="*/ 9994 w 10000"/>
              <a:gd name="connsiteY29" fmla="*/ 4748 h 10000"/>
              <a:gd name="connsiteX30" fmla="*/ 9985 w 10000"/>
              <a:gd name="connsiteY30" fmla="*/ 4675 h 10000"/>
              <a:gd name="connsiteX31" fmla="*/ 9970 w 10000"/>
              <a:gd name="connsiteY31" fmla="*/ 4595 h 10000"/>
              <a:gd name="connsiteX32" fmla="*/ 9952 w 10000"/>
              <a:gd name="connsiteY32" fmla="*/ 4526 h 10000"/>
              <a:gd name="connsiteX33" fmla="*/ 9931 w 10000"/>
              <a:gd name="connsiteY33" fmla="*/ 4452 h 10000"/>
              <a:gd name="connsiteX34" fmla="*/ 9907 w 10000"/>
              <a:gd name="connsiteY34" fmla="*/ 4379 h 10000"/>
              <a:gd name="connsiteX35" fmla="*/ 9895 w 10000"/>
              <a:gd name="connsiteY35" fmla="*/ 4344 h 10000"/>
              <a:gd name="connsiteX36" fmla="*/ 9880 w 10000"/>
              <a:gd name="connsiteY36" fmla="*/ 4312 h 10000"/>
              <a:gd name="connsiteX37" fmla="*/ 9867 w 10000"/>
              <a:gd name="connsiteY37" fmla="*/ 4277 h 10000"/>
              <a:gd name="connsiteX38" fmla="*/ 9846 w 10000"/>
              <a:gd name="connsiteY38" fmla="*/ 4242 h 10000"/>
              <a:gd name="connsiteX39" fmla="*/ 9816 w 10000"/>
              <a:gd name="connsiteY39" fmla="*/ 4174 h 10000"/>
              <a:gd name="connsiteX40" fmla="*/ 9777 w 10000"/>
              <a:gd name="connsiteY40" fmla="*/ 4121 h 10000"/>
              <a:gd name="connsiteX41" fmla="*/ 9735 w 10000"/>
              <a:gd name="connsiteY41" fmla="*/ 4057 h 10000"/>
              <a:gd name="connsiteX42" fmla="*/ 9687 w 10000"/>
              <a:gd name="connsiteY42" fmla="*/ 4003 h 10000"/>
              <a:gd name="connsiteX43" fmla="*/ 9645 w 10000"/>
              <a:gd name="connsiteY43" fmla="*/ 3946 h 10000"/>
              <a:gd name="connsiteX44" fmla="*/ 9590 w 10000"/>
              <a:gd name="connsiteY44" fmla="*/ 3888 h 10000"/>
              <a:gd name="connsiteX45" fmla="*/ 9545 w 10000"/>
              <a:gd name="connsiteY45" fmla="*/ 3837 h 10000"/>
              <a:gd name="connsiteX46" fmla="*/ 9491 w 10000"/>
              <a:gd name="connsiteY46" fmla="*/ 3792 h 10000"/>
              <a:gd name="connsiteX47" fmla="*/ 9437 w 10000"/>
              <a:gd name="connsiteY47" fmla="*/ 3741 h 10000"/>
              <a:gd name="connsiteX48" fmla="*/ 9386 w 10000"/>
              <a:gd name="connsiteY48" fmla="*/ 3698 h 10000"/>
              <a:gd name="connsiteX49" fmla="*/ 9325 w 10000"/>
              <a:gd name="connsiteY49" fmla="*/ 3659 h 10000"/>
              <a:gd name="connsiteX50" fmla="*/ 9274 w 10000"/>
              <a:gd name="connsiteY50" fmla="*/ 3621 h 10000"/>
              <a:gd name="connsiteX51" fmla="*/ 9214 w 10000"/>
              <a:gd name="connsiteY51" fmla="*/ 3573 h 10000"/>
              <a:gd name="connsiteX52" fmla="*/ 9157 w 10000"/>
              <a:gd name="connsiteY52" fmla="*/ 3542 h 10000"/>
              <a:gd name="connsiteX53" fmla="*/ 3147 w 10000"/>
              <a:gd name="connsiteY53" fmla="*/ 0 h 10000"/>
              <a:gd name="connsiteX54" fmla="*/ 1031 w 10000"/>
              <a:gd name="connsiteY54" fmla="*/ 28 h 10000"/>
              <a:gd name="connsiteX0" fmla="*/ 1031 w 10000"/>
              <a:gd name="connsiteY0" fmla="*/ 16 h 10000"/>
              <a:gd name="connsiteX1" fmla="*/ 0 w 10000"/>
              <a:gd name="connsiteY1" fmla="*/ 10000 h 10000"/>
              <a:gd name="connsiteX2" fmla="*/ 9081 w 10000"/>
              <a:gd name="connsiteY2" fmla="*/ 6328 h 10000"/>
              <a:gd name="connsiteX3" fmla="*/ 9151 w 10000"/>
              <a:gd name="connsiteY3" fmla="*/ 6299 h 10000"/>
              <a:gd name="connsiteX4" fmla="*/ 9220 w 10000"/>
              <a:gd name="connsiteY4" fmla="*/ 6264 h 10000"/>
              <a:gd name="connsiteX5" fmla="*/ 9283 w 10000"/>
              <a:gd name="connsiteY5" fmla="*/ 6233 h 10000"/>
              <a:gd name="connsiteX6" fmla="*/ 9343 w 10000"/>
              <a:gd name="connsiteY6" fmla="*/ 6191 h 10000"/>
              <a:gd name="connsiteX7" fmla="*/ 9401 w 10000"/>
              <a:gd name="connsiteY7" fmla="*/ 6146 h 10000"/>
              <a:gd name="connsiteX8" fmla="*/ 9458 w 10000"/>
              <a:gd name="connsiteY8" fmla="*/ 6101 h 10000"/>
              <a:gd name="connsiteX9" fmla="*/ 9512 w 10000"/>
              <a:gd name="connsiteY9" fmla="*/ 6057 h 10000"/>
              <a:gd name="connsiteX10" fmla="*/ 9566 w 10000"/>
              <a:gd name="connsiteY10" fmla="*/ 6007 h 10000"/>
              <a:gd name="connsiteX11" fmla="*/ 9614 w 10000"/>
              <a:gd name="connsiteY11" fmla="*/ 5949 h 10000"/>
              <a:gd name="connsiteX12" fmla="*/ 9660 w 10000"/>
              <a:gd name="connsiteY12" fmla="*/ 5901 h 10000"/>
              <a:gd name="connsiteX13" fmla="*/ 9699 w 10000"/>
              <a:gd name="connsiteY13" fmla="*/ 5843 h 10000"/>
              <a:gd name="connsiteX14" fmla="*/ 9741 w 10000"/>
              <a:gd name="connsiteY14" fmla="*/ 5783 h 10000"/>
              <a:gd name="connsiteX15" fmla="*/ 9777 w 10000"/>
              <a:gd name="connsiteY15" fmla="*/ 5719 h 10000"/>
              <a:gd name="connsiteX16" fmla="*/ 9816 w 10000"/>
              <a:gd name="connsiteY16" fmla="*/ 5665 h 10000"/>
              <a:gd name="connsiteX17" fmla="*/ 9846 w 10000"/>
              <a:gd name="connsiteY17" fmla="*/ 5595 h 10000"/>
              <a:gd name="connsiteX18" fmla="*/ 9880 w 10000"/>
              <a:gd name="connsiteY18" fmla="*/ 5535 h 10000"/>
              <a:gd name="connsiteX19" fmla="*/ 9907 w 10000"/>
              <a:gd name="connsiteY19" fmla="*/ 5468 h 10000"/>
              <a:gd name="connsiteX20" fmla="*/ 9928 w 10000"/>
              <a:gd name="connsiteY20" fmla="*/ 5395 h 10000"/>
              <a:gd name="connsiteX21" fmla="*/ 9949 w 10000"/>
              <a:gd name="connsiteY21" fmla="*/ 5328 h 10000"/>
              <a:gd name="connsiteX22" fmla="*/ 9964 w 10000"/>
              <a:gd name="connsiteY22" fmla="*/ 5261 h 10000"/>
              <a:gd name="connsiteX23" fmla="*/ 9979 w 10000"/>
              <a:gd name="connsiteY23" fmla="*/ 5188 h 10000"/>
              <a:gd name="connsiteX24" fmla="*/ 9991 w 10000"/>
              <a:gd name="connsiteY24" fmla="*/ 5115 h 10000"/>
              <a:gd name="connsiteX25" fmla="*/ 9994 w 10000"/>
              <a:gd name="connsiteY25" fmla="*/ 5041 h 10000"/>
              <a:gd name="connsiteX26" fmla="*/ 10000 w 10000"/>
              <a:gd name="connsiteY26" fmla="*/ 4968 h 10000"/>
              <a:gd name="connsiteX27" fmla="*/ 10000 w 10000"/>
              <a:gd name="connsiteY27" fmla="*/ 4895 h 10000"/>
              <a:gd name="connsiteX28" fmla="*/ 10000 w 10000"/>
              <a:gd name="connsiteY28" fmla="*/ 4821 h 10000"/>
              <a:gd name="connsiteX29" fmla="*/ 9994 w 10000"/>
              <a:gd name="connsiteY29" fmla="*/ 4748 h 10000"/>
              <a:gd name="connsiteX30" fmla="*/ 9985 w 10000"/>
              <a:gd name="connsiteY30" fmla="*/ 4675 h 10000"/>
              <a:gd name="connsiteX31" fmla="*/ 9970 w 10000"/>
              <a:gd name="connsiteY31" fmla="*/ 4595 h 10000"/>
              <a:gd name="connsiteX32" fmla="*/ 9952 w 10000"/>
              <a:gd name="connsiteY32" fmla="*/ 4526 h 10000"/>
              <a:gd name="connsiteX33" fmla="*/ 9931 w 10000"/>
              <a:gd name="connsiteY33" fmla="*/ 4452 h 10000"/>
              <a:gd name="connsiteX34" fmla="*/ 9907 w 10000"/>
              <a:gd name="connsiteY34" fmla="*/ 4379 h 10000"/>
              <a:gd name="connsiteX35" fmla="*/ 9895 w 10000"/>
              <a:gd name="connsiteY35" fmla="*/ 4344 h 10000"/>
              <a:gd name="connsiteX36" fmla="*/ 9880 w 10000"/>
              <a:gd name="connsiteY36" fmla="*/ 4312 h 10000"/>
              <a:gd name="connsiteX37" fmla="*/ 9867 w 10000"/>
              <a:gd name="connsiteY37" fmla="*/ 4277 h 10000"/>
              <a:gd name="connsiteX38" fmla="*/ 9846 w 10000"/>
              <a:gd name="connsiteY38" fmla="*/ 4242 h 10000"/>
              <a:gd name="connsiteX39" fmla="*/ 9816 w 10000"/>
              <a:gd name="connsiteY39" fmla="*/ 4174 h 10000"/>
              <a:gd name="connsiteX40" fmla="*/ 9777 w 10000"/>
              <a:gd name="connsiteY40" fmla="*/ 4121 h 10000"/>
              <a:gd name="connsiteX41" fmla="*/ 9735 w 10000"/>
              <a:gd name="connsiteY41" fmla="*/ 4057 h 10000"/>
              <a:gd name="connsiteX42" fmla="*/ 9687 w 10000"/>
              <a:gd name="connsiteY42" fmla="*/ 4003 h 10000"/>
              <a:gd name="connsiteX43" fmla="*/ 9645 w 10000"/>
              <a:gd name="connsiteY43" fmla="*/ 3946 h 10000"/>
              <a:gd name="connsiteX44" fmla="*/ 9590 w 10000"/>
              <a:gd name="connsiteY44" fmla="*/ 3888 h 10000"/>
              <a:gd name="connsiteX45" fmla="*/ 9545 w 10000"/>
              <a:gd name="connsiteY45" fmla="*/ 3837 h 10000"/>
              <a:gd name="connsiteX46" fmla="*/ 9491 w 10000"/>
              <a:gd name="connsiteY46" fmla="*/ 3792 h 10000"/>
              <a:gd name="connsiteX47" fmla="*/ 9437 w 10000"/>
              <a:gd name="connsiteY47" fmla="*/ 3741 h 10000"/>
              <a:gd name="connsiteX48" fmla="*/ 9386 w 10000"/>
              <a:gd name="connsiteY48" fmla="*/ 3698 h 10000"/>
              <a:gd name="connsiteX49" fmla="*/ 9325 w 10000"/>
              <a:gd name="connsiteY49" fmla="*/ 3659 h 10000"/>
              <a:gd name="connsiteX50" fmla="*/ 9274 w 10000"/>
              <a:gd name="connsiteY50" fmla="*/ 3621 h 10000"/>
              <a:gd name="connsiteX51" fmla="*/ 9214 w 10000"/>
              <a:gd name="connsiteY51" fmla="*/ 3573 h 10000"/>
              <a:gd name="connsiteX52" fmla="*/ 9157 w 10000"/>
              <a:gd name="connsiteY52" fmla="*/ 3542 h 10000"/>
              <a:gd name="connsiteX53" fmla="*/ 3147 w 10000"/>
              <a:gd name="connsiteY53" fmla="*/ 0 h 10000"/>
              <a:gd name="connsiteX54" fmla="*/ 1031 w 10000"/>
              <a:gd name="connsiteY54" fmla="*/ 16 h 10000"/>
              <a:gd name="connsiteX0" fmla="*/ 1031 w 10000"/>
              <a:gd name="connsiteY0" fmla="*/ 16 h 10000"/>
              <a:gd name="connsiteX1" fmla="*/ 0 w 10000"/>
              <a:gd name="connsiteY1" fmla="*/ 10000 h 10000"/>
              <a:gd name="connsiteX2" fmla="*/ 1005 w 10000"/>
              <a:gd name="connsiteY2" fmla="*/ 9560 h 10000"/>
              <a:gd name="connsiteX3" fmla="*/ 9081 w 10000"/>
              <a:gd name="connsiteY3" fmla="*/ 6328 h 10000"/>
              <a:gd name="connsiteX4" fmla="*/ 9151 w 10000"/>
              <a:gd name="connsiteY4" fmla="*/ 6299 h 10000"/>
              <a:gd name="connsiteX5" fmla="*/ 9220 w 10000"/>
              <a:gd name="connsiteY5" fmla="*/ 6264 h 10000"/>
              <a:gd name="connsiteX6" fmla="*/ 9283 w 10000"/>
              <a:gd name="connsiteY6" fmla="*/ 6233 h 10000"/>
              <a:gd name="connsiteX7" fmla="*/ 9343 w 10000"/>
              <a:gd name="connsiteY7" fmla="*/ 6191 h 10000"/>
              <a:gd name="connsiteX8" fmla="*/ 9401 w 10000"/>
              <a:gd name="connsiteY8" fmla="*/ 6146 h 10000"/>
              <a:gd name="connsiteX9" fmla="*/ 9458 w 10000"/>
              <a:gd name="connsiteY9" fmla="*/ 6101 h 10000"/>
              <a:gd name="connsiteX10" fmla="*/ 9512 w 10000"/>
              <a:gd name="connsiteY10" fmla="*/ 6057 h 10000"/>
              <a:gd name="connsiteX11" fmla="*/ 9566 w 10000"/>
              <a:gd name="connsiteY11" fmla="*/ 6007 h 10000"/>
              <a:gd name="connsiteX12" fmla="*/ 9614 w 10000"/>
              <a:gd name="connsiteY12" fmla="*/ 5949 h 10000"/>
              <a:gd name="connsiteX13" fmla="*/ 9660 w 10000"/>
              <a:gd name="connsiteY13" fmla="*/ 5901 h 10000"/>
              <a:gd name="connsiteX14" fmla="*/ 9699 w 10000"/>
              <a:gd name="connsiteY14" fmla="*/ 5843 h 10000"/>
              <a:gd name="connsiteX15" fmla="*/ 9741 w 10000"/>
              <a:gd name="connsiteY15" fmla="*/ 5783 h 10000"/>
              <a:gd name="connsiteX16" fmla="*/ 9777 w 10000"/>
              <a:gd name="connsiteY16" fmla="*/ 5719 h 10000"/>
              <a:gd name="connsiteX17" fmla="*/ 9816 w 10000"/>
              <a:gd name="connsiteY17" fmla="*/ 5665 h 10000"/>
              <a:gd name="connsiteX18" fmla="*/ 9846 w 10000"/>
              <a:gd name="connsiteY18" fmla="*/ 5595 h 10000"/>
              <a:gd name="connsiteX19" fmla="*/ 9880 w 10000"/>
              <a:gd name="connsiteY19" fmla="*/ 5535 h 10000"/>
              <a:gd name="connsiteX20" fmla="*/ 9907 w 10000"/>
              <a:gd name="connsiteY20" fmla="*/ 5468 h 10000"/>
              <a:gd name="connsiteX21" fmla="*/ 9928 w 10000"/>
              <a:gd name="connsiteY21" fmla="*/ 5395 h 10000"/>
              <a:gd name="connsiteX22" fmla="*/ 9949 w 10000"/>
              <a:gd name="connsiteY22" fmla="*/ 5328 h 10000"/>
              <a:gd name="connsiteX23" fmla="*/ 9964 w 10000"/>
              <a:gd name="connsiteY23" fmla="*/ 5261 h 10000"/>
              <a:gd name="connsiteX24" fmla="*/ 9979 w 10000"/>
              <a:gd name="connsiteY24" fmla="*/ 5188 h 10000"/>
              <a:gd name="connsiteX25" fmla="*/ 9991 w 10000"/>
              <a:gd name="connsiteY25" fmla="*/ 5115 h 10000"/>
              <a:gd name="connsiteX26" fmla="*/ 9994 w 10000"/>
              <a:gd name="connsiteY26" fmla="*/ 5041 h 10000"/>
              <a:gd name="connsiteX27" fmla="*/ 10000 w 10000"/>
              <a:gd name="connsiteY27" fmla="*/ 4968 h 10000"/>
              <a:gd name="connsiteX28" fmla="*/ 10000 w 10000"/>
              <a:gd name="connsiteY28" fmla="*/ 4895 h 10000"/>
              <a:gd name="connsiteX29" fmla="*/ 10000 w 10000"/>
              <a:gd name="connsiteY29" fmla="*/ 4821 h 10000"/>
              <a:gd name="connsiteX30" fmla="*/ 9994 w 10000"/>
              <a:gd name="connsiteY30" fmla="*/ 4748 h 10000"/>
              <a:gd name="connsiteX31" fmla="*/ 9985 w 10000"/>
              <a:gd name="connsiteY31" fmla="*/ 4675 h 10000"/>
              <a:gd name="connsiteX32" fmla="*/ 9970 w 10000"/>
              <a:gd name="connsiteY32" fmla="*/ 4595 h 10000"/>
              <a:gd name="connsiteX33" fmla="*/ 9952 w 10000"/>
              <a:gd name="connsiteY33" fmla="*/ 4526 h 10000"/>
              <a:gd name="connsiteX34" fmla="*/ 9931 w 10000"/>
              <a:gd name="connsiteY34" fmla="*/ 4452 h 10000"/>
              <a:gd name="connsiteX35" fmla="*/ 9907 w 10000"/>
              <a:gd name="connsiteY35" fmla="*/ 4379 h 10000"/>
              <a:gd name="connsiteX36" fmla="*/ 9895 w 10000"/>
              <a:gd name="connsiteY36" fmla="*/ 4344 h 10000"/>
              <a:gd name="connsiteX37" fmla="*/ 9880 w 10000"/>
              <a:gd name="connsiteY37" fmla="*/ 4312 h 10000"/>
              <a:gd name="connsiteX38" fmla="*/ 9867 w 10000"/>
              <a:gd name="connsiteY38" fmla="*/ 4277 h 10000"/>
              <a:gd name="connsiteX39" fmla="*/ 9846 w 10000"/>
              <a:gd name="connsiteY39" fmla="*/ 4242 h 10000"/>
              <a:gd name="connsiteX40" fmla="*/ 9816 w 10000"/>
              <a:gd name="connsiteY40" fmla="*/ 4174 h 10000"/>
              <a:gd name="connsiteX41" fmla="*/ 9777 w 10000"/>
              <a:gd name="connsiteY41" fmla="*/ 4121 h 10000"/>
              <a:gd name="connsiteX42" fmla="*/ 9735 w 10000"/>
              <a:gd name="connsiteY42" fmla="*/ 4057 h 10000"/>
              <a:gd name="connsiteX43" fmla="*/ 9687 w 10000"/>
              <a:gd name="connsiteY43" fmla="*/ 4003 h 10000"/>
              <a:gd name="connsiteX44" fmla="*/ 9645 w 10000"/>
              <a:gd name="connsiteY44" fmla="*/ 3946 h 10000"/>
              <a:gd name="connsiteX45" fmla="*/ 9590 w 10000"/>
              <a:gd name="connsiteY45" fmla="*/ 3888 h 10000"/>
              <a:gd name="connsiteX46" fmla="*/ 9545 w 10000"/>
              <a:gd name="connsiteY46" fmla="*/ 3837 h 10000"/>
              <a:gd name="connsiteX47" fmla="*/ 9491 w 10000"/>
              <a:gd name="connsiteY47" fmla="*/ 3792 h 10000"/>
              <a:gd name="connsiteX48" fmla="*/ 9437 w 10000"/>
              <a:gd name="connsiteY48" fmla="*/ 3741 h 10000"/>
              <a:gd name="connsiteX49" fmla="*/ 9386 w 10000"/>
              <a:gd name="connsiteY49" fmla="*/ 3698 h 10000"/>
              <a:gd name="connsiteX50" fmla="*/ 9325 w 10000"/>
              <a:gd name="connsiteY50" fmla="*/ 3659 h 10000"/>
              <a:gd name="connsiteX51" fmla="*/ 9274 w 10000"/>
              <a:gd name="connsiteY51" fmla="*/ 3621 h 10000"/>
              <a:gd name="connsiteX52" fmla="*/ 9214 w 10000"/>
              <a:gd name="connsiteY52" fmla="*/ 3573 h 10000"/>
              <a:gd name="connsiteX53" fmla="*/ 9157 w 10000"/>
              <a:gd name="connsiteY53" fmla="*/ 3542 h 10000"/>
              <a:gd name="connsiteX54" fmla="*/ 3147 w 10000"/>
              <a:gd name="connsiteY54" fmla="*/ 0 h 10000"/>
              <a:gd name="connsiteX55" fmla="*/ 1031 w 10000"/>
              <a:gd name="connsiteY55" fmla="*/ 16 h 10000"/>
              <a:gd name="connsiteX0" fmla="*/ 26 w 8995"/>
              <a:gd name="connsiteY0" fmla="*/ 16 h 9560"/>
              <a:gd name="connsiteX1" fmla="*/ 0 w 8995"/>
              <a:gd name="connsiteY1" fmla="*/ 9560 h 9560"/>
              <a:gd name="connsiteX2" fmla="*/ 8076 w 8995"/>
              <a:gd name="connsiteY2" fmla="*/ 6328 h 9560"/>
              <a:gd name="connsiteX3" fmla="*/ 8146 w 8995"/>
              <a:gd name="connsiteY3" fmla="*/ 6299 h 9560"/>
              <a:gd name="connsiteX4" fmla="*/ 8215 w 8995"/>
              <a:gd name="connsiteY4" fmla="*/ 6264 h 9560"/>
              <a:gd name="connsiteX5" fmla="*/ 8278 w 8995"/>
              <a:gd name="connsiteY5" fmla="*/ 6233 h 9560"/>
              <a:gd name="connsiteX6" fmla="*/ 8338 w 8995"/>
              <a:gd name="connsiteY6" fmla="*/ 6191 h 9560"/>
              <a:gd name="connsiteX7" fmla="*/ 8396 w 8995"/>
              <a:gd name="connsiteY7" fmla="*/ 6146 h 9560"/>
              <a:gd name="connsiteX8" fmla="*/ 8453 w 8995"/>
              <a:gd name="connsiteY8" fmla="*/ 6101 h 9560"/>
              <a:gd name="connsiteX9" fmla="*/ 8507 w 8995"/>
              <a:gd name="connsiteY9" fmla="*/ 6057 h 9560"/>
              <a:gd name="connsiteX10" fmla="*/ 8561 w 8995"/>
              <a:gd name="connsiteY10" fmla="*/ 6007 h 9560"/>
              <a:gd name="connsiteX11" fmla="*/ 8609 w 8995"/>
              <a:gd name="connsiteY11" fmla="*/ 5949 h 9560"/>
              <a:gd name="connsiteX12" fmla="*/ 8655 w 8995"/>
              <a:gd name="connsiteY12" fmla="*/ 5901 h 9560"/>
              <a:gd name="connsiteX13" fmla="*/ 8694 w 8995"/>
              <a:gd name="connsiteY13" fmla="*/ 5843 h 9560"/>
              <a:gd name="connsiteX14" fmla="*/ 8736 w 8995"/>
              <a:gd name="connsiteY14" fmla="*/ 5783 h 9560"/>
              <a:gd name="connsiteX15" fmla="*/ 8772 w 8995"/>
              <a:gd name="connsiteY15" fmla="*/ 5719 h 9560"/>
              <a:gd name="connsiteX16" fmla="*/ 8811 w 8995"/>
              <a:gd name="connsiteY16" fmla="*/ 5665 h 9560"/>
              <a:gd name="connsiteX17" fmla="*/ 8841 w 8995"/>
              <a:gd name="connsiteY17" fmla="*/ 5595 h 9560"/>
              <a:gd name="connsiteX18" fmla="*/ 8875 w 8995"/>
              <a:gd name="connsiteY18" fmla="*/ 5535 h 9560"/>
              <a:gd name="connsiteX19" fmla="*/ 8902 w 8995"/>
              <a:gd name="connsiteY19" fmla="*/ 5468 h 9560"/>
              <a:gd name="connsiteX20" fmla="*/ 8923 w 8995"/>
              <a:gd name="connsiteY20" fmla="*/ 5395 h 9560"/>
              <a:gd name="connsiteX21" fmla="*/ 8944 w 8995"/>
              <a:gd name="connsiteY21" fmla="*/ 5328 h 9560"/>
              <a:gd name="connsiteX22" fmla="*/ 8959 w 8995"/>
              <a:gd name="connsiteY22" fmla="*/ 5261 h 9560"/>
              <a:gd name="connsiteX23" fmla="*/ 8974 w 8995"/>
              <a:gd name="connsiteY23" fmla="*/ 5188 h 9560"/>
              <a:gd name="connsiteX24" fmla="*/ 8986 w 8995"/>
              <a:gd name="connsiteY24" fmla="*/ 5115 h 9560"/>
              <a:gd name="connsiteX25" fmla="*/ 8989 w 8995"/>
              <a:gd name="connsiteY25" fmla="*/ 5041 h 9560"/>
              <a:gd name="connsiteX26" fmla="*/ 8995 w 8995"/>
              <a:gd name="connsiteY26" fmla="*/ 4968 h 9560"/>
              <a:gd name="connsiteX27" fmla="*/ 8995 w 8995"/>
              <a:gd name="connsiteY27" fmla="*/ 4895 h 9560"/>
              <a:gd name="connsiteX28" fmla="*/ 8995 w 8995"/>
              <a:gd name="connsiteY28" fmla="*/ 4821 h 9560"/>
              <a:gd name="connsiteX29" fmla="*/ 8989 w 8995"/>
              <a:gd name="connsiteY29" fmla="*/ 4748 h 9560"/>
              <a:gd name="connsiteX30" fmla="*/ 8980 w 8995"/>
              <a:gd name="connsiteY30" fmla="*/ 4675 h 9560"/>
              <a:gd name="connsiteX31" fmla="*/ 8965 w 8995"/>
              <a:gd name="connsiteY31" fmla="*/ 4595 h 9560"/>
              <a:gd name="connsiteX32" fmla="*/ 8947 w 8995"/>
              <a:gd name="connsiteY32" fmla="*/ 4526 h 9560"/>
              <a:gd name="connsiteX33" fmla="*/ 8926 w 8995"/>
              <a:gd name="connsiteY33" fmla="*/ 4452 h 9560"/>
              <a:gd name="connsiteX34" fmla="*/ 8902 w 8995"/>
              <a:gd name="connsiteY34" fmla="*/ 4379 h 9560"/>
              <a:gd name="connsiteX35" fmla="*/ 8890 w 8995"/>
              <a:gd name="connsiteY35" fmla="*/ 4344 h 9560"/>
              <a:gd name="connsiteX36" fmla="*/ 8875 w 8995"/>
              <a:gd name="connsiteY36" fmla="*/ 4312 h 9560"/>
              <a:gd name="connsiteX37" fmla="*/ 8862 w 8995"/>
              <a:gd name="connsiteY37" fmla="*/ 4277 h 9560"/>
              <a:gd name="connsiteX38" fmla="*/ 8841 w 8995"/>
              <a:gd name="connsiteY38" fmla="*/ 4242 h 9560"/>
              <a:gd name="connsiteX39" fmla="*/ 8811 w 8995"/>
              <a:gd name="connsiteY39" fmla="*/ 4174 h 9560"/>
              <a:gd name="connsiteX40" fmla="*/ 8772 w 8995"/>
              <a:gd name="connsiteY40" fmla="*/ 4121 h 9560"/>
              <a:gd name="connsiteX41" fmla="*/ 8730 w 8995"/>
              <a:gd name="connsiteY41" fmla="*/ 4057 h 9560"/>
              <a:gd name="connsiteX42" fmla="*/ 8682 w 8995"/>
              <a:gd name="connsiteY42" fmla="*/ 4003 h 9560"/>
              <a:gd name="connsiteX43" fmla="*/ 8640 w 8995"/>
              <a:gd name="connsiteY43" fmla="*/ 3946 h 9560"/>
              <a:gd name="connsiteX44" fmla="*/ 8585 w 8995"/>
              <a:gd name="connsiteY44" fmla="*/ 3888 h 9560"/>
              <a:gd name="connsiteX45" fmla="*/ 8540 w 8995"/>
              <a:gd name="connsiteY45" fmla="*/ 3837 h 9560"/>
              <a:gd name="connsiteX46" fmla="*/ 8486 w 8995"/>
              <a:gd name="connsiteY46" fmla="*/ 3792 h 9560"/>
              <a:gd name="connsiteX47" fmla="*/ 8432 w 8995"/>
              <a:gd name="connsiteY47" fmla="*/ 3741 h 9560"/>
              <a:gd name="connsiteX48" fmla="*/ 8381 w 8995"/>
              <a:gd name="connsiteY48" fmla="*/ 3698 h 9560"/>
              <a:gd name="connsiteX49" fmla="*/ 8320 w 8995"/>
              <a:gd name="connsiteY49" fmla="*/ 3659 h 9560"/>
              <a:gd name="connsiteX50" fmla="*/ 8269 w 8995"/>
              <a:gd name="connsiteY50" fmla="*/ 3621 h 9560"/>
              <a:gd name="connsiteX51" fmla="*/ 8209 w 8995"/>
              <a:gd name="connsiteY51" fmla="*/ 3573 h 9560"/>
              <a:gd name="connsiteX52" fmla="*/ 8152 w 8995"/>
              <a:gd name="connsiteY52" fmla="*/ 3542 h 9560"/>
              <a:gd name="connsiteX53" fmla="*/ 2142 w 8995"/>
              <a:gd name="connsiteY53" fmla="*/ 0 h 9560"/>
              <a:gd name="connsiteX54" fmla="*/ 26 w 8995"/>
              <a:gd name="connsiteY54" fmla="*/ 16 h 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995" h="9560">
                <a:moveTo>
                  <a:pt x="26" y="16"/>
                </a:moveTo>
                <a:cubicBezTo>
                  <a:pt x="17" y="3197"/>
                  <a:pt x="9" y="6379"/>
                  <a:pt x="0" y="9560"/>
                </a:cubicBezTo>
                <a:lnTo>
                  <a:pt x="8076" y="6328"/>
                </a:lnTo>
                <a:cubicBezTo>
                  <a:pt x="8099" y="6318"/>
                  <a:pt x="8123" y="6309"/>
                  <a:pt x="8146" y="6299"/>
                </a:cubicBezTo>
                <a:cubicBezTo>
                  <a:pt x="8169" y="6287"/>
                  <a:pt x="8192" y="6276"/>
                  <a:pt x="8215" y="6264"/>
                </a:cubicBezTo>
                <a:cubicBezTo>
                  <a:pt x="8236" y="6254"/>
                  <a:pt x="8257" y="6243"/>
                  <a:pt x="8278" y="6233"/>
                </a:cubicBezTo>
                <a:cubicBezTo>
                  <a:pt x="8298" y="6218"/>
                  <a:pt x="8318" y="6205"/>
                  <a:pt x="8338" y="6191"/>
                </a:cubicBezTo>
                <a:cubicBezTo>
                  <a:pt x="8357" y="6176"/>
                  <a:pt x="8377" y="6162"/>
                  <a:pt x="8396" y="6146"/>
                </a:cubicBezTo>
                <a:cubicBezTo>
                  <a:pt x="8415" y="6131"/>
                  <a:pt x="8434" y="6117"/>
                  <a:pt x="8453" y="6101"/>
                </a:cubicBezTo>
                <a:cubicBezTo>
                  <a:pt x="8471" y="6087"/>
                  <a:pt x="8489" y="6072"/>
                  <a:pt x="8507" y="6057"/>
                </a:cubicBezTo>
                <a:cubicBezTo>
                  <a:pt x="8525" y="6041"/>
                  <a:pt x="8543" y="6023"/>
                  <a:pt x="8561" y="6007"/>
                </a:cubicBezTo>
                <a:cubicBezTo>
                  <a:pt x="8577" y="5988"/>
                  <a:pt x="8593" y="5968"/>
                  <a:pt x="8609" y="5949"/>
                </a:cubicBezTo>
                <a:cubicBezTo>
                  <a:pt x="8624" y="5933"/>
                  <a:pt x="8640" y="5917"/>
                  <a:pt x="8655" y="5901"/>
                </a:cubicBezTo>
                <a:cubicBezTo>
                  <a:pt x="8668" y="5882"/>
                  <a:pt x="8681" y="5862"/>
                  <a:pt x="8694" y="5843"/>
                </a:cubicBezTo>
                <a:lnTo>
                  <a:pt x="8736" y="5783"/>
                </a:lnTo>
                <a:cubicBezTo>
                  <a:pt x="8748" y="5762"/>
                  <a:pt x="8760" y="5740"/>
                  <a:pt x="8772" y="5719"/>
                </a:cubicBezTo>
                <a:lnTo>
                  <a:pt x="8811" y="5665"/>
                </a:lnTo>
                <a:cubicBezTo>
                  <a:pt x="8821" y="5641"/>
                  <a:pt x="8831" y="5619"/>
                  <a:pt x="8841" y="5595"/>
                </a:cubicBezTo>
                <a:cubicBezTo>
                  <a:pt x="8852" y="5575"/>
                  <a:pt x="8864" y="5555"/>
                  <a:pt x="8875" y="5535"/>
                </a:cubicBezTo>
                <a:cubicBezTo>
                  <a:pt x="8884" y="5512"/>
                  <a:pt x="8893" y="5491"/>
                  <a:pt x="8902" y="5468"/>
                </a:cubicBezTo>
                <a:cubicBezTo>
                  <a:pt x="8909" y="5444"/>
                  <a:pt x="8916" y="5420"/>
                  <a:pt x="8923" y="5395"/>
                </a:cubicBezTo>
                <a:cubicBezTo>
                  <a:pt x="8930" y="5373"/>
                  <a:pt x="8937" y="5350"/>
                  <a:pt x="8944" y="5328"/>
                </a:cubicBezTo>
                <a:cubicBezTo>
                  <a:pt x="8949" y="5305"/>
                  <a:pt x="8954" y="5284"/>
                  <a:pt x="8959" y="5261"/>
                </a:cubicBezTo>
                <a:cubicBezTo>
                  <a:pt x="8964" y="5237"/>
                  <a:pt x="8969" y="5213"/>
                  <a:pt x="8974" y="5188"/>
                </a:cubicBezTo>
                <a:cubicBezTo>
                  <a:pt x="8978" y="5163"/>
                  <a:pt x="8982" y="5140"/>
                  <a:pt x="8986" y="5115"/>
                </a:cubicBezTo>
                <a:cubicBezTo>
                  <a:pt x="8987" y="5090"/>
                  <a:pt x="8988" y="5066"/>
                  <a:pt x="8989" y="5041"/>
                </a:cubicBezTo>
                <a:cubicBezTo>
                  <a:pt x="8991" y="5017"/>
                  <a:pt x="8993" y="4993"/>
                  <a:pt x="8995" y="4968"/>
                </a:cubicBezTo>
                <a:lnTo>
                  <a:pt x="8995" y="4895"/>
                </a:lnTo>
                <a:lnTo>
                  <a:pt x="8995" y="4821"/>
                </a:lnTo>
                <a:cubicBezTo>
                  <a:pt x="8993" y="4797"/>
                  <a:pt x="8991" y="4773"/>
                  <a:pt x="8989" y="4748"/>
                </a:cubicBezTo>
                <a:cubicBezTo>
                  <a:pt x="8986" y="4723"/>
                  <a:pt x="8983" y="4700"/>
                  <a:pt x="8980" y="4675"/>
                </a:cubicBezTo>
                <a:cubicBezTo>
                  <a:pt x="8975" y="4649"/>
                  <a:pt x="8970" y="4621"/>
                  <a:pt x="8965" y="4595"/>
                </a:cubicBezTo>
                <a:lnTo>
                  <a:pt x="8947" y="4526"/>
                </a:lnTo>
                <a:cubicBezTo>
                  <a:pt x="8940" y="4501"/>
                  <a:pt x="8933" y="4477"/>
                  <a:pt x="8926" y="4452"/>
                </a:cubicBezTo>
                <a:cubicBezTo>
                  <a:pt x="8918" y="4427"/>
                  <a:pt x="8910" y="4404"/>
                  <a:pt x="8902" y="4379"/>
                </a:cubicBezTo>
                <a:cubicBezTo>
                  <a:pt x="8898" y="4367"/>
                  <a:pt x="8894" y="4356"/>
                  <a:pt x="8890" y="4344"/>
                </a:cubicBezTo>
                <a:cubicBezTo>
                  <a:pt x="8885" y="4333"/>
                  <a:pt x="8880" y="4323"/>
                  <a:pt x="8875" y="4312"/>
                </a:cubicBezTo>
                <a:cubicBezTo>
                  <a:pt x="8871" y="4300"/>
                  <a:pt x="8866" y="4289"/>
                  <a:pt x="8862" y="4277"/>
                </a:cubicBezTo>
                <a:cubicBezTo>
                  <a:pt x="8855" y="4265"/>
                  <a:pt x="8848" y="4254"/>
                  <a:pt x="8841" y="4242"/>
                </a:cubicBezTo>
                <a:cubicBezTo>
                  <a:pt x="8831" y="4219"/>
                  <a:pt x="8821" y="4197"/>
                  <a:pt x="8811" y="4174"/>
                </a:cubicBezTo>
                <a:cubicBezTo>
                  <a:pt x="8798" y="4156"/>
                  <a:pt x="8785" y="4139"/>
                  <a:pt x="8772" y="4121"/>
                </a:cubicBezTo>
                <a:cubicBezTo>
                  <a:pt x="8758" y="4100"/>
                  <a:pt x="8744" y="4078"/>
                  <a:pt x="8730" y="4057"/>
                </a:cubicBezTo>
                <a:cubicBezTo>
                  <a:pt x="8714" y="4040"/>
                  <a:pt x="8698" y="4021"/>
                  <a:pt x="8682" y="4003"/>
                </a:cubicBezTo>
                <a:lnTo>
                  <a:pt x="8640" y="3946"/>
                </a:lnTo>
                <a:lnTo>
                  <a:pt x="8585" y="3888"/>
                </a:lnTo>
                <a:cubicBezTo>
                  <a:pt x="8570" y="3872"/>
                  <a:pt x="8555" y="3854"/>
                  <a:pt x="8540" y="3837"/>
                </a:cubicBezTo>
                <a:cubicBezTo>
                  <a:pt x="8522" y="3822"/>
                  <a:pt x="8504" y="3808"/>
                  <a:pt x="8486" y="3792"/>
                </a:cubicBezTo>
                <a:cubicBezTo>
                  <a:pt x="8468" y="3776"/>
                  <a:pt x="8450" y="3758"/>
                  <a:pt x="8432" y="3741"/>
                </a:cubicBezTo>
                <a:cubicBezTo>
                  <a:pt x="8415" y="3727"/>
                  <a:pt x="8398" y="3712"/>
                  <a:pt x="8381" y="3698"/>
                </a:cubicBezTo>
                <a:cubicBezTo>
                  <a:pt x="8361" y="3685"/>
                  <a:pt x="8340" y="3672"/>
                  <a:pt x="8320" y="3659"/>
                </a:cubicBezTo>
                <a:cubicBezTo>
                  <a:pt x="8303" y="3646"/>
                  <a:pt x="8286" y="3634"/>
                  <a:pt x="8269" y="3621"/>
                </a:cubicBezTo>
                <a:lnTo>
                  <a:pt x="8209" y="3573"/>
                </a:lnTo>
                <a:cubicBezTo>
                  <a:pt x="8190" y="3563"/>
                  <a:pt x="8171" y="3552"/>
                  <a:pt x="8152" y="3542"/>
                </a:cubicBezTo>
                <a:lnTo>
                  <a:pt x="2142" y="0"/>
                </a:lnTo>
                <a:lnTo>
                  <a:pt x="26" y="16"/>
                </a:lnTo>
                <a:close/>
              </a:path>
            </a:pathLst>
          </a:custGeom>
          <a:solidFill>
            <a:srgbClr val="005EB8">
              <a:alpha val="55000"/>
            </a:srgbClr>
          </a:solidFill>
          <a:ln>
            <a:noFill/>
          </a:ln>
        </p:spPr>
        <p:txBody>
          <a:bodyPr vert="horz" wrap="square" lIns="91440" tIns="45720" rIns="91440" bIns="45720" numCol="1" anchor="t" anchorCtr="0" compatLnSpc="1">
            <a:prstTxWarp prst="textNoShape">
              <a:avLst/>
            </a:prstTxWarp>
          </a:bodyPr>
          <a:lstStyle/>
          <a:p>
            <a:endParaRPr lang="fr-FR">
              <a:solidFill>
                <a:srgbClr val="FFFFFF"/>
              </a:solidFill>
            </a:endParaRPr>
          </a:p>
        </p:txBody>
      </p:sp>
      <p:sp>
        <p:nvSpPr>
          <p:cNvPr id="17" name="Text Placeholder 19"/>
          <p:cNvSpPr>
            <a:spLocks noGrp="1"/>
          </p:cNvSpPr>
          <p:nvPr>
            <p:ph type="body" sz="quarter" idx="16" hasCustomPrompt="1"/>
          </p:nvPr>
        </p:nvSpPr>
        <p:spPr>
          <a:xfrm>
            <a:off x="6509442" y="4014488"/>
            <a:ext cx="5312463" cy="864000"/>
          </a:xfrm>
          <a:prstGeom prst="rect">
            <a:avLst/>
          </a:prstGeom>
        </p:spPr>
        <p:txBody>
          <a:bodyPr>
            <a:noAutofit/>
          </a:bodyPr>
          <a:lstStyle>
            <a:lvl1pPr marL="0" indent="0" algn="r">
              <a:lnSpc>
                <a:spcPct val="100000"/>
              </a:lnSpc>
              <a:buNone/>
              <a:defRPr sz="20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8" name="Text Placeholder 97"/>
          <p:cNvSpPr>
            <a:spLocks noGrp="1"/>
          </p:cNvSpPr>
          <p:nvPr>
            <p:ph type="body" sz="quarter" idx="17" hasCustomPrompt="1"/>
          </p:nvPr>
        </p:nvSpPr>
        <p:spPr>
          <a:xfrm>
            <a:off x="9202704" y="5343251"/>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pic>
        <p:nvPicPr>
          <p:cNvPr id="19" name="Imagen 2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21095" y="1859610"/>
            <a:ext cx="2609720" cy="909782"/>
          </a:xfrm>
          <a:prstGeom prst="rect">
            <a:avLst/>
          </a:prstGeom>
        </p:spPr>
      </p:pic>
      <p:sp>
        <p:nvSpPr>
          <p:cNvPr id="20" name="TextBox 19"/>
          <p:cNvSpPr txBox="1"/>
          <p:nvPr userDrawn="1"/>
        </p:nvSpPr>
        <p:spPr>
          <a:xfrm>
            <a:off x="178119" y="6498269"/>
            <a:ext cx="3942687" cy="276999"/>
          </a:xfrm>
          <a:prstGeom prst="rect">
            <a:avLst/>
          </a:prstGeom>
          <a:noFill/>
        </p:spPr>
        <p:txBody>
          <a:bodyPr wrap="square" rtlCol="0">
            <a:spAutoFit/>
          </a:bodyPr>
          <a:lstStyle/>
          <a:p>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21" name="Picture 20"/>
          <p:cNvPicPr>
            <a:picLocks noChangeAspect="1"/>
          </p:cNvPicPr>
          <p:nvPr userDrawn="1"/>
        </p:nvPicPr>
        <p:blipFill>
          <a:blip r:embed="rId8" cstate="screen">
            <a:biLevel thresh="25000"/>
            <a:extLst>
              <a:ext uri="{28A0092B-C50C-407E-A947-70E740481C1C}">
                <a14:useLocalDpi xmlns:a14="http://schemas.microsoft.com/office/drawing/2010/main"/>
              </a:ext>
            </a:extLst>
          </a:blip>
          <a:stretch>
            <a:fillRect/>
          </a:stretch>
        </p:blipFill>
        <p:spPr>
          <a:xfrm flipH="1">
            <a:off x="4000355" y="6431234"/>
            <a:ext cx="254224" cy="254224"/>
          </a:xfrm>
          <a:prstGeom prst="rect">
            <a:avLst/>
          </a:prstGeom>
        </p:spPr>
      </p:pic>
      <p:sp>
        <p:nvSpPr>
          <p:cNvPr id="5" name="Text Placeholder 4"/>
          <p:cNvSpPr>
            <a:spLocks noGrp="1"/>
          </p:cNvSpPr>
          <p:nvPr>
            <p:ph type="body" sz="quarter" idx="20" hasCustomPrompt="1"/>
          </p:nvPr>
        </p:nvSpPr>
        <p:spPr>
          <a:xfrm>
            <a:off x="6508751" y="2900363"/>
            <a:ext cx="5313154" cy="936625"/>
          </a:xfrm>
          <a:prstGeom prst="rect">
            <a:avLst/>
          </a:prstGeom>
        </p:spPr>
        <p:txBody>
          <a:bodyPr anchor="b"/>
          <a:lstStyle>
            <a:lvl1pPr marL="0" indent="0" algn="r">
              <a:buNone/>
              <a:defRPr sz="2800" baseline="0">
                <a:solidFill>
                  <a:schemeClr val="bg1"/>
                </a:solidFill>
              </a:defRPr>
            </a:lvl1pPr>
          </a:lstStyle>
          <a:p>
            <a:pPr lvl="0"/>
            <a:r>
              <a:rPr lang="en-US"/>
              <a:t>Insert your heading here</a:t>
            </a:r>
          </a:p>
        </p:txBody>
      </p:sp>
    </p:spTree>
    <p:extLst>
      <p:ext uri="{BB962C8B-B14F-4D97-AF65-F5344CB8AC3E}">
        <p14:creationId xmlns:p14="http://schemas.microsoft.com/office/powerpoint/2010/main" val="154580961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268224" y="296865"/>
            <a:ext cx="11253216" cy="482549"/>
          </a:xfrm>
          <a:prstGeom prst="rect">
            <a:avLst/>
          </a:prstGeom>
        </p:spPr>
        <p:txBody>
          <a:bodyPr anchor="t">
            <a:noAutofit/>
          </a:bodyPr>
          <a:lstStyle>
            <a:lvl1pPr>
              <a:defRPr sz="3200">
                <a:solidFill>
                  <a:schemeClr val="tx2"/>
                </a:solidFill>
                <a:latin typeface="+mj-lt"/>
              </a:defRPr>
            </a:lvl1pPr>
          </a:lstStyle>
          <a:p>
            <a:r>
              <a:rPr lang="en-GB" noProof="0"/>
              <a:t>Add your title here</a:t>
            </a:r>
          </a:p>
        </p:txBody>
      </p:sp>
      <p:sp>
        <p:nvSpPr>
          <p:cNvPr id="16" name="Text Placeholder 19"/>
          <p:cNvSpPr>
            <a:spLocks noGrp="1"/>
          </p:cNvSpPr>
          <p:nvPr>
            <p:ph type="body" sz="quarter" idx="13" hasCustomPrompt="1"/>
          </p:nvPr>
        </p:nvSpPr>
        <p:spPr>
          <a:xfrm>
            <a:off x="268224" y="789351"/>
            <a:ext cx="1125299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9" name="Marcador de texto 2"/>
          <p:cNvSpPr>
            <a:spLocks noGrp="1"/>
          </p:cNvSpPr>
          <p:nvPr>
            <p:ph type="body" sz="quarter" idx="18" hasCustomPrompt="1"/>
          </p:nvPr>
        </p:nvSpPr>
        <p:spPr>
          <a:xfrm>
            <a:off x="292609" y="1480159"/>
            <a:ext cx="11228409" cy="4298341"/>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52594441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7" name="Title 1"/>
          <p:cNvSpPr>
            <a:spLocks noGrp="1"/>
          </p:cNvSpPr>
          <p:nvPr>
            <p:ph type="title" hasCustomPrompt="1"/>
          </p:nvPr>
        </p:nvSpPr>
        <p:spPr>
          <a:xfrm>
            <a:off x="268224" y="296865"/>
            <a:ext cx="11253216" cy="482549"/>
          </a:xfrm>
          <a:prstGeom prst="rect">
            <a:avLst/>
          </a:prstGeom>
        </p:spPr>
        <p:txBody>
          <a:bodyPr anchor="t">
            <a:noAutofit/>
          </a:bodyPr>
          <a:lstStyle>
            <a:lvl1pPr>
              <a:defRPr sz="3200">
                <a:solidFill>
                  <a:schemeClr val="tx2"/>
                </a:solidFill>
                <a:latin typeface="+mj-lt"/>
              </a:defRPr>
            </a:lvl1pPr>
          </a:lstStyle>
          <a:p>
            <a:r>
              <a:rPr lang="en-GB" noProof="0"/>
              <a:t>Add your title here</a:t>
            </a:r>
          </a:p>
        </p:txBody>
      </p:sp>
      <p:sp>
        <p:nvSpPr>
          <p:cNvPr id="10" name="Text Placeholder 19"/>
          <p:cNvSpPr>
            <a:spLocks noGrp="1"/>
          </p:cNvSpPr>
          <p:nvPr>
            <p:ph type="body" sz="quarter" idx="13" hasCustomPrompt="1"/>
          </p:nvPr>
        </p:nvSpPr>
        <p:spPr>
          <a:xfrm>
            <a:off x="268224" y="795425"/>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62496593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over with photo background and shap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ctr">
              <a:buNone/>
              <a:defRPr sz="1800" b="1" baseline="0"/>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96" name="Text Placeholder 19"/>
          <p:cNvSpPr>
            <a:spLocks noGrp="1"/>
          </p:cNvSpPr>
          <p:nvPr>
            <p:ph type="body" sz="quarter" idx="13" hasCustomPrompt="1"/>
          </p:nvPr>
        </p:nvSpPr>
        <p:spPr>
          <a:xfrm>
            <a:off x="576265" y="3425413"/>
            <a:ext cx="4602163" cy="498992"/>
          </a:xfrm>
          <a:prstGeom prst="rect">
            <a:avLst/>
          </a:prstGeom>
        </p:spPr>
        <p:txBody>
          <a:bodyPr>
            <a:noAutofit/>
          </a:bodyPr>
          <a:lstStyle>
            <a:lvl1pPr marL="0" indent="0">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2" name="TextBox 11"/>
          <p:cNvSpPr txBox="1"/>
          <p:nvPr userDrawn="1"/>
        </p:nvSpPr>
        <p:spPr>
          <a:xfrm>
            <a:off x="6809695" y="6444921"/>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flipH="1">
            <a:off x="6584655" y="6402113"/>
            <a:ext cx="254224" cy="254224"/>
          </a:xfrm>
          <a:prstGeom prst="rect">
            <a:avLst/>
          </a:prstGeom>
        </p:spPr>
      </p:pic>
      <p:pic>
        <p:nvPicPr>
          <p:cNvPr id="17" name="Imagen 2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77911" y="1330715"/>
            <a:ext cx="3366989" cy="1173775"/>
          </a:xfrm>
          <a:prstGeom prst="rect">
            <a:avLst/>
          </a:prstGeom>
        </p:spPr>
      </p:pic>
      <p:sp>
        <p:nvSpPr>
          <p:cNvPr id="19" name="Title 1"/>
          <p:cNvSpPr txBox="1">
            <a:spLocks/>
          </p:cNvSpPr>
          <p:nvPr userDrawn="1"/>
        </p:nvSpPr>
        <p:spPr>
          <a:xfrm>
            <a:off x="511278" y="2120651"/>
            <a:ext cx="4958914" cy="1178168"/>
          </a:xfrm>
          <a:prstGeom prst="rect">
            <a:avLst/>
          </a:prstGeom>
        </p:spPr>
        <p:txBody>
          <a:bodyPr vert="horz" lIns="91440" tIns="0" rIns="91440" bIns="45720" rtlCol="0" anchor="b">
            <a:noAutofit/>
          </a:bodyPr>
          <a:lstStyle>
            <a:lvl1pPr algn="l" defTabSz="914400" rtl="0" eaLnBrk="1" latinLnBrk="0" hangingPunct="1">
              <a:lnSpc>
                <a:spcPct val="100000"/>
              </a:lnSpc>
              <a:spcBef>
                <a:spcPct val="0"/>
              </a:spcBef>
              <a:buNone/>
              <a:defRPr sz="2800" kern="1200" baseline="0">
                <a:solidFill>
                  <a:schemeClr val="bg1"/>
                </a:solidFill>
                <a:latin typeface="+mj-lt"/>
                <a:ea typeface="+mj-ea"/>
                <a:cs typeface="+mj-cs"/>
              </a:defRPr>
            </a:lvl1pPr>
          </a:lstStyle>
          <a:p>
            <a:r>
              <a:rPr lang="en-GB">
                <a:solidFill>
                  <a:srgbClr val="FFFFFF"/>
                </a:solidFill>
              </a:rPr>
              <a:t>Add your title here</a:t>
            </a:r>
          </a:p>
        </p:txBody>
      </p:sp>
    </p:spTree>
    <p:extLst>
      <p:ext uri="{BB962C8B-B14F-4D97-AF65-F5344CB8AC3E}">
        <p14:creationId xmlns:p14="http://schemas.microsoft.com/office/powerpoint/2010/main" val="14381458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ver with photo and blu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bg1"/>
                </a:solidFill>
                <a:latin typeface="+mj-lt"/>
              </a:defRPr>
            </a:lvl1pPr>
          </a:lstStyle>
          <a:p>
            <a:r>
              <a:rPr lang="en-GB" noProof="0"/>
              <a:t>Add you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576481" y="5114229"/>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
        <p:nvSpPr>
          <p:cNvPr id="20"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21" name="Imagen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555" y="633583"/>
            <a:ext cx="3830824" cy="1335474"/>
          </a:xfrm>
          <a:prstGeom prst="rect">
            <a:avLst/>
          </a:prstGeom>
        </p:spPr>
      </p:pic>
      <p:sp>
        <p:nvSpPr>
          <p:cNvPr id="12" name="TextBox 11"/>
          <p:cNvSpPr txBox="1"/>
          <p:nvPr userDrawn="1"/>
        </p:nvSpPr>
        <p:spPr>
          <a:xfrm>
            <a:off x="576472" y="6498269"/>
            <a:ext cx="3942687" cy="276999"/>
          </a:xfrm>
          <a:prstGeom prst="rect">
            <a:avLst/>
          </a:prstGeom>
          <a:noFill/>
        </p:spPr>
        <p:txBody>
          <a:bodyPr wrap="square" rtlCol="0">
            <a:spAutoFit/>
          </a:bodyPr>
          <a:lstStyle/>
          <a:p>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3" name="Picture 12"/>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flipH="1">
            <a:off x="4398708" y="6431234"/>
            <a:ext cx="254224" cy="254224"/>
          </a:xfrm>
          <a:prstGeom prst="rect">
            <a:avLst/>
          </a:prstGeom>
        </p:spPr>
      </p:pic>
      <p:pic>
        <p:nvPicPr>
          <p:cNvPr id="15" name="Picture Placeholder 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p:spPr>
      </p:pic>
    </p:spTree>
    <p:extLst>
      <p:ext uri="{BB962C8B-B14F-4D97-AF65-F5344CB8AC3E}">
        <p14:creationId xmlns:p14="http://schemas.microsoft.com/office/powerpoint/2010/main" val="227323211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tx2"/>
                </a:solidFill>
                <a:latin typeface="+mj-lt"/>
              </a:defRPr>
            </a:lvl1pPr>
          </a:lstStyle>
          <a:p>
            <a:r>
              <a:rPr lang="en-GB" noProof="0"/>
              <a:t>Add your divide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a:br>
            <a:br>
              <a:rPr lang="en-GB" noProof="0"/>
            </a:br>
            <a:br>
              <a:rPr lang="en-GB" noProof="0"/>
            </a:br>
            <a:br>
              <a:rPr lang="en-GB" noProof="0"/>
            </a:br>
            <a:r>
              <a:rPr lang="en-GB" noProof="0"/>
              <a:t>Insert your picture here</a:t>
            </a:r>
          </a:p>
        </p:txBody>
      </p:sp>
      <p:pic>
        <p:nvPicPr>
          <p:cNvPr id="21" name="Imagen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10" name="TextBox 9"/>
          <p:cNvSpPr txBox="1"/>
          <p:nvPr userDrawn="1"/>
        </p:nvSpPr>
        <p:spPr>
          <a:xfrm>
            <a:off x="576472" y="6498269"/>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4398708" y="6431234"/>
            <a:ext cx="254224" cy="254224"/>
          </a:xfrm>
          <a:prstGeom prst="rect">
            <a:avLst/>
          </a:prstGeom>
        </p:spPr>
      </p:pic>
    </p:spTree>
    <p:extLst>
      <p:ext uri="{BB962C8B-B14F-4D97-AF65-F5344CB8AC3E}">
        <p14:creationId xmlns:p14="http://schemas.microsoft.com/office/powerpoint/2010/main" val="20041130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divider with photo and whit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pic>
        <p:nvPicPr>
          <p:cNvPr id="21" name="Imagen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10" name="TextBox 9"/>
          <p:cNvSpPr txBox="1"/>
          <p:nvPr userDrawn="1"/>
        </p:nvSpPr>
        <p:spPr>
          <a:xfrm>
            <a:off x="576472" y="6498269"/>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4398708" y="6431234"/>
            <a:ext cx="254224" cy="254224"/>
          </a:xfrm>
          <a:prstGeom prst="rect">
            <a:avLst/>
          </a:prstGeom>
        </p:spPr>
      </p:pic>
      <p:sp>
        <p:nvSpPr>
          <p:cNvPr id="24" name="Title 1"/>
          <p:cNvSpPr>
            <a:spLocks noGrp="1"/>
          </p:cNvSpPr>
          <p:nvPr>
            <p:ph type="title" hasCustomPrompt="1"/>
          </p:nvPr>
        </p:nvSpPr>
        <p:spPr>
          <a:xfrm>
            <a:off x="1317130" y="3334910"/>
            <a:ext cx="5594948" cy="597993"/>
          </a:xfrm>
        </p:spPr>
        <p:txBody>
          <a:bodyPr anchor="t">
            <a:noAutofit/>
          </a:bodyPr>
          <a:lstStyle>
            <a:lvl1pPr>
              <a:lnSpc>
                <a:spcPct val="100000"/>
              </a:lnSpc>
              <a:defRPr baseline="0">
                <a:solidFill>
                  <a:schemeClr val="tx2"/>
                </a:solidFill>
                <a:latin typeface="+mj-lt"/>
              </a:defRPr>
            </a:lvl1pPr>
          </a:lstStyle>
          <a:p>
            <a:r>
              <a:rPr lang="en-GB" noProof="0"/>
              <a:t>Divider title here</a:t>
            </a:r>
          </a:p>
        </p:txBody>
      </p:sp>
      <p:sp>
        <p:nvSpPr>
          <p:cNvPr id="25" name="Marcador de texto 4"/>
          <p:cNvSpPr>
            <a:spLocks noGrp="1"/>
          </p:cNvSpPr>
          <p:nvPr>
            <p:ph type="body" sz="quarter" idx="18" hasCustomPrompt="1"/>
          </p:nvPr>
        </p:nvSpPr>
        <p:spPr>
          <a:xfrm>
            <a:off x="1343084" y="3090840"/>
            <a:ext cx="5253038" cy="365169"/>
          </a:xfrm>
          <a:prstGeom prst="rect">
            <a:avLst/>
          </a:prstGeom>
        </p:spPr>
        <p:txBody>
          <a:bodyPr/>
          <a:lstStyle>
            <a:lvl1pPr marL="0" indent="0">
              <a:buNone/>
              <a:defRPr baseline="0"/>
            </a:lvl1pPr>
          </a:lstStyle>
          <a:p>
            <a:r>
              <a:rPr lang="es-ES" sz="1600" err="1">
                <a:solidFill>
                  <a:srgbClr val="00A9E0"/>
                </a:solidFill>
              </a:rPr>
              <a:t>Insert</a:t>
            </a:r>
            <a:r>
              <a:rPr lang="es-ES" sz="1600">
                <a:solidFill>
                  <a:srgbClr val="00A9E0"/>
                </a:solidFill>
              </a:rPr>
              <a:t> </a:t>
            </a:r>
            <a:r>
              <a:rPr lang="es-ES" sz="1600" err="1">
                <a:solidFill>
                  <a:srgbClr val="00A9E0"/>
                </a:solidFill>
              </a:rPr>
              <a:t>Title</a:t>
            </a:r>
            <a:endParaRPr lang="fr-FR" sz="1600">
              <a:solidFill>
                <a:srgbClr val="00A9E0"/>
              </a:solidFill>
            </a:endParaRPr>
          </a:p>
        </p:txBody>
      </p:sp>
      <p:grpSp>
        <p:nvGrpSpPr>
          <p:cNvPr id="26" name="Grupo 6"/>
          <p:cNvGrpSpPr/>
          <p:nvPr userDrawn="1"/>
        </p:nvGrpSpPr>
        <p:grpSpPr>
          <a:xfrm>
            <a:off x="601465" y="3106715"/>
            <a:ext cx="630056" cy="627890"/>
            <a:chOff x="5178153" y="2509517"/>
            <a:chExt cx="1846804" cy="1840454"/>
          </a:xfrm>
          <a:solidFill>
            <a:srgbClr val="00A9E0"/>
          </a:solidFill>
        </p:grpSpPr>
        <p:sp>
          <p:nvSpPr>
            <p:cNvPr id="27" name="Forma en L 7"/>
            <p:cNvSpPr/>
            <p:nvPr/>
          </p:nvSpPr>
          <p:spPr>
            <a:xfrm>
              <a:off x="5178153" y="3741417"/>
              <a:ext cx="608554" cy="608554"/>
            </a:xfrm>
            <a:prstGeom prst="corner">
              <a:avLst>
                <a:gd name="adj1" fmla="val 10870"/>
                <a:gd name="adj2" fmla="val 9305"/>
              </a:avLst>
            </a:prstGeom>
            <a:grp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28" name="Forma en L 136"/>
            <p:cNvSpPr/>
            <p:nvPr/>
          </p:nvSpPr>
          <p:spPr>
            <a:xfrm rot="5400000">
              <a:off x="5178153" y="2509517"/>
              <a:ext cx="608554" cy="608554"/>
            </a:xfrm>
            <a:prstGeom prst="corner">
              <a:avLst>
                <a:gd name="adj1" fmla="val 10870"/>
                <a:gd name="adj2" fmla="val 9305"/>
              </a:avLst>
            </a:prstGeom>
            <a:grp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29" name="Forma en L 137"/>
            <p:cNvSpPr/>
            <p:nvPr/>
          </p:nvSpPr>
          <p:spPr>
            <a:xfrm rot="16200000">
              <a:off x="6416403" y="3741417"/>
              <a:ext cx="608554" cy="608554"/>
            </a:xfrm>
            <a:prstGeom prst="corner">
              <a:avLst>
                <a:gd name="adj1" fmla="val 10870"/>
                <a:gd name="adj2" fmla="val 9305"/>
              </a:avLst>
            </a:prstGeom>
            <a:grp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1" name="Forma en L 144"/>
            <p:cNvSpPr/>
            <p:nvPr/>
          </p:nvSpPr>
          <p:spPr>
            <a:xfrm rot="10800000">
              <a:off x="6416403" y="2509517"/>
              <a:ext cx="608554" cy="608554"/>
            </a:xfrm>
            <a:prstGeom prst="corner">
              <a:avLst>
                <a:gd name="adj1" fmla="val 10870"/>
                <a:gd name="adj2" fmla="val 9305"/>
              </a:avLst>
            </a:prstGeom>
            <a:grp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grpSp>
      <p:sp>
        <p:nvSpPr>
          <p:cNvPr id="3" name="Text Placeholder 2"/>
          <p:cNvSpPr>
            <a:spLocks noGrp="1"/>
          </p:cNvSpPr>
          <p:nvPr>
            <p:ph type="body" sz="quarter" idx="19" hasCustomPrompt="1"/>
          </p:nvPr>
        </p:nvSpPr>
        <p:spPr>
          <a:xfrm>
            <a:off x="601663" y="3191801"/>
            <a:ext cx="630237" cy="628650"/>
          </a:xfrm>
          <a:prstGeom prst="rect">
            <a:avLst/>
          </a:prstGeom>
        </p:spPr>
        <p:txBody>
          <a:bodyPr/>
          <a:lstStyle>
            <a:lvl1pPr marL="0" indent="0">
              <a:buNone/>
              <a:defRPr sz="32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err="1"/>
              <a:t>Nr</a:t>
            </a:r>
            <a:endParaRPr lang="en-US"/>
          </a:p>
        </p:txBody>
      </p:sp>
      <p:sp>
        <p:nvSpPr>
          <p:cNvPr id="34"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a:br>
            <a:br>
              <a:rPr lang="en-GB" noProof="0"/>
            </a:br>
            <a:br>
              <a:rPr lang="en-GB" noProof="0"/>
            </a:br>
            <a:br>
              <a:rPr lang="en-GB" noProof="0"/>
            </a:br>
            <a:r>
              <a:rPr lang="en-GB" noProof="0"/>
              <a:t>Insert your picture here</a:t>
            </a:r>
          </a:p>
        </p:txBody>
      </p:sp>
    </p:spTree>
    <p:extLst>
      <p:ext uri="{BB962C8B-B14F-4D97-AF65-F5344CB8AC3E}">
        <p14:creationId xmlns:p14="http://schemas.microsoft.com/office/powerpoint/2010/main" val="120635860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II">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10752382" y="6444921"/>
            <a:ext cx="1308114" cy="276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0" name="Rectangle 29"/>
          <p:cNvSpPr/>
          <p:nvPr userDrawn="1"/>
        </p:nvSpPr>
        <p:spPr>
          <a:xfrm>
            <a:off x="-6351"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826573" y="3285709"/>
            <a:ext cx="5956600" cy="1325563"/>
          </a:xfrm>
        </p:spPr>
        <p:txBody>
          <a:bodyPr anchor="b"/>
          <a:lstStyle>
            <a:lvl1pPr>
              <a:lnSpc>
                <a:spcPct val="100000"/>
              </a:lnSpc>
              <a:defRPr baseline="0">
                <a:solidFill>
                  <a:schemeClr val="tx2"/>
                </a:solidFill>
                <a:latin typeface="+mj-lt"/>
              </a:defRPr>
            </a:lvl1pPr>
          </a:lstStyle>
          <a:p>
            <a:r>
              <a:rPr lang="en-GB" noProof="0"/>
              <a:t>Add your divider title here</a:t>
            </a:r>
          </a:p>
        </p:txBody>
      </p:sp>
      <p:sp>
        <p:nvSpPr>
          <p:cNvPr id="96" name="Text Placeholder 19"/>
          <p:cNvSpPr>
            <a:spLocks noGrp="1"/>
          </p:cNvSpPr>
          <p:nvPr>
            <p:ph type="body" sz="quarter" idx="13" hasCustomPrompt="1"/>
          </p:nvPr>
        </p:nvSpPr>
        <p:spPr>
          <a:xfrm>
            <a:off x="5826366" y="4729493"/>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
        <p:nvSpPr>
          <p:cNvPr id="11" name="Marcador de posición de imagen 17"/>
          <p:cNvSpPr>
            <a:spLocks noGrp="1"/>
          </p:cNvSpPr>
          <p:nvPr>
            <p:ph type="pic" sz="quarter" idx="16" hasCustomPrompt="1"/>
          </p:nvPr>
        </p:nvSpPr>
        <p:spPr>
          <a:xfrm flipH="1">
            <a:off x="-6348"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a:br>
            <a:br>
              <a:rPr lang="en-GB" noProof="0"/>
            </a:br>
            <a:br>
              <a:rPr lang="en-GB" noProof="0"/>
            </a:br>
            <a:br>
              <a:rPr lang="en-GB" noProof="0"/>
            </a:br>
            <a:r>
              <a:rPr lang="en-GB" noProof="0"/>
              <a:t>Insert your picture here</a:t>
            </a:r>
          </a:p>
        </p:txBody>
      </p:sp>
      <p:pic>
        <p:nvPicPr>
          <p:cNvPr id="21" name="Imagen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697951" y="182970"/>
            <a:ext cx="2544887" cy="887180"/>
          </a:xfrm>
          <a:prstGeom prst="rect">
            <a:avLst/>
          </a:prstGeom>
        </p:spPr>
      </p:pic>
      <p:sp>
        <p:nvSpPr>
          <p:cNvPr id="12" name="TextBox 11"/>
          <p:cNvSpPr txBox="1"/>
          <p:nvPr userDrawn="1"/>
        </p:nvSpPr>
        <p:spPr>
          <a:xfrm>
            <a:off x="6809695" y="6444921"/>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flipH="1">
            <a:off x="6584655" y="6402113"/>
            <a:ext cx="254224" cy="254224"/>
          </a:xfrm>
          <a:prstGeom prst="rect">
            <a:avLst/>
          </a:prstGeom>
        </p:spPr>
      </p:pic>
      <p:sp>
        <p:nvSpPr>
          <p:cNvPr id="14"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20283509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dex pag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68225" y="310463"/>
            <a:ext cx="11252793" cy="596766"/>
          </a:xfrm>
        </p:spPr>
        <p:txBody>
          <a:bodyPr tIns="0" anchor="b"/>
          <a:lstStyle>
            <a:lvl1pPr>
              <a:lnSpc>
                <a:spcPct val="100000"/>
              </a:lnSpc>
              <a:defRPr sz="3200">
                <a:solidFill>
                  <a:schemeClr val="tx2"/>
                </a:solidFill>
                <a:latin typeface="+mj-lt"/>
              </a:defRPr>
            </a:lvl1pPr>
          </a:lstStyle>
          <a:p>
            <a:r>
              <a:rPr lang="en-GB" noProof="0"/>
              <a:t>Agenda</a:t>
            </a:r>
          </a:p>
        </p:txBody>
      </p:sp>
      <p:sp>
        <p:nvSpPr>
          <p:cNvPr id="5" name="Marcador de texto 4"/>
          <p:cNvSpPr>
            <a:spLocks noGrp="1"/>
          </p:cNvSpPr>
          <p:nvPr>
            <p:ph type="body" sz="quarter" idx="14" hasCustomPrompt="1"/>
          </p:nvPr>
        </p:nvSpPr>
        <p:spPr>
          <a:xfrm>
            <a:off x="302728" y="1155701"/>
            <a:ext cx="11252792"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Tree>
    <p:extLst>
      <p:ext uri="{BB962C8B-B14F-4D97-AF65-F5344CB8AC3E}">
        <p14:creationId xmlns:p14="http://schemas.microsoft.com/office/powerpoint/2010/main" val="3461406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268224" y="1480159"/>
            <a:ext cx="5218176" cy="1349538"/>
          </a:xfrm>
          <a:prstGeom prst="rect">
            <a:avLst/>
          </a:prstGeom>
        </p:spPr>
        <p:txBody>
          <a:bodyPr>
            <a:noAutofit/>
          </a:bodyPr>
          <a:lstStyle>
            <a:lvl1pPr marL="0" indent="0">
              <a:lnSpc>
                <a:spcPct val="100000"/>
              </a:lnSpc>
              <a:buNone/>
              <a:defRPr sz="2000" kern="0" baseline="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lang="en-US" smtClean="0"/>
            </a:lvl1pPr>
          </a:lstStyle>
          <a:p>
            <a:r>
              <a:rPr lang="en-GB" noProof="0" dirty="0"/>
              <a:t>© Amadeus IT Group and its affiliates and subsidiaries</a:t>
            </a:r>
          </a:p>
        </p:txBody>
      </p:sp>
      <p:sp>
        <p:nvSpPr>
          <p:cNvPr id="13"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20"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Picture Placeholder 30"/>
          <p:cNvSpPr>
            <a:spLocks noGrp="1"/>
          </p:cNvSpPr>
          <p:nvPr>
            <p:ph type="pic" sz="quarter" idx="14" hasCustomPrompt="1"/>
          </p:nvPr>
        </p:nvSpPr>
        <p:spPr>
          <a:xfrm>
            <a:off x="6" y="2979036"/>
            <a:ext cx="4002685" cy="3878978"/>
          </a:xfrm>
          <a:custGeom>
            <a:avLst/>
            <a:gdLst>
              <a:gd name="connsiteX0" fmla="*/ 2435667 w 3352801"/>
              <a:gd name="connsiteY0" fmla="*/ 0 h 2652713"/>
              <a:gd name="connsiteX1" fmla="*/ 2441681 w 3352801"/>
              <a:gd name="connsiteY1" fmla="*/ 0 h 2652713"/>
              <a:gd name="connsiteX2" fmla="*/ 2467241 w 3352801"/>
              <a:gd name="connsiteY2" fmla="*/ 0 h 2652713"/>
              <a:gd name="connsiteX3" fmla="*/ 3352801 w 3352801"/>
              <a:gd name="connsiteY3" fmla="*/ 884739 h 2652713"/>
              <a:gd name="connsiteX4" fmla="*/ 3300179 w 3352801"/>
              <a:gd name="connsiteY4" fmla="*/ 1183657 h 2652713"/>
              <a:gd name="connsiteX5" fmla="*/ 3301682 w 3352801"/>
              <a:gd name="connsiteY5" fmla="*/ 1183657 h 2652713"/>
              <a:gd name="connsiteX6" fmla="*/ 2837101 w 3352801"/>
              <a:gd name="connsiteY6" fmla="*/ 2652713 h 2652713"/>
              <a:gd name="connsiteX7" fmla="*/ 4511 w 3352801"/>
              <a:gd name="connsiteY7" fmla="*/ 2652713 h 2652713"/>
              <a:gd name="connsiteX8" fmla="*/ 0 w 3352801"/>
              <a:gd name="connsiteY8" fmla="*/ 268876 h 2652713"/>
              <a:gd name="connsiteX9" fmla="*/ 2301856 w 3352801"/>
              <a:gd name="connsiteY9" fmla="*/ 15021 h 2652713"/>
              <a:gd name="connsiteX10" fmla="*/ 2435667 w 3352801"/>
              <a:gd name="connsiteY10" fmla="*/ 0 h 265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01" h="2652713">
                <a:moveTo>
                  <a:pt x="2435667" y="0"/>
                </a:moveTo>
                <a:cubicBezTo>
                  <a:pt x="2435667" y="0"/>
                  <a:pt x="2435667" y="0"/>
                  <a:pt x="2441681" y="0"/>
                </a:cubicBezTo>
                <a:cubicBezTo>
                  <a:pt x="2449199" y="0"/>
                  <a:pt x="2458220" y="0"/>
                  <a:pt x="2467241" y="0"/>
                </a:cubicBezTo>
                <a:cubicBezTo>
                  <a:pt x="2955878" y="0"/>
                  <a:pt x="3352801" y="395053"/>
                  <a:pt x="3352801" y="884739"/>
                </a:cubicBezTo>
                <a:cubicBezTo>
                  <a:pt x="3352801" y="989886"/>
                  <a:pt x="3334759" y="1090527"/>
                  <a:pt x="3300179" y="1183657"/>
                </a:cubicBezTo>
                <a:cubicBezTo>
                  <a:pt x="3300179" y="1183657"/>
                  <a:pt x="3300179" y="1183657"/>
                  <a:pt x="3301682" y="1183657"/>
                </a:cubicBezTo>
                <a:cubicBezTo>
                  <a:pt x="3301682" y="1183657"/>
                  <a:pt x="3301682" y="1183657"/>
                  <a:pt x="2837101" y="2652713"/>
                </a:cubicBezTo>
                <a:cubicBezTo>
                  <a:pt x="2837101" y="2652713"/>
                  <a:pt x="2837101" y="2652713"/>
                  <a:pt x="4511" y="2652713"/>
                </a:cubicBezTo>
                <a:cubicBezTo>
                  <a:pt x="4511" y="2652713"/>
                  <a:pt x="4511" y="2652713"/>
                  <a:pt x="0" y="268876"/>
                </a:cubicBezTo>
                <a:cubicBezTo>
                  <a:pt x="0" y="268876"/>
                  <a:pt x="0" y="268876"/>
                  <a:pt x="2301856" y="15021"/>
                </a:cubicBezTo>
                <a:cubicBezTo>
                  <a:pt x="2345457" y="6008"/>
                  <a:pt x="2390562" y="1502"/>
                  <a:pt x="2435667" y="0"/>
                </a:cubicBezTo>
                <a:close/>
              </a:path>
            </a:pathLst>
          </a:custGeom>
          <a:solidFill>
            <a:schemeClr val="bg1">
              <a:lumMod val="95000"/>
            </a:schemeClr>
          </a:solidFill>
        </p:spPr>
        <p:txBody>
          <a:bodyPr wrap="square" anchor="ctr">
            <a:noAutofit/>
          </a:bodyPr>
          <a:lstStyle>
            <a:lvl1pPr marL="0" indent="0" algn="ctr">
              <a:buNone/>
              <a:defRPr/>
            </a:lvl1pPr>
          </a:lstStyle>
          <a:p>
            <a:br>
              <a:rPr lang="en-GB" noProof="0" dirty="0"/>
            </a:br>
            <a:br>
              <a:rPr lang="en-GB" noProof="0" dirty="0"/>
            </a:br>
            <a:r>
              <a:rPr lang="en-GB" noProof="0" dirty="0"/>
              <a:t>Insert your picture here</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Tree>
    <p:extLst>
      <p:ext uri="{BB962C8B-B14F-4D97-AF65-F5344CB8AC3E}">
        <p14:creationId xmlns:p14="http://schemas.microsoft.com/office/powerpoint/2010/main" val="228109109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dex with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a:off x="6361889" y="6308726"/>
            <a:ext cx="953311" cy="4714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a:br>
            <a:br>
              <a:rPr lang="en-GB" noProof="0"/>
            </a:br>
            <a:br>
              <a:rPr lang="en-GB" noProof="0"/>
            </a:br>
            <a:br>
              <a:rPr lang="en-GB" noProof="0"/>
            </a:br>
            <a:r>
              <a:rPr lang="en-GB" noProof="0"/>
              <a:t>Insert your picture here</a:t>
            </a:r>
          </a:p>
        </p:txBody>
      </p:sp>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16" name="Title 1"/>
          <p:cNvSpPr>
            <a:spLocks noGrp="1"/>
          </p:cNvSpPr>
          <p:nvPr>
            <p:ph type="title" hasCustomPrompt="1"/>
          </p:nvPr>
        </p:nvSpPr>
        <p:spPr>
          <a:xfrm>
            <a:off x="268225" y="310463"/>
            <a:ext cx="6286759" cy="596766"/>
          </a:xfrm>
        </p:spPr>
        <p:txBody>
          <a:bodyPr tIns="0" anchor="b"/>
          <a:lstStyle>
            <a:lvl1pPr>
              <a:lnSpc>
                <a:spcPct val="100000"/>
              </a:lnSpc>
              <a:defRPr sz="3200">
                <a:solidFill>
                  <a:schemeClr val="tx2"/>
                </a:solidFill>
                <a:latin typeface="+mj-lt"/>
              </a:defRPr>
            </a:lvl1pPr>
          </a:lstStyle>
          <a:p>
            <a:r>
              <a:rPr lang="en-GB" noProof="0"/>
              <a:t>Agenda</a:t>
            </a:r>
          </a:p>
        </p:txBody>
      </p:sp>
      <p:sp>
        <p:nvSpPr>
          <p:cNvPr id="17" name="Marcador de texto 4"/>
          <p:cNvSpPr>
            <a:spLocks noGrp="1"/>
          </p:cNvSpPr>
          <p:nvPr>
            <p:ph type="body" sz="quarter" idx="14" hasCustomPrompt="1"/>
          </p:nvPr>
        </p:nvSpPr>
        <p:spPr>
          <a:xfrm>
            <a:off x="302728" y="1155701"/>
            <a:ext cx="6286758"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Tree>
    <p:extLst>
      <p:ext uri="{BB962C8B-B14F-4D97-AF65-F5344CB8AC3E}">
        <p14:creationId xmlns:p14="http://schemas.microsoft.com/office/powerpoint/2010/main" val="41076449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09" y="1480159"/>
            <a:ext cx="11228409" cy="444268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972361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292608" y="1480173"/>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7"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8"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8" name="Marcador de texto 2"/>
          <p:cNvSpPr>
            <a:spLocks noGrp="1"/>
          </p:cNvSpPr>
          <p:nvPr>
            <p:ph type="body" sz="quarter" idx="19" hasCustomPrompt="1"/>
          </p:nvPr>
        </p:nvSpPr>
        <p:spPr>
          <a:xfrm>
            <a:off x="6063308" y="1472789"/>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159156436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268224" y="1480159"/>
            <a:ext cx="5218176" cy="1349538"/>
          </a:xfrm>
          <a:prstGeom prst="rect">
            <a:avLst/>
          </a:prstGeom>
        </p:spPr>
        <p:txBody>
          <a:bodyPr>
            <a:noAutofit/>
          </a:bodyPr>
          <a:lstStyle>
            <a:lvl1pPr marL="0" indent="0">
              <a:lnSpc>
                <a:spcPct val="100000"/>
              </a:lnSpc>
              <a:buNone/>
              <a:defRPr sz="2000" kern="0" baseline="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lang="en-US" smtClean="0"/>
            </a:lvl1pPr>
          </a:lstStyle>
          <a:p>
            <a:r>
              <a:rPr lang="en-GB">
                <a:solidFill>
                  <a:srgbClr val="FFFFFF">
                    <a:lumMod val="65000"/>
                  </a:srgbClr>
                </a:solidFill>
              </a:rPr>
              <a:t>© Amadeus IT Group and its affiliates and subsidiaries</a:t>
            </a:r>
          </a:p>
        </p:txBody>
      </p:sp>
      <p:sp>
        <p:nvSpPr>
          <p:cNvPr id="13"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20"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Picture Placeholder 30"/>
          <p:cNvSpPr>
            <a:spLocks noGrp="1"/>
          </p:cNvSpPr>
          <p:nvPr>
            <p:ph type="pic" sz="quarter" idx="14" hasCustomPrompt="1"/>
          </p:nvPr>
        </p:nvSpPr>
        <p:spPr>
          <a:xfrm>
            <a:off x="6" y="2979036"/>
            <a:ext cx="4002685" cy="3878978"/>
          </a:xfrm>
          <a:custGeom>
            <a:avLst/>
            <a:gdLst>
              <a:gd name="connsiteX0" fmla="*/ 2435667 w 3352801"/>
              <a:gd name="connsiteY0" fmla="*/ 0 h 2652713"/>
              <a:gd name="connsiteX1" fmla="*/ 2441681 w 3352801"/>
              <a:gd name="connsiteY1" fmla="*/ 0 h 2652713"/>
              <a:gd name="connsiteX2" fmla="*/ 2467241 w 3352801"/>
              <a:gd name="connsiteY2" fmla="*/ 0 h 2652713"/>
              <a:gd name="connsiteX3" fmla="*/ 3352801 w 3352801"/>
              <a:gd name="connsiteY3" fmla="*/ 884739 h 2652713"/>
              <a:gd name="connsiteX4" fmla="*/ 3300179 w 3352801"/>
              <a:gd name="connsiteY4" fmla="*/ 1183657 h 2652713"/>
              <a:gd name="connsiteX5" fmla="*/ 3301682 w 3352801"/>
              <a:gd name="connsiteY5" fmla="*/ 1183657 h 2652713"/>
              <a:gd name="connsiteX6" fmla="*/ 2837101 w 3352801"/>
              <a:gd name="connsiteY6" fmla="*/ 2652713 h 2652713"/>
              <a:gd name="connsiteX7" fmla="*/ 4511 w 3352801"/>
              <a:gd name="connsiteY7" fmla="*/ 2652713 h 2652713"/>
              <a:gd name="connsiteX8" fmla="*/ 0 w 3352801"/>
              <a:gd name="connsiteY8" fmla="*/ 268876 h 2652713"/>
              <a:gd name="connsiteX9" fmla="*/ 2301856 w 3352801"/>
              <a:gd name="connsiteY9" fmla="*/ 15021 h 2652713"/>
              <a:gd name="connsiteX10" fmla="*/ 2435667 w 3352801"/>
              <a:gd name="connsiteY10" fmla="*/ 0 h 265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01" h="2652713">
                <a:moveTo>
                  <a:pt x="2435667" y="0"/>
                </a:moveTo>
                <a:cubicBezTo>
                  <a:pt x="2435667" y="0"/>
                  <a:pt x="2435667" y="0"/>
                  <a:pt x="2441681" y="0"/>
                </a:cubicBezTo>
                <a:cubicBezTo>
                  <a:pt x="2449199" y="0"/>
                  <a:pt x="2458220" y="0"/>
                  <a:pt x="2467241" y="0"/>
                </a:cubicBezTo>
                <a:cubicBezTo>
                  <a:pt x="2955878" y="0"/>
                  <a:pt x="3352801" y="395053"/>
                  <a:pt x="3352801" y="884739"/>
                </a:cubicBezTo>
                <a:cubicBezTo>
                  <a:pt x="3352801" y="989886"/>
                  <a:pt x="3334759" y="1090527"/>
                  <a:pt x="3300179" y="1183657"/>
                </a:cubicBezTo>
                <a:cubicBezTo>
                  <a:pt x="3300179" y="1183657"/>
                  <a:pt x="3300179" y="1183657"/>
                  <a:pt x="3301682" y="1183657"/>
                </a:cubicBezTo>
                <a:cubicBezTo>
                  <a:pt x="3301682" y="1183657"/>
                  <a:pt x="3301682" y="1183657"/>
                  <a:pt x="2837101" y="2652713"/>
                </a:cubicBezTo>
                <a:cubicBezTo>
                  <a:pt x="2837101" y="2652713"/>
                  <a:pt x="2837101" y="2652713"/>
                  <a:pt x="4511" y="2652713"/>
                </a:cubicBezTo>
                <a:cubicBezTo>
                  <a:pt x="4511" y="2652713"/>
                  <a:pt x="4511" y="2652713"/>
                  <a:pt x="0" y="268876"/>
                </a:cubicBezTo>
                <a:cubicBezTo>
                  <a:pt x="0" y="268876"/>
                  <a:pt x="0" y="268876"/>
                  <a:pt x="2301856" y="15021"/>
                </a:cubicBezTo>
                <a:cubicBezTo>
                  <a:pt x="2345457" y="6008"/>
                  <a:pt x="2390562" y="1502"/>
                  <a:pt x="2435667" y="0"/>
                </a:cubicBezTo>
                <a:close/>
              </a:path>
            </a:pathLst>
          </a:custGeom>
          <a:solidFill>
            <a:schemeClr val="bg1">
              <a:lumMod val="95000"/>
            </a:schemeClr>
          </a:solidFill>
        </p:spPr>
        <p:txBody>
          <a:bodyPr wrap="square" anchor="ctr">
            <a:noAutofit/>
          </a:bodyPr>
          <a:lstStyle>
            <a:lvl1pPr marL="0" indent="0" algn="ctr">
              <a:buNone/>
              <a:defRPr/>
            </a:lvl1pPr>
          </a:lstStyle>
          <a:p>
            <a:br>
              <a:rPr lang="en-GB" noProof="0"/>
            </a:br>
            <a:br>
              <a:rPr lang="en-GB" noProof="0"/>
            </a:br>
            <a:r>
              <a:rPr lang="en-GB" noProof="0"/>
              <a:t>Insert your picture here</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15099380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p:cNvSpPr>
            <a:spLocks noGrp="1"/>
          </p:cNvSpPr>
          <p:nvPr>
            <p:ph type="pic" sz="quarter" idx="15" hasCustomPrompt="1"/>
          </p:nvPr>
        </p:nvSpPr>
        <p:spPr>
          <a:xfrm>
            <a:off x="6050347" y="3747118"/>
            <a:ext cx="5470141" cy="1790083"/>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5581458"/>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p:cNvSpPr>
            <a:spLocks noGrp="1"/>
          </p:cNvSpPr>
          <p:nvPr>
            <p:ph type="pic" sz="quarter" idx="20" hasCustomPrompt="1"/>
          </p:nvPr>
        </p:nvSpPr>
        <p:spPr>
          <a:xfrm>
            <a:off x="6050084" y="1330841"/>
            <a:ext cx="5470141" cy="1790206"/>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6" name="Title 1"/>
          <p:cNvSpPr>
            <a:spLocks noGrp="1"/>
          </p:cNvSpPr>
          <p:nvPr>
            <p:ph type="title" hasCustomPrompt="1"/>
          </p:nvPr>
        </p:nvSpPr>
        <p:spPr>
          <a:xfrm>
            <a:off x="268225" y="296865"/>
            <a:ext cx="9378888" cy="482549"/>
          </a:xfrm>
        </p:spPr>
        <p:txBody>
          <a:bodyPr anchor="t">
            <a:noAutofit/>
          </a:bodyPr>
          <a:lstStyle>
            <a:lvl1pPr>
              <a:defRPr sz="3200">
                <a:solidFill>
                  <a:schemeClr val="tx2"/>
                </a:solidFill>
                <a:latin typeface="+mj-lt"/>
              </a:defRPr>
            </a:lvl1pPr>
          </a:lstStyle>
          <a:p>
            <a:r>
              <a:rPr lang="en-GB" noProof="0"/>
              <a:t>Add your title here</a:t>
            </a:r>
          </a:p>
        </p:txBody>
      </p:sp>
      <p:sp>
        <p:nvSpPr>
          <p:cNvPr id="18" name="Text Placeholder 19"/>
          <p:cNvSpPr>
            <a:spLocks noGrp="1"/>
          </p:cNvSpPr>
          <p:nvPr>
            <p:ph type="body" sz="quarter" idx="13" hasCustomPrompt="1"/>
          </p:nvPr>
        </p:nvSpPr>
        <p:spPr>
          <a:xfrm>
            <a:off x="268225" y="779412"/>
            <a:ext cx="9378888"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1" name="Marcador de texto 2"/>
          <p:cNvSpPr>
            <a:spLocks noGrp="1"/>
          </p:cNvSpPr>
          <p:nvPr>
            <p:ph type="body" sz="quarter" idx="19" hasCustomPrompt="1"/>
          </p:nvPr>
        </p:nvSpPr>
        <p:spPr>
          <a:xfrm>
            <a:off x="268225" y="1302027"/>
            <a:ext cx="5492496" cy="4438374"/>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202642"/>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367939442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83873" y="899886"/>
            <a:ext cx="11022863" cy="4267200"/>
          </a:xfrm>
        </p:spPr>
        <p:txBody>
          <a:bodyPr anchor="b">
            <a:normAutofit/>
          </a:bodyPr>
          <a:lstStyle>
            <a:lvl1pPr>
              <a:lnSpc>
                <a:spcPct val="100000"/>
              </a:lnSpc>
              <a:defRPr sz="3200" baseline="0">
                <a:solidFill>
                  <a:schemeClr val="tx2"/>
                </a:solidFill>
                <a:latin typeface="+mj-lt"/>
              </a:defRPr>
            </a:lvl1pPr>
          </a:lstStyle>
          <a:p>
            <a:r>
              <a:rPr lang="en-GB" noProof="0"/>
              <a:t>“Click to insert your quote”</a:t>
            </a:r>
          </a:p>
        </p:txBody>
      </p:sp>
      <p:sp>
        <p:nvSpPr>
          <p:cNvPr id="6" name="Text Placeholder 19"/>
          <p:cNvSpPr>
            <a:spLocks noGrp="1"/>
          </p:cNvSpPr>
          <p:nvPr>
            <p:ph type="body" sz="quarter" idx="13"/>
          </p:nvPr>
        </p:nvSpPr>
        <p:spPr>
          <a:xfrm>
            <a:off x="283657" y="5240908"/>
            <a:ext cx="4602163" cy="498992"/>
          </a:xfrm>
          <a:prstGeom prst="rect">
            <a:avLst/>
          </a:prstGeom>
        </p:spPr>
        <p:txBody>
          <a:bodyPr>
            <a:noAutofit/>
          </a:bodyPr>
          <a:lstStyle>
            <a:lvl1pPr marL="0" indent="0">
              <a:lnSpc>
                <a:spcPts val="1425"/>
              </a:lnSpc>
              <a:buNone/>
              <a:defRPr sz="135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Tree>
    <p:extLst>
      <p:ext uri="{BB962C8B-B14F-4D97-AF65-F5344CB8AC3E}">
        <p14:creationId xmlns:p14="http://schemas.microsoft.com/office/powerpoint/2010/main" val="272444327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2" name="Rectángulo 1"/>
          <p:cNvSpPr/>
          <p:nvPr userDrawn="1"/>
        </p:nvSpPr>
        <p:spPr>
          <a:xfrm>
            <a:off x="0" y="5828996"/>
            <a:ext cx="3781425" cy="1029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43" name="Content Placeholder 5"/>
          <p:cNvSpPr>
            <a:spLocks noGrp="1"/>
          </p:cNvSpPr>
          <p:nvPr>
            <p:ph sz="quarter" idx="4"/>
          </p:nvPr>
        </p:nvSpPr>
        <p:spPr>
          <a:xfrm>
            <a:off x="304085" y="4034980"/>
            <a:ext cx="3630108" cy="2240292"/>
          </a:xfrm>
          <a:prstGeom prst="rect">
            <a:avLst/>
          </a:prstGeom>
        </p:spPr>
        <p:txBody>
          <a:bodyPr anchor="b">
            <a:noAutofit/>
          </a:bodyPr>
          <a:lstStyle>
            <a:lvl1pPr marL="0" indent="0">
              <a:lnSpc>
                <a:spcPct val="100000"/>
              </a:lnSpc>
              <a:spcAft>
                <a:spcPts val="900"/>
              </a:spcAft>
              <a:buNone/>
              <a:defRPr sz="20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US" noProof="0"/>
              <a:t>Click to edit Master text styles</a:t>
            </a:r>
          </a:p>
        </p:txBody>
      </p:sp>
      <p:sp>
        <p:nvSpPr>
          <p:cNvPr id="36" name="Marcador de número de diapositiva 32"/>
          <p:cNvSpPr>
            <a:spLocks noGrp="1"/>
          </p:cNvSpPr>
          <p:nvPr>
            <p:ph type="sldNum" sz="quarter" idx="31"/>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6" name="Picture Placeholder 59"/>
          <p:cNvSpPr>
            <a:spLocks noGrp="1"/>
          </p:cNvSpPr>
          <p:nvPr>
            <p:ph type="pic" sz="quarter" idx="22" hasCustomPrompt="1"/>
          </p:nvPr>
        </p:nvSpPr>
        <p:spPr>
          <a:xfrm>
            <a:off x="6217528" y="13343"/>
            <a:ext cx="5956887" cy="4900446"/>
          </a:xfrm>
          <a:custGeom>
            <a:avLst/>
            <a:gdLst>
              <a:gd name="connsiteX0" fmla="*/ 1507176 w 7526189"/>
              <a:gd name="connsiteY0" fmla="*/ 0 h 4900446"/>
              <a:gd name="connsiteX1" fmla="*/ 7526189 w 7526189"/>
              <a:gd name="connsiteY1" fmla="*/ 0 h 4900446"/>
              <a:gd name="connsiteX2" fmla="*/ 7526189 w 7526189"/>
              <a:gd name="connsiteY2" fmla="*/ 3753700 h 4900446"/>
              <a:gd name="connsiteX3" fmla="*/ 416883 w 7526189"/>
              <a:gd name="connsiteY3" fmla="*/ 3876833 h 4900446"/>
              <a:gd name="connsiteX4" fmla="*/ 1507176 w 7526189"/>
              <a:gd name="connsiteY4" fmla="*/ 0 h 490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6189" h="4900446">
                <a:moveTo>
                  <a:pt x="1507176" y="0"/>
                </a:moveTo>
                <a:lnTo>
                  <a:pt x="7526189" y="0"/>
                </a:lnTo>
                <a:cubicBezTo>
                  <a:pt x="7526189" y="0"/>
                  <a:pt x="7526189" y="0"/>
                  <a:pt x="7526189" y="3753700"/>
                </a:cubicBezTo>
                <a:cubicBezTo>
                  <a:pt x="6581517" y="4171607"/>
                  <a:pt x="1660265" y="6037263"/>
                  <a:pt x="416883" y="3876833"/>
                </a:cubicBezTo>
                <a:cubicBezTo>
                  <a:pt x="-852636" y="1667897"/>
                  <a:pt x="1148723" y="235073"/>
                  <a:pt x="1507176" y="0"/>
                </a:cubicBezTo>
                <a:close/>
              </a:path>
            </a:pathLst>
          </a:custGeom>
          <a:solidFill>
            <a:srgbClr val="ECECEC"/>
          </a:solidFill>
        </p:spPr>
        <p:txBody>
          <a:bodyPr wrap="square" anchor="ctr">
            <a:noAutofit/>
          </a:bodyPr>
          <a:lstStyle>
            <a:lvl1pPr marL="0" indent="0" algn="ctr">
              <a:buNone/>
              <a:defRPr/>
            </a:lvl1pPr>
          </a:lstStyle>
          <a:p>
            <a:br>
              <a:rPr lang="en-GB" noProof="0"/>
            </a:br>
            <a:br>
              <a:rPr lang="en-GB" noProof="0"/>
            </a:br>
            <a:r>
              <a:rPr lang="en-GB" noProof="0"/>
              <a:t>Insert your picture here</a:t>
            </a:r>
          </a:p>
        </p:txBody>
      </p:sp>
      <p:sp>
        <p:nvSpPr>
          <p:cNvPr id="17" name="Text Placeholder 68"/>
          <p:cNvSpPr>
            <a:spLocks noGrp="1"/>
          </p:cNvSpPr>
          <p:nvPr>
            <p:ph type="body" sz="quarter" idx="23" hasCustomPrompt="1"/>
          </p:nvPr>
        </p:nvSpPr>
        <p:spPr>
          <a:xfrm>
            <a:off x="5759505" y="1091922"/>
            <a:ext cx="1440000" cy="1438317"/>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CE0058"/>
          </a:solidFill>
        </p:spPr>
        <p:txBody>
          <a:bodyPr wrap="square" tIns="864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a:t>Click to edit</a:t>
            </a:r>
          </a:p>
        </p:txBody>
      </p:sp>
      <p:sp>
        <p:nvSpPr>
          <p:cNvPr id="18" name="Text Placeholder 70"/>
          <p:cNvSpPr>
            <a:spLocks noGrp="1"/>
          </p:cNvSpPr>
          <p:nvPr>
            <p:ph type="body" sz="quarter" idx="24" hasCustomPrompt="1"/>
          </p:nvPr>
        </p:nvSpPr>
        <p:spPr>
          <a:xfrm>
            <a:off x="5883419" y="1517411"/>
            <a:ext cx="1205942" cy="463831"/>
          </a:xfrm>
          <a:prstGeom prst="rect">
            <a:avLst/>
          </a:prstGeom>
        </p:spPr>
        <p:txBody>
          <a:bodyPr>
            <a:noAutofit/>
          </a:bodyPr>
          <a:lstStyle>
            <a:lvl1pPr marL="0" indent="0" algn="ctr">
              <a:buNone/>
              <a:defRPr sz="2700">
                <a:solidFill>
                  <a:schemeClr val="bg1"/>
                </a:solidFill>
              </a:defRPr>
            </a:lvl1pPr>
          </a:lstStyle>
          <a:p>
            <a:pPr lvl="0"/>
            <a:r>
              <a:rPr lang="en-GB" noProof="0"/>
              <a:t>Numb</a:t>
            </a:r>
          </a:p>
        </p:txBody>
      </p:sp>
      <p:sp>
        <p:nvSpPr>
          <p:cNvPr id="19" name="Text Placeholder 71"/>
          <p:cNvSpPr>
            <a:spLocks noGrp="1"/>
          </p:cNvSpPr>
          <p:nvPr>
            <p:ph type="body" sz="quarter" idx="25" hasCustomPrompt="1"/>
          </p:nvPr>
        </p:nvSpPr>
        <p:spPr>
          <a:xfrm>
            <a:off x="6415026" y="3686660"/>
            <a:ext cx="2124000" cy="2124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2"/>
          </a:solidFill>
        </p:spPr>
        <p:txBody>
          <a:bodyPr wrap="square" tIns="1368000">
            <a:noAutofit/>
          </a:bodyPr>
          <a:lstStyle>
            <a:lvl1pPr marL="0" indent="0" algn="ctr">
              <a:lnSpc>
                <a:spcPct val="50000"/>
              </a:lnSpc>
              <a:spcBef>
                <a:spcPts val="450"/>
              </a:spcBef>
              <a:buNone/>
              <a:defRPr sz="1800" baseline="0">
                <a:solidFill>
                  <a:schemeClr val="bg1"/>
                </a:solidFill>
              </a:defRPr>
            </a:lvl1pPr>
            <a:lvl2pPr algn="ctr">
              <a:defRPr/>
            </a:lvl2pPr>
          </a:lstStyle>
          <a:p>
            <a:pPr lvl="0"/>
            <a:r>
              <a:rPr lang="en-GB" noProof="0"/>
              <a:t>Click to edit</a:t>
            </a:r>
          </a:p>
        </p:txBody>
      </p:sp>
      <p:sp>
        <p:nvSpPr>
          <p:cNvPr id="20" name="Text Placeholder 70"/>
          <p:cNvSpPr>
            <a:spLocks noGrp="1"/>
          </p:cNvSpPr>
          <p:nvPr>
            <p:ph type="body" sz="quarter" idx="26" hasCustomPrompt="1"/>
          </p:nvPr>
        </p:nvSpPr>
        <p:spPr>
          <a:xfrm>
            <a:off x="6453877" y="4415153"/>
            <a:ext cx="1939187" cy="615030"/>
          </a:xfrm>
          <a:prstGeom prst="rect">
            <a:avLst/>
          </a:prstGeom>
        </p:spPr>
        <p:txBody>
          <a:bodyPr>
            <a:noAutofit/>
          </a:bodyPr>
          <a:lstStyle>
            <a:lvl1pPr marL="0" indent="0" algn="ctr">
              <a:buNone/>
              <a:defRPr sz="4050">
                <a:solidFill>
                  <a:schemeClr val="bg1"/>
                </a:solidFill>
              </a:defRPr>
            </a:lvl1pPr>
          </a:lstStyle>
          <a:p>
            <a:pPr lvl="0"/>
            <a:r>
              <a:rPr lang="en-GB" noProof="0"/>
              <a:t>Numb</a:t>
            </a:r>
          </a:p>
        </p:txBody>
      </p:sp>
      <p:sp>
        <p:nvSpPr>
          <p:cNvPr id="21" name="Text Placeholder 73"/>
          <p:cNvSpPr>
            <a:spLocks noGrp="1"/>
          </p:cNvSpPr>
          <p:nvPr>
            <p:ph type="body" sz="quarter" idx="27" hasCustomPrompt="1"/>
          </p:nvPr>
        </p:nvSpPr>
        <p:spPr>
          <a:xfrm>
            <a:off x="8897242" y="3748156"/>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1"/>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a:t>Click to edit</a:t>
            </a:r>
          </a:p>
        </p:txBody>
      </p:sp>
      <p:sp>
        <p:nvSpPr>
          <p:cNvPr id="22" name="Text Placeholder 70"/>
          <p:cNvSpPr>
            <a:spLocks noGrp="1"/>
          </p:cNvSpPr>
          <p:nvPr>
            <p:ph type="body" sz="quarter" idx="28" hasCustomPrompt="1"/>
          </p:nvPr>
        </p:nvSpPr>
        <p:spPr>
          <a:xfrm>
            <a:off x="8950110" y="4216184"/>
            <a:ext cx="1266262" cy="414083"/>
          </a:xfrm>
          <a:prstGeom prst="rect">
            <a:avLst/>
          </a:prstGeom>
        </p:spPr>
        <p:txBody>
          <a:bodyPr>
            <a:noAutofit/>
          </a:bodyPr>
          <a:lstStyle>
            <a:lvl1pPr marL="0" indent="0" algn="ctr">
              <a:buNone/>
              <a:defRPr sz="2700">
                <a:solidFill>
                  <a:schemeClr val="bg1"/>
                </a:solidFill>
              </a:defRPr>
            </a:lvl1pPr>
          </a:lstStyle>
          <a:p>
            <a:pPr lvl="0"/>
            <a:r>
              <a:rPr lang="en-GB" noProof="0"/>
              <a:t>Numb</a:t>
            </a:r>
          </a:p>
        </p:txBody>
      </p:sp>
      <p:sp>
        <p:nvSpPr>
          <p:cNvPr id="26" name="Text Placeholder 75"/>
          <p:cNvSpPr>
            <a:spLocks noGrp="1"/>
          </p:cNvSpPr>
          <p:nvPr>
            <p:ph type="body" sz="quarter" idx="29" hasCustomPrompt="1"/>
          </p:nvPr>
        </p:nvSpPr>
        <p:spPr>
          <a:xfrm>
            <a:off x="10520740" y="4644293"/>
            <a:ext cx="1008000" cy="1008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E95326"/>
          </a:solidFill>
        </p:spPr>
        <p:txBody>
          <a:bodyPr wrap="square" tIns="684000">
            <a:noAutofit/>
          </a:bodyPr>
          <a:lstStyle>
            <a:lvl1pPr marL="0" indent="0" algn="ctr">
              <a:lnSpc>
                <a:spcPct val="50000"/>
              </a:lnSpc>
              <a:spcBef>
                <a:spcPts val="450"/>
              </a:spcBef>
              <a:buNone/>
              <a:defRPr sz="1050" baseline="0">
                <a:solidFill>
                  <a:schemeClr val="bg1"/>
                </a:solidFill>
              </a:defRPr>
            </a:lvl1pPr>
            <a:lvl2pPr algn="ctr">
              <a:defRPr/>
            </a:lvl2pPr>
          </a:lstStyle>
          <a:p>
            <a:pPr lvl="0"/>
            <a:r>
              <a:rPr lang="en-GB" noProof="0"/>
              <a:t>Click to edit</a:t>
            </a:r>
          </a:p>
        </p:txBody>
      </p:sp>
      <p:sp>
        <p:nvSpPr>
          <p:cNvPr id="27" name="Text Placeholder 70"/>
          <p:cNvSpPr>
            <a:spLocks noGrp="1"/>
          </p:cNvSpPr>
          <p:nvPr>
            <p:ph type="body" sz="quarter" idx="30" hasCustomPrompt="1"/>
          </p:nvPr>
        </p:nvSpPr>
        <p:spPr>
          <a:xfrm>
            <a:off x="10551870" y="4923524"/>
            <a:ext cx="967596" cy="300632"/>
          </a:xfrm>
          <a:prstGeom prst="rect">
            <a:avLst/>
          </a:prstGeom>
        </p:spPr>
        <p:txBody>
          <a:bodyPr>
            <a:noAutofit/>
          </a:bodyPr>
          <a:lstStyle>
            <a:lvl1pPr marL="0" indent="0" algn="ctr">
              <a:buNone/>
              <a:defRPr sz="2400">
                <a:solidFill>
                  <a:schemeClr val="bg1"/>
                </a:solidFill>
              </a:defRPr>
            </a:lvl1pPr>
          </a:lstStyle>
          <a:p>
            <a:pPr lvl="0"/>
            <a:r>
              <a:rPr lang="en-GB" noProof="0"/>
              <a:t>Numb</a:t>
            </a:r>
          </a:p>
        </p:txBody>
      </p:sp>
      <p:sp>
        <p:nvSpPr>
          <p:cNvPr id="24" name="Title 1"/>
          <p:cNvSpPr>
            <a:spLocks noGrp="1"/>
          </p:cNvSpPr>
          <p:nvPr>
            <p:ph type="title" hasCustomPrompt="1"/>
          </p:nvPr>
        </p:nvSpPr>
        <p:spPr>
          <a:xfrm>
            <a:off x="268224" y="296865"/>
            <a:ext cx="9459976" cy="482549"/>
          </a:xfrm>
        </p:spPr>
        <p:txBody>
          <a:bodyPr anchor="t">
            <a:noAutofit/>
          </a:bodyPr>
          <a:lstStyle>
            <a:lvl1pPr>
              <a:defRPr sz="3200">
                <a:solidFill>
                  <a:schemeClr val="tx2"/>
                </a:solidFill>
                <a:latin typeface="+mj-lt"/>
              </a:defRPr>
            </a:lvl1pPr>
          </a:lstStyle>
          <a:p>
            <a:r>
              <a:rPr lang="en-GB" noProof="0"/>
              <a:t>Add your title here</a:t>
            </a:r>
          </a:p>
        </p:txBody>
      </p:sp>
      <p:sp>
        <p:nvSpPr>
          <p:cNvPr id="25" name="Text Placeholder 19"/>
          <p:cNvSpPr>
            <a:spLocks noGrp="1"/>
          </p:cNvSpPr>
          <p:nvPr>
            <p:ph type="body" sz="quarter" idx="13"/>
          </p:nvPr>
        </p:nvSpPr>
        <p:spPr>
          <a:xfrm>
            <a:off x="268224" y="787824"/>
            <a:ext cx="7059676" cy="45151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28" name="Text Placeholder 73"/>
          <p:cNvSpPr>
            <a:spLocks noGrp="1"/>
          </p:cNvSpPr>
          <p:nvPr>
            <p:ph type="body" sz="quarter" idx="32" hasCustomPrompt="1"/>
          </p:nvPr>
        </p:nvSpPr>
        <p:spPr>
          <a:xfrm>
            <a:off x="4701870" y="2796165"/>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F7A827"/>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a:t>Click to edit</a:t>
            </a:r>
          </a:p>
        </p:txBody>
      </p:sp>
      <p:sp>
        <p:nvSpPr>
          <p:cNvPr id="29" name="Text Placeholder 70"/>
          <p:cNvSpPr>
            <a:spLocks noGrp="1"/>
          </p:cNvSpPr>
          <p:nvPr>
            <p:ph type="body" sz="quarter" idx="33" hasCustomPrompt="1"/>
          </p:nvPr>
        </p:nvSpPr>
        <p:spPr>
          <a:xfrm>
            <a:off x="4754738" y="3264193"/>
            <a:ext cx="1266262" cy="414083"/>
          </a:xfrm>
          <a:prstGeom prst="rect">
            <a:avLst/>
          </a:prstGeom>
        </p:spPr>
        <p:txBody>
          <a:bodyPr>
            <a:noAutofit/>
          </a:bodyPr>
          <a:lstStyle>
            <a:lvl1pPr marL="0" indent="0" algn="ctr">
              <a:buNone/>
              <a:defRPr sz="2700">
                <a:solidFill>
                  <a:schemeClr val="bg1"/>
                </a:solidFill>
              </a:defRPr>
            </a:lvl1pPr>
          </a:lstStyle>
          <a:p>
            <a:pPr lvl="0"/>
            <a:r>
              <a:rPr lang="en-GB" noProof="0"/>
              <a:t>Numb</a:t>
            </a:r>
          </a:p>
        </p:txBody>
      </p:sp>
    </p:spTree>
    <p:extLst>
      <p:ext uri="{BB962C8B-B14F-4D97-AF65-F5344CB8AC3E}">
        <p14:creationId xmlns:p14="http://schemas.microsoft.com/office/powerpoint/2010/main" val="11163995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268225" y="2117672"/>
            <a:ext cx="4909841"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1" name="Content Placeholder 5"/>
          <p:cNvSpPr>
            <a:spLocks noGrp="1"/>
          </p:cNvSpPr>
          <p:nvPr>
            <p:ph sz="quarter" idx="14" hasCustomPrompt="1"/>
          </p:nvPr>
        </p:nvSpPr>
        <p:spPr>
          <a:xfrm>
            <a:off x="268225" y="2854989"/>
            <a:ext cx="4909840"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2" name="Content Placeholder 5"/>
          <p:cNvSpPr>
            <a:spLocks noGrp="1"/>
          </p:cNvSpPr>
          <p:nvPr>
            <p:ph sz="quarter" idx="15" hasCustomPrompt="1"/>
          </p:nvPr>
        </p:nvSpPr>
        <p:spPr>
          <a:xfrm>
            <a:off x="268227" y="3592306"/>
            <a:ext cx="491020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5" name="Content Placeholder 5"/>
          <p:cNvSpPr>
            <a:spLocks noGrp="1"/>
          </p:cNvSpPr>
          <p:nvPr>
            <p:ph sz="quarter" idx="16" hasCustomPrompt="1"/>
          </p:nvPr>
        </p:nvSpPr>
        <p:spPr>
          <a:xfrm>
            <a:off x="268227" y="4322886"/>
            <a:ext cx="4909836"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16"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5" name="Title 1"/>
          <p:cNvSpPr>
            <a:spLocks noGrp="1"/>
          </p:cNvSpPr>
          <p:nvPr>
            <p:ph type="title" hasCustomPrompt="1"/>
          </p:nvPr>
        </p:nvSpPr>
        <p:spPr>
          <a:xfrm>
            <a:off x="268223" y="296865"/>
            <a:ext cx="9510777" cy="482549"/>
          </a:xfrm>
        </p:spPr>
        <p:txBody>
          <a:bodyPr anchor="t">
            <a:noAutofit/>
          </a:bodyPr>
          <a:lstStyle>
            <a:lvl1pPr>
              <a:defRPr sz="3200">
                <a:solidFill>
                  <a:schemeClr val="tx2"/>
                </a:solidFill>
                <a:latin typeface="+mj-lt"/>
              </a:defRPr>
            </a:lvl1pPr>
          </a:lstStyle>
          <a:p>
            <a:r>
              <a:rPr lang="en-GB" noProof="0"/>
              <a:t>Add your title here</a:t>
            </a:r>
          </a:p>
        </p:txBody>
      </p:sp>
      <p:sp>
        <p:nvSpPr>
          <p:cNvPr id="17" name="Text Placeholder 19"/>
          <p:cNvSpPr>
            <a:spLocks noGrp="1"/>
          </p:cNvSpPr>
          <p:nvPr>
            <p:ph type="body" sz="quarter" idx="13"/>
          </p:nvPr>
        </p:nvSpPr>
        <p:spPr>
          <a:xfrm>
            <a:off x="268223" y="779414"/>
            <a:ext cx="9510777" cy="376146"/>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7784257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6"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8" name="Content Placeholder 2"/>
          <p:cNvSpPr>
            <a:spLocks noGrp="1"/>
          </p:cNvSpPr>
          <p:nvPr>
            <p:ph idx="1" hasCustomPrompt="1"/>
          </p:nvPr>
        </p:nvSpPr>
        <p:spPr>
          <a:xfrm>
            <a:off x="287556" y="1640190"/>
            <a:ext cx="4271650" cy="447261"/>
          </a:xfrm>
          <a:prstGeom prst="rect">
            <a:avLst/>
          </a:prstGeom>
        </p:spPr>
        <p:txBody>
          <a:bodyPr>
            <a:noAutofit/>
          </a:bodyPr>
          <a:lstStyle>
            <a:lvl1pPr marL="0" indent="0" algn="l">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19" name="Text Placeholder 23"/>
          <p:cNvSpPr>
            <a:spLocks noGrp="1"/>
          </p:cNvSpPr>
          <p:nvPr>
            <p:ph type="body" sz="quarter" idx="21"/>
          </p:nvPr>
        </p:nvSpPr>
        <p:spPr>
          <a:xfrm>
            <a:off x="287347" y="2193951"/>
            <a:ext cx="4271953" cy="1312239"/>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30" hasCustomPrompt="1"/>
          </p:nvPr>
        </p:nvSpPr>
        <p:spPr>
          <a:xfrm>
            <a:off x="287338" y="3941158"/>
            <a:ext cx="4271954" cy="447261"/>
          </a:xfrm>
          <a:prstGeom prst="rect">
            <a:avLst/>
          </a:prstGeom>
        </p:spPr>
        <p:txBody>
          <a:bodyPr>
            <a:noAutofit/>
          </a:bodyPr>
          <a:lstStyle>
            <a:lvl1pPr marL="0" indent="0" algn="l">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3" name="Text Placeholder 23"/>
          <p:cNvSpPr>
            <a:spLocks noGrp="1"/>
          </p:cNvSpPr>
          <p:nvPr>
            <p:ph type="body" sz="quarter" idx="31"/>
          </p:nvPr>
        </p:nvSpPr>
        <p:spPr>
          <a:xfrm>
            <a:off x="287338" y="4494905"/>
            <a:ext cx="4271954" cy="126007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5" name="Content Placeholder 2"/>
          <p:cNvSpPr>
            <a:spLocks noGrp="1"/>
          </p:cNvSpPr>
          <p:nvPr>
            <p:ph idx="32" hasCustomPrompt="1"/>
          </p:nvPr>
        </p:nvSpPr>
        <p:spPr>
          <a:xfrm>
            <a:off x="6032638" y="1648609"/>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6" name="Text Placeholder 23"/>
          <p:cNvSpPr>
            <a:spLocks noGrp="1"/>
          </p:cNvSpPr>
          <p:nvPr>
            <p:ph type="body" sz="quarter" idx="33"/>
          </p:nvPr>
        </p:nvSpPr>
        <p:spPr>
          <a:xfrm>
            <a:off x="6032430" y="2193951"/>
            <a:ext cx="4131418" cy="1312239"/>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p:cNvSpPr>
            <a:spLocks noGrp="1"/>
          </p:cNvSpPr>
          <p:nvPr>
            <p:ph idx="34" hasCustomPrompt="1"/>
          </p:nvPr>
        </p:nvSpPr>
        <p:spPr>
          <a:xfrm>
            <a:off x="6032638" y="3941157"/>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9" name="Text Placeholder 23"/>
          <p:cNvSpPr>
            <a:spLocks noGrp="1"/>
          </p:cNvSpPr>
          <p:nvPr>
            <p:ph type="body" sz="quarter" idx="35"/>
          </p:nvPr>
        </p:nvSpPr>
        <p:spPr>
          <a:xfrm>
            <a:off x="6032638" y="4494905"/>
            <a:ext cx="4131418" cy="1260072"/>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7" name="Title 1"/>
          <p:cNvSpPr>
            <a:spLocks noGrp="1"/>
          </p:cNvSpPr>
          <p:nvPr>
            <p:ph type="title" hasCustomPrompt="1"/>
          </p:nvPr>
        </p:nvSpPr>
        <p:spPr>
          <a:xfrm>
            <a:off x="268224" y="296865"/>
            <a:ext cx="9378889" cy="482549"/>
          </a:xfrm>
        </p:spPr>
        <p:txBody>
          <a:bodyPr anchor="t">
            <a:noAutofit/>
          </a:bodyPr>
          <a:lstStyle>
            <a:lvl1pPr>
              <a:defRPr sz="3200">
                <a:solidFill>
                  <a:schemeClr val="tx2"/>
                </a:solidFill>
                <a:latin typeface="+mj-lt"/>
              </a:defRPr>
            </a:lvl1pPr>
          </a:lstStyle>
          <a:p>
            <a:r>
              <a:rPr lang="en-GB" noProof="0"/>
              <a:t>Add your title here</a:t>
            </a:r>
          </a:p>
        </p:txBody>
      </p:sp>
      <p:sp>
        <p:nvSpPr>
          <p:cNvPr id="21" name="Text Placeholder 19"/>
          <p:cNvSpPr>
            <a:spLocks noGrp="1"/>
          </p:cNvSpPr>
          <p:nvPr>
            <p:ph type="body" sz="quarter" idx="13" hasCustomPrompt="1"/>
          </p:nvPr>
        </p:nvSpPr>
        <p:spPr>
          <a:xfrm>
            <a:off x="268224" y="779413"/>
            <a:ext cx="9378889" cy="434229"/>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9155039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1951686"/>
            <a:ext cx="3713163" cy="998708"/>
          </a:xfrm>
          <a:prstGeom prst="rect">
            <a:avLst/>
          </a:prstGeom>
          <a:solidFill>
            <a:schemeClr val="bg1"/>
          </a:solidFill>
        </p:spPr>
        <p:txBody>
          <a:bodyPr anchor="ctr">
            <a:normAutofit/>
          </a:bodyPr>
          <a:lstStyle>
            <a:lvl1pPr marL="0" indent="0" algn="ctr">
              <a:buNone/>
              <a:defRPr sz="3300" b="0">
                <a:solidFill>
                  <a:schemeClr val="accent2"/>
                </a:solidFill>
              </a:defRPr>
            </a:lvl1pPr>
          </a:lstStyle>
          <a:p>
            <a:pPr lvl="0"/>
            <a:r>
              <a:rPr lang="en-GB" noProof="0"/>
              <a:t>Title </a:t>
            </a:r>
          </a:p>
        </p:txBody>
      </p:sp>
      <p:sp>
        <p:nvSpPr>
          <p:cNvPr id="18" name="Content Placeholder 2"/>
          <p:cNvSpPr>
            <a:spLocks noGrp="1"/>
          </p:cNvSpPr>
          <p:nvPr>
            <p:ph idx="24" hasCustomPrompt="1"/>
          </p:nvPr>
        </p:nvSpPr>
        <p:spPr>
          <a:xfrm>
            <a:off x="8505017" y="3601205"/>
            <a:ext cx="2963793"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1" name="Text Placeholder 23"/>
          <p:cNvSpPr>
            <a:spLocks noGrp="1"/>
          </p:cNvSpPr>
          <p:nvPr>
            <p:ph type="body" sz="quarter" idx="25"/>
          </p:nvPr>
        </p:nvSpPr>
        <p:spPr>
          <a:xfrm>
            <a:off x="8502762" y="4122667"/>
            <a:ext cx="2994075" cy="1611665"/>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26" hasCustomPrompt="1"/>
          </p:nvPr>
        </p:nvSpPr>
        <p:spPr>
          <a:xfrm>
            <a:off x="4306799"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7"/>
          </p:nvPr>
        </p:nvSpPr>
        <p:spPr>
          <a:xfrm>
            <a:off x="4304551"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p:cNvSpPr>
            <a:spLocks noGrp="1"/>
          </p:cNvSpPr>
          <p:nvPr>
            <p:ph idx="28" hasCustomPrompt="1"/>
          </p:nvPr>
        </p:nvSpPr>
        <p:spPr>
          <a:xfrm>
            <a:off x="320948"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5" name="Text Placeholder 23"/>
          <p:cNvSpPr>
            <a:spLocks noGrp="1"/>
          </p:cNvSpPr>
          <p:nvPr>
            <p:ph type="body" sz="quarter" idx="29"/>
          </p:nvPr>
        </p:nvSpPr>
        <p:spPr>
          <a:xfrm>
            <a:off x="318700"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6"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9" name="Text Placeholder 19"/>
          <p:cNvSpPr>
            <a:spLocks noGrp="1"/>
          </p:cNvSpPr>
          <p:nvPr>
            <p:ph type="body" sz="quarter" idx="13" hasCustomPrompt="1"/>
          </p:nvPr>
        </p:nvSpPr>
        <p:spPr>
          <a:xfrm>
            <a:off x="268224" y="779413"/>
            <a:ext cx="11228613" cy="582662"/>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3"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Tree>
    <p:extLst>
      <p:ext uri="{BB962C8B-B14F-4D97-AF65-F5344CB8AC3E}">
        <p14:creationId xmlns:p14="http://schemas.microsoft.com/office/powerpoint/2010/main" val="2217013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p:cNvSpPr>
            <a:spLocks noGrp="1"/>
          </p:cNvSpPr>
          <p:nvPr>
            <p:ph type="pic" sz="quarter" idx="15" hasCustomPrompt="1"/>
          </p:nvPr>
        </p:nvSpPr>
        <p:spPr>
          <a:xfrm>
            <a:off x="6050347" y="3747118"/>
            <a:ext cx="5470141" cy="1790083"/>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4" name="Text Placeholder 4"/>
          <p:cNvSpPr>
            <a:spLocks noGrp="1"/>
          </p:cNvSpPr>
          <p:nvPr>
            <p:ph type="body" sz="quarter" idx="17"/>
          </p:nvPr>
        </p:nvSpPr>
        <p:spPr>
          <a:xfrm>
            <a:off x="6060571" y="5581458"/>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p:cNvSpPr>
            <a:spLocks noGrp="1"/>
          </p:cNvSpPr>
          <p:nvPr>
            <p:ph type="pic" sz="quarter" idx="20" hasCustomPrompt="1"/>
          </p:nvPr>
        </p:nvSpPr>
        <p:spPr>
          <a:xfrm>
            <a:off x="6050084" y="1330841"/>
            <a:ext cx="5470141" cy="1790206"/>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1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6" name="Title 1"/>
          <p:cNvSpPr>
            <a:spLocks noGrp="1"/>
          </p:cNvSpPr>
          <p:nvPr>
            <p:ph type="title" hasCustomPrompt="1"/>
          </p:nvPr>
        </p:nvSpPr>
        <p:spPr>
          <a:xfrm>
            <a:off x="268225" y="296865"/>
            <a:ext cx="9378888"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8" name="Text Placeholder 19"/>
          <p:cNvSpPr>
            <a:spLocks noGrp="1"/>
          </p:cNvSpPr>
          <p:nvPr>
            <p:ph type="body" sz="quarter" idx="13" hasCustomPrompt="1"/>
          </p:nvPr>
        </p:nvSpPr>
        <p:spPr>
          <a:xfrm>
            <a:off x="268225" y="779412"/>
            <a:ext cx="9378888"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1" name="Marcador de texto 2"/>
          <p:cNvSpPr>
            <a:spLocks noGrp="1"/>
          </p:cNvSpPr>
          <p:nvPr>
            <p:ph type="body" sz="quarter" idx="19" hasCustomPrompt="1"/>
          </p:nvPr>
        </p:nvSpPr>
        <p:spPr>
          <a:xfrm>
            <a:off x="268225" y="1302027"/>
            <a:ext cx="5492496" cy="4438374"/>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3" name="Text Placeholder 4"/>
          <p:cNvSpPr>
            <a:spLocks noGrp="1"/>
          </p:cNvSpPr>
          <p:nvPr>
            <p:ph type="body" sz="quarter" idx="21"/>
          </p:nvPr>
        </p:nvSpPr>
        <p:spPr>
          <a:xfrm>
            <a:off x="6050085" y="3202642"/>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207630974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21"/>
          </p:nvPr>
        </p:nvSpPr>
        <p:spPr>
          <a:xfrm>
            <a:off x="58402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Marcador de texto 4"/>
          <p:cNvSpPr>
            <a:spLocks noGrp="1"/>
          </p:cNvSpPr>
          <p:nvPr>
            <p:ph type="body" sz="quarter" idx="36" hasCustomPrompt="1"/>
          </p:nvPr>
        </p:nvSpPr>
        <p:spPr>
          <a:xfrm>
            <a:off x="1307634" y="2249487"/>
            <a:ext cx="1255923" cy="973138"/>
          </a:xfrm>
          <a:prstGeom prst="rect">
            <a:avLst/>
          </a:prstGeom>
        </p:spPr>
        <p:txBody>
          <a:bodyPr>
            <a:normAutofit/>
          </a:bodyPr>
          <a:lstStyle>
            <a:lvl1pPr marL="0" indent="0" algn="ctr">
              <a:buNone/>
              <a:defRPr sz="4500">
                <a:solidFill>
                  <a:schemeClr val="tx2"/>
                </a:solidFill>
              </a:defRPr>
            </a:lvl1pPr>
          </a:lstStyle>
          <a:p>
            <a:pPr lvl="0"/>
            <a:r>
              <a:rPr lang="en-GB" noProof="0"/>
              <a:t>1</a:t>
            </a:r>
          </a:p>
        </p:txBody>
      </p:sp>
      <p:sp>
        <p:nvSpPr>
          <p:cNvPr id="30" name="Content Placeholder 2"/>
          <p:cNvSpPr>
            <a:spLocks noGrp="1"/>
          </p:cNvSpPr>
          <p:nvPr>
            <p:ph idx="37" hasCustomPrompt="1"/>
          </p:nvPr>
        </p:nvSpPr>
        <p:spPr>
          <a:xfrm>
            <a:off x="340917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1" name="Text Placeholder 23"/>
          <p:cNvSpPr>
            <a:spLocks noGrp="1"/>
          </p:cNvSpPr>
          <p:nvPr>
            <p:ph type="body" sz="quarter" idx="38"/>
          </p:nvPr>
        </p:nvSpPr>
        <p:spPr>
          <a:xfrm>
            <a:off x="340896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4117730"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a:t>2</a:t>
            </a:r>
          </a:p>
        </p:txBody>
      </p:sp>
      <p:sp>
        <p:nvSpPr>
          <p:cNvPr id="33" name="Content Placeholder 2"/>
          <p:cNvSpPr>
            <a:spLocks noGrp="1"/>
          </p:cNvSpPr>
          <p:nvPr>
            <p:ph idx="40" hasCustomPrompt="1"/>
          </p:nvPr>
        </p:nvSpPr>
        <p:spPr>
          <a:xfrm>
            <a:off x="6201823"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0161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911748"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a:t>3</a:t>
            </a:r>
          </a:p>
        </p:txBody>
      </p:sp>
      <p:sp>
        <p:nvSpPr>
          <p:cNvPr id="36" name="Content Placeholder 2"/>
          <p:cNvSpPr>
            <a:spLocks noGrp="1"/>
          </p:cNvSpPr>
          <p:nvPr>
            <p:ph idx="43" hasCustomPrompt="1"/>
          </p:nvPr>
        </p:nvSpPr>
        <p:spPr>
          <a:xfrm>
            <a:off x="9026759"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02655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736687"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a:t>4</a:t>
            </a:r>
          </a:p>
        </p:txBody>
      </p:sp>
      <p:sp>
        <p:nvSpPr>
          <p:cNvPr id="4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23"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24" name="Text Placeholder 19"/>
          <p:cNvSpPr>
            <a:spLocks noGrp="1"/>
          </p:cNvSpPr>
          <p:nvPr>
            <p:ph type="body" sz="quarter" idx="13" hasCustomPrompt="1"/>
          </p:nvPr>
        </p:nvSpPr>
        <p:spPr>
          <a:xfrm>
            <a:off x="268224" y="779413"/>
            <a:ext cx="11228613" cy="611237"/>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8"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Tree>
    <p:extLst>
      <p:ext uri="{BB962C8B-B14F-4D97-AF65-F5344CB8AC3E}">
        <p14:creationId xmlns:p14="http://schemas.microsoft.com/office/powerpoint/2010/main" val="399363385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0"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1"/>
          </p:nvPr>
        </p:nvSpPr>
        <p:spPr>
          <a:xfrm>
            <a:off x="755215"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a:t>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38"/>
          </p:nvPr>
        </p:nvSpPr>
        <p:spPr>
          <a:xfrm>
            <a:off x="3543679"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a:t>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94324"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a:t>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133392"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a:t>4</a:t>
            </a:r>
          </a:p>
        </p:txBody>
      </p:sp>
      <p:sp>
        <p:nvSpPr>
          <p:cNvPr id="4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25"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29"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270051618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2"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s-ES" smtClean="0">
                <a:solidFill>
                  <a:srgbClr val="FFFFFF">
                    <a:lumMod val="50000"/>
                  </a:srgbClr>
                </a:solidFill>
              </a:rPr>
              <a:pPr/>
              <a:t>‹#›</a:t>
            </a:fld>
            <a:endParaRPr lang="es-ES">
              <a:solidFill>
                <a:srgbClr val="FFFFFF">
                  <a:lumMod val="50000"/>
                </a:srgbClr>
              </a:solidFill>
            </a:endParaRPr>
          </a:p>
        </p:txBody>
      </p:sp>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0" name="Marcador de texto 4"/>
          <p:cNvSpPr>
            <a:spLocks noGrp="1"/>
          </p:cNvSpPr>
          <p:nvPr>
            <p:ph type="body" sz="quarter" idx="36" hasCustomPrompt="1"/>
          </p:nvPr>
        </p:nvSpPr>
        <p:spPr>
          <a:xfrm>
            <a:off x="628190" y="2291032"/>
            <a:ext cx="956105" cy="663649"/>
          </a:xfrm>
          <a:prstGeom prst="rect">
            <a:avLst/>
          </a:prstGeom>
        </p:spPr>
        <p:txBody>
          <a:bodyPr>
            <a:noAutofit/>
          </a:bodyPr>
          <a:lstStyle>
            <a:lvl1pPr marL="0" indent="0" algn="ctr">
              <a:buNone/>
              <a:defRPr sz="4500">
                <a:solidFill>
                  <a:schemeClr val="tx1"/>
                </a:solidFill>
              </a:defRPr>
            </a:lvl1pPr>
          </a:lstStyle>
          <a:p>
            <a:pPr lvl="0"/>
            <a:r>
              <a:rPr lang="en-GB" noProof="0"/>
              <a:t>1.</a:t>
            </a:r>
          </a:p>
        </p:txBody>
      </p:sp>
      <p:sp>
        <p:nvSpPr>
          <p:cNvPr id="24" name="Marcador de texto 4"/>
          <p:cNvSpPr>
            <a:spLocks noGrp="1"/>
          </p:cNvSpPr>
          <p:nvPr>
            <p:ph type="body" sz="quarter" idx="38" hasCustomPrompt="1"/>
          </p:nvPr>
        </p:nvSpPr>
        <p:spPr>
          <a:xfrm>
            <a:off x="628190" y="3380951"/>
            <a:ext cx="956105" cy="663649"/>
          </a:xfrm>
          <a:prstGeom prst="rect">
            <a:avLst/>
          </a:prstGeom>
        </p:spPr>
        <p:txBody>
          <a:bodyPr>
            <a:noAutofit/>
          </a:bodyPr>
          <a:lstStyle>
            <a:lvl1pPr marL="0" indent="0" algn="ctr">
              <a:buNone/>
              <a:defRPr sz="4500">
                <a:solidFill>
                  <a:schemeClr val="tx1"/>
                </a:solidFill>
              </a:defRPr>
            </a:lvl1pPr>
          </a:lstStyle>
          <a:p>
            <a:pPr lvl="0"/>
            <a:r>
              <a:rPr lang="en-GB" noProof="0"/>
              <a:t>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7" name="Marcador de texto 4"/>
          <p:cNvSpPr>
            <a:spLocks noGrp="1"/>
          </p:cNvSpPr>
          <p:nvPr>
            <p:ph type="body" sz="quarter" idx="42" hasCustomPrompt="1"/>
          </p:nvPr>
        </p:nvSpPr>
        <p:spPr>
          <a:xfrm>
            <a:off x="628190" y="4459850"/>
            <a:ext cx="956105" cy="663649"/>
          </a:xfrm>
          <a:prstGeom prst="rect">
            <a:avLst/>
          </a:prstGeom>
        </p:spPr>
        <p:txBody>
          <a:bodyPr>
            <a:noAutofit/>
          </a:bodyPr>
          <a:lstStyle>
            <a:lvl1pPr marL="0" indent="0" algn="ctr">
              <a:buNone/>
              <a:defRPr sz="4500">
                <a:solidFill>
                  <a:schemeClr val="tx1"/>
                </a:solidFill>
              </a:defRPr>
            </a:lvl1pPr>
          </a:lstStyle>
          <a:p>
            <a:pPr lvl="0"/>
            <a:r>
              <a:rPr lang="en-GB" noProof="0"/>
              <a:t>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5"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3" name="Marcador de posición de imagen 28"/>
          <p:cNvSpPr>
            <a:spLocks noGrp="1"/>
          </p:cNvSpPr>
          <p:nvPr>
            <p:ph type="pic" sz="quarter" idx="44" hasCustomPrompt="1"/>
          </p:nvPr>
        </p:nvSpPr>
        <p:spPr>
          <a:xfrm>
            <a:off x="7695959" y="2218004"/>
            <a:ext cx="3359735" cy="3256492"/>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95000"/>
            </a:schemeClr>
          </a:solidFill>
        </p:spPr>
        <p:txBody>
          <a:bodyPr wrap="square" anchor="ctr">
            <a:noAutofit/>
          </a:bodyPr>
          <a:lstStyle>
            <a:lvl1pPr marL="0" indent="0" algn="l">
              <a:buNone/>
              <a:defRPr/>
            </a:lvl1pPr>
          </a:lstStyle>
          <a:p>
            <a:r>
              <a:rPr lang="en-GB" noProof="0"/>
              <a:t>     </a:t>
            </a:r>
            <a:br>
              <a:rPr lang="en-GB" noProof="0"/>
            </a:br>
            <a:br>
              <a:rPr lang="en-GB" noProof="0"/>
            </a:br>
            <a:r>
              <a:rPr lang="en-GB" noProof="0"/>
              <a:t> Insert your picture here</a:t>
            </a:r>
          </a:p>
        </p:txBody>
      </p:sp>
    </p:spTree>
    <p:extLst>
      <p:ext uri="{BB962C8B-B14F-4D97-AF65-F5344CB8AC3E}">
        <p14:creationId xmlns:p14="http://schemas.microsoft.com/office/powerpoint/2010/main" val="75937881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8"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000" baseline="0">
                <a:solidFill>
                  <a:schemeClr val="accent2"/>
                </a:solidFill>
              </a:defRPr>
            </a:lvl1pPr>
          </a:lstStyle>
          <a:p>
            <a:pPr lvl="0"/>
            <a:r>
              <a:rPr lang="en-GB" noProof="0"/>
              <a:t>Title here</a:t>
            </a:r>
          </a:p>
        </p:txBody>
      </p:sp>
      <p:sp>
        <p:nvSpPr>
          <p:cNvPr id="19" name="Marcador de texto 33"/>
          <p:cNvSpPr>
            <a:spLocks noGrp="1"/>
          </p:cNvSpPr>
          <p:nvPr>
            <p:ph type="body" sz="quarter" idx="16" hasCustomPrompt="1"/>
          </p:nvPr>
        </p:nvSpPr>
        <p:spPr>
          <a:xfrm>
            <a:off x="576481" y="4420860"/>
            <a:ext cx="2942647" cy="431800"/>
          </a:xfrm>
          <a:prstGeom prst="rect">
            <a:avLst/>
          </a:prstGeom>
        </p:spPr>
        <p:txBody>
          <a:bodyPr>
            <a:noAutofit/>
          </a:bodyPr>
          <a:lstStyle>
            <a:lvl1pPr marL="0" indent="0">
              <a:buNone/>
              <a:defRPr sz="2400" baseline="0">
                <a:solidFill>
                  <a:schemeClr val="accent2"/>
                </a:solidFill>
              </a:defRPr>
            </a:lvl1pPr>
          </a:lstStyle>
          <a:p>
            <a:pPr lvl="0"/>
            <a:r>
              <a:rPr lang="en-GB" noProof="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2800" baseline="0">
                <a:solidFill>
                  <a:schemeClr val="accent2"/>
                </a:solidFill>
              </a:defRPr>
            </a:lvl1pPr>
          </a:lstStyle>
          <a:p>
            <a:pPr lvl="0"/>
            <a:r>
              <a:rPr lang="en-GB" noProof="0"/>
              <a:t>Highlight here</a:t>
            </a:r>
          </a:p>
        </p:txBody>
      </p:sp>
      <p:sp>
        <p:nvSpPr>
          <p:cNvPr id="22" name="Marcador de texto 2"/>
          <p:cNvSpPr>
            <a:spLocks noGrp="1"/>
          </p:cNvSpPr>
          <p:nvPr>
            <p:ph type="body" sz="quarter" idx="18" hasCustomPrompt="1"/>
          </p:nvPr>
        </p:nvSpPr>
        <p:spPr>
          <a:xfrm>
            <a:off x="576481" y="4875698"/>
            <a:ext cx="2929143" cy="1307738"/>
          </a:xfrm>
          <a:prstGeom prst="rect">
            <a:avLst/>
          </a:prstGeom>
        </p:spPr>
        <p:txBody>
          <a:bodyPr>
            <a:normAutofit/>
          </a:bodyPr>
          <a:lstStyle>
            <a:lvl1pPr marL="130960" indent="-130960">
              <a:lnSpc>
                <a:spcPct val="100000"/>
              </a:lnSpc>
              <a:defRPr sz="2000">
                <a:solidFill>
                  <a:srgbClr val="323232"/>
                </a:solidFill>
              </a:defRPr>
            </a:lvl1pPr>
            <a:lvl2pPr marL="538163" indent="-139700">
              <a:lnSpc>
                <a:spcPct val="100000"/>
              </a:lnSpc>
              <a:defRPr sz="2000">
                <a:solidFill>
                  <a:srgbClr val="323232"/>
                </a:solidFill>
              </a:defRPr>
            </a:lvl2pPr>
            <a:lvl3pPr marL="985838" indent="-138113">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2000">
                <a:solidFill>
                  <a:srgbClr val="323232"/>
                </a:solidFill>
              </a:defRPr>
            </a:lvl2pPr>
            <a:lvl3pPr marL="1076325" indent="-161925">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1800">
                <a:solidFill>
                  <a:srgbClr val="323232"/>
                </a:solidFill>
              </a:defRPr>
            </a:lvl2pPr>
            <a:lvl3pPr marL="1076325" indent="-228600">
              <a:lnSpc>
                <a:spcPct val="100000"/>
              </a:lnSpc>
              <a:defRPr sz="1400">
                <a:solidFill>
                  <a:srgbClr val="323232"/>
                </a:solidFill>
              </a:defRPr>
            </a:lvl3pPr>
            <a:lvl4pPr marL="1371600" indent="0">
              <a:lnSpc>
                <a:spcPct val="100000"/>
              </a:lnSpc>
              <a:buNone/>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	</a:t>
            </a:r>
          </a:p>
        </p:txBody>
      </p:sp>
      <p:sp>
        <p:nvSpPr>
          <p:cNvPr id="27"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4"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12054823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17"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3" name="Text Placeholder 23"/>
          <p:cNvSpPr>
            <a:spLocks noGrp="1"/>
          </p:cNvSpPr>
          <p:nvPr>
            <p:ph type="body" sz="quarter" idx="21"/>
          </p:nvPr>
        </p:nvSpPr>
        <p:spPr>
          <a:xfrm>
            <a:off x="768777"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5" name="Text Placeholder 23"/>
          <p:cNvSpPr>
            <a:spLocks noGrp="1"/>
          </p:cNvSpPr>
          <p:nvPr>
            <p:ph type="body" sz="quarter" idx="31"/>
          </p:nvPr>
        </p:nvSpPr>
        <p:spPr>
          <a:xfrm>
            <a:off x="3563913"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3" name="Text Placeholder 23"/>
          <p:cNvSpPr>
            <a:spLocks noGrp="1"/>
          </p:cNvSpPr>
          <p:nvPr>
            <p:ph type="body" sz="quarter" idx="33"/>
          </p:nvPr>
        </p:nvSpPr>
        <p:spPr>
          <a:xfrm>
            <a:off x="6364567" y="4332130"/>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5" name="Text Placeholder 23"/>
          <p:cNvSpPr>
            <a:spLocks noGrp="1"/>
          </p:cNvSpPr>
          <p:nvPr>
            <p:ph type="body" sz="quarter" idx="35"/>
          </p:nvPr>
        </p:nvSpPr>
        <p:spPr>
          <a:xfrm>
            <a:off x="9135814"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9" name="Title 1"/>
          <p:cNvSpPr>
            <a:spLocks noGrp="1"/>
          </p:cNvSpPr>
          <p:nvPr>
            <p:ph type="title" hasCustomPrompt="1"/>
          </p:nvPr>
        </p:nvSpPr>
        <p:spPr>
          <a:xfrm>
            <a:off x="268224" y="296865"/>
            <a:ext cx="10915493" cy="482549"/>
          </a:xfrm>
        </p:spPr>
        <p:txBody>
          <a:bodyPr anchor="t">
            <a:noAutofit/>
          </a:bodyPr>
          <a:lstStyle>
            <a:lvl1pPr>
              <a:defRPr sz="3200">
                <a:solidFill>
                  <a:schemeClr val="tx2"/>
                </a:solidFill>
                <a:latin typeface="+mj-lt"/>
              </a:defRPr>
            </a:lvl1pPr>
          </a:lstStyle>
          <a:p>
            <a:r>
              <a:rPr lang="en-GB" noProof="0"/>
              <a:t>Add your title here</a:t>
            </a:r>
          </a:p>
        </p:txBody>
      </p:sp>
      <p:sp>
        <p:nvSpPr>
          <p:cNvPr id="20" name="Text Placeholder 19"/>
          <p:cNvSpPr>
            <a:spLocks noGrp="1"/>
          </p:cNvSpPr>
          <p:nvPr>
            <p:ph type="body" sz="quarter" idx="13"/>
          </p:nvPr>
        </p:nvSpPr>
        <p:spPr>
          <a:xfrm>
            <a:off x="268224" y="779412"/>
            <a:ext cx="10891629"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5723828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1" y="5905500"/>
            <a:ext cx="6332706" cy="952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a:solidFill>
                <a:srgbClr val="005EB8"/>
              </a:solidFill>
            </a:endParaRPr>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5" name="Text Placeholder 23"/>
          <p:cNvSpPr>
            <a:spLocks noGrp="1"/>
          </p:cNvSpPr>
          <p:nvPr>
            <p:ph type="body" sz="quarter" idx="38" hasCustomPrompt="1"/>
          </p:nvPr>
        </p:nvSpPr>
        <p:spPr>
          <a:xfrm>
            <a:off x="389804" y="6323083"/>
            <a:ext cx="1764284"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Tree>
    <p:extLst>
      <p:ext uri="{BB962C8B-B14F-4D97-AF65-F5344CB8AC3E}">
        <p14:creationId xmlns:p14="http://schemas.microsoft.com/office/powerpoint/2010/main" val="34238418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hape 1">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4377712"/>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292608" y="779416"/>
            <a:ext cx="11228613" cy="411209"/>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9" name="Picture Placeholder 18"/>
          <p:cNvSpPr>
            <a:spLocks noGrp="1"/>
          </p:cNvSpPr>
          <p:nvPr>
            <p:ph type="pic" sz="quarter" idx="19" hasCustomPrompt="1"/>
          </p:nvPr>
        </p:nvSpPr>
        <p:spPr>
          <a:xfrm>
            <a:off x="6434720" y="1753456"/>
            <a:ext cx="4556125" cy="3886200"/>
          </a:xfrm>
          <a:custGeom>
            <a:avLst/>
            <a:gdLst>
              <a:gd name="connsiteX0" fmla="*/ 3764756 w 4556125"/>
              <a:gd name="connsiteY0" fmla="*/ 0 h 3886200"/>
              <a:gd name="connsiteX1" fmla="*/ 3778647 w 4556125"/>
              <a:gd name="connsiteY1" fmla="*/ 0 h 3886200"/>
              <a:gd name="connsiteX2" fmla="*/ 3792538 w 4556125"/>
              <a:gd name="connsiteY2" fmla="*/ 397 h 3886200"/>
              <a:gd name="connsiteX3" fmla="*/ 3806031 w 4556125"/>
              <a:gd name="connsiteY3" fmla="*/ 1191 h 3886200"/>
              <a:gd name="connsiteX4" fmla="*/ 3819922 w 4556125"/>
              <a:gd name="connsiteY4" fmla="*/ 2381 h 3886200"/>
              <a:gd name="connsiteX5" fmla="*/ 3833019 w 4556125"/>
              <a:gd name="connsiteY5" fmla="*/ 3969 h 3886200"/>
              <a:gd name="connsiteX6" fmla="*/ 3846512 w 4556125"/>
              <a:gd name="connsiteY6" fmla="*/ 5953 h 3886200"/>
              <a:gd name="connsiteX7" fmla="*/ 3859610 w 4556125"/>
              <a:gd name="connsiteY7" fmla="*/ 8731 h 3886200"/>
              <a:gd name="connsiteX8" fmla="*/ 3871912 w 4556125"/>
              <a:gd name="connsiteY8" fmla="*/ 11510 h 3886200"/>
              <a:gd name="connsiteX9" fmla="*/ 3885010 w 4556125"/>
              <a:gd name="connsiteY9" fmla="*/ 14685 h 3886200"/>
              <a:gd name="connsiteX10" fmla="*/ 3897710 w 4556125"/>
              <a:gd name="connsiteY10" fmla="*/ 18256 h 3886200"/>
              <a:gd name="connsiteX11" fmla="*/ 3910410 w 4556125"/>
              <a:gd name="connsiteY11" fmla="*/ 22622 h 3886200"/>
              <a:gd name="connsiteX12" fmla="*/ 3923110 w 4556125"/>
              <a:gd name="connsiteY12" fmla="*/ 26591 h 3886200"/>
              <a:gd name="connsiteX13" fmla="*/ 3935016 w 4556125"/>
              <a:gd name="connsiteY13" fmla="*/ 31750 h 3886200"/>
              <a:gd name="connsiteX14" fmla="*/ 3947716 w 4556125"/>
              <a:gd name="connsiteY14" fmla="*/ 36910 h 3886200"/>
              <a:gd name="connsiteX15" fmla="*/ 3959622 w 4556125"/>
              <a:gd name="connsiteY15" fmla="*/ 42863 h 3886200"/>
              <a:gd name="connsiteX16" fmla="*/ 3971131 w 4556125"/>
              <a:gd name="connsiteY16" fmla="*/ 48419 h 3886200"/>
              <a:gd name="connsiteX17" fmla="*/ 3983434 w 4556125"/>
              <a:gd name="connsiteY17" fmla="*/ 54769 h 3886200"/>
              <a:gd name="connsiteX18" fmla="*/ 3994944 w 4556125"/>
              <a:gd name="connsiteY18" fmla="*/ 61516 h 3886200"/>
              <a:gd name="connsiteX19" fmla="*/ 4006453 w 4556125"/>
              <a:gd name="connsiteY19" fmla="*/ 68660 h 3886200"/>
              <a:gd name="connsiteX20" fmla="*/ 4017962 w 4556125"/>
              <a:gd name="connsiteY20" fmla="*/ 76200 h 3886200"/>
              <a:gd name="connsiteX21" fmla="*/ 4029075 w 4556125"/>
              <a:gd name="connsiteY21" fmla="*/ 83741 h 3886200"/>
              <a:gd name="connsiteX22" fmla="*/ 4040188 w 4556125"/>
              <a:gd name="connsiteY22" fmla="*/ 91678 h 3886200"/>
              <a:gd name="connsiteX23" fmla="*/ 4051300 w 4556125"/>
              <a:gd name="connsiteY23" fmla="*/ 100013 h 3886200"/>
              <a:gd name="connsiteX24" fmla="*/ 4062412 w 4556125"/>
              <a:gd name="connsiteY24" fmla="*/ 108744 h 3886200"/>
              <a:gd name="connsiteX25" fmla="*/ 4073128 w 4556125"/>
              <a:gd name="connsiteY25" fmla="*/ 117872 h 3886200"/>
              <a:gd name="connsiteX26" fmla="*/ 4083844 w 4556125"/>
              <a:gd name="connsiteY26" fmla="*/ 127000 h 3886200"/>
              <a:gd name="connsiteX27" fmla="*/ 4094560 w 4556125"/>
              <a:gd name="connsiteY27" fmla="*/ 136525 h 3886200"/>
              <a:gd name="connsiteX28" fmla="*/ 4104481 w 4556125"/>
              <a:gd name="connsiteY28" fmla="*/ 146447 h 3886200"/>
              <a:gd name="connsiteX29" fmla="*/ 4125119 w 4556125"/>
              <a:gd name="connsiteY29" fmla="*/ 167084 h 3886200"/>
              <a:gd name="connsiteX30" fmla="*/ 4145360 w 4556125"/>
              <a:gd name="connsiteY30" fmla="*/ 188913 h 3886200"/>
              <a:gd name="connsiteX31" fmla="*/ 4164410 w 4556125"/>
              <a:gd name="connsiteY31" fmla="*/ 211931 h 3886200"/>
              <a:gd name="connsiteX32" fmla="*/ 4183856 w 4556125"/>
              <a:gd name="connsiteY32" fmla="*/ 235744 h 3886200"/>
              <a:gd name="connsiteX33" fmla="*/ 4202112 w 4556125"/>
              <a:gd name="connsiteY33" fmla="*/ 260350 h 3886200"/>
              <a:gd name="connsiteX34" fmla="*/ 4219972 w 4556125"/>
              <a:gd name="connsiteY34" fmla="*/ 286544 h 3886200"/>
              <a:gd name="connsiteX35" fmla="*/ 4237434 w 4556125"/>
              <a:gd name="connsiteY35" fmla="*/ 313135 h 3886200"/>
              <a:gd name="connsiteX36" fmla="*/ 4254500 w 4556125"/>
              <a:gd name="connsiteY36" fmla="*/ 340519 h 3886200"/>
              <a:gd name="connsiteX37" fmla="*/ 4271169 w 4556125"/>
              <a:gd name="connsiteY37" fmla="*/ 369094 h 3886200"/>
              <a:gd name="connsiteX38" fmla="*/ 4286647 w 4556125"/>
              <a:gd name="connsiteY38" fmla="*/ 398463 h 3886200"/>
              <a:gd name="connsiteX39" fmla="*/ 4302522 w 4556125"/>
              <a:gd name="connsiteY39" fmla="*/ 427831 h 3886200"/>
              <a:gd name="connsiteX40" fmla="*/ 4317603 w 4556125"/>
              <a:gd name="connsiteY40" fmla="*/ 458391 h 3886200"/>
              <a:gd name="connsiteX41" fmla="*/ 4332288 w 4556125"/>
              <a:gd name="connsiteY41" fmla="*/ 489347 h 3886200"/>
              <a:gd name="connsiteX42" fmla="*/ 4346178 w 4556125"/>
              <a:gd name="connsiteY42" fmla="*/ 521097 h 3886200"/>
              <a:gd name="connsiteX43" fmla="*/ 4359672 w 4556125"/>
              <a:gd name="connsiteY43" fmla="*/ 553244 h 3886200"/>
              <a:gd name="connsiteX44" fmla="*/ 4372769 w 4556125"/>
              <a:gd name="connsiteY44" fmla="*/ 586185 h 3886200"/>
              <a:gd name="connsiteX45" fmla="*/ 4385469 w 4556125"/>
              <a:gd name="connsiteY45" fmla="*/ 619522 h 3886200"/>
              <a:gd name="connsiteX46" fmla="*/ 4398169 w 4556125"/>
              <a:gd name="connsiteY46" fmla="*/ 652463 h 3886200"/>
              <a:gd name="connsiteX47" fmla="*/ 4409678 w 4556125"/>
              <a:gd name="connsiteY47" fmla="*/ 686991 h 3886200"/>
              <a:gd name="connsiteX48" fmla="*/ 4420790 w 4556125"/>
              <a:gd name="connsiteY48" fmla="*/ 721122 h 3886200"/>
              <a:gd name="connsiteX49" fmla="*/ 4431903 w 4556125"/>
              <a:gd name="connsiteY49" fmla="*/ 755253 h 3886200"/>
              <a:gd name="connsiteX50" fmla="*/ 4441825 w 4556125"/>
              <a:gd name="connsiteY50" fmla="*/ 790178 h 3886200"/>
              <a:gd name="connsiteX51" fmla="*/ 4451747 w 4556125"/>
              <a:gd name="connsiteY51" fmla="*/ 824706 h 3886200"/>
              <a:gd name="connsiteX52" fmla="*/ 4461669 w 4556125"/>
              <a:gd name="connsiteY52" fmla="*/ 859631 h 3886200"/>
              <a:gd name="connsiteX53" fmla="*/ 4470003 w 4556125"/>
              <a:gd name="connsiteY53" fmla="*/ 894953 h 3886200"/>
              <a:gd name="connsiteX54" fmla="*/ 4478734 w 4556125"/>
              <a:gd name="connsiteY54" fmla="*/ 929878 h 3886200"/>
              <a:gd name="connsiteX55" fmla="*/ 4486672 w 4556125"/>
              <a:gd name="connsiteY55" fmla="*/ 964803 h 3886200"/>
              <a:gd name="connsiteX56" fmla="*/ 4494212 w 4556125"/>
              <a:gd name="connsiteY56" fmla="*/ 1000125 h 3886200"/>
              <a:gd name="connsiteX57" fmla="*/ 4501753 w 4556125"/>
              <a:gd name="connsiteY57" fmla="*/ 1034653 h 3886200"/>
              <a:gd name="connsiteX58" fmla="*/ 4508500 w 4556125"/>
              <a:gd name="connsiteY58" fmla="*/ 1069578 h 3886200"/>
              <a:gd name="connsiteX59" fmla="*/ 4514453 w 4556125"/>
              <a:gd name="connsiteY59" fmla="*/ 1104106 h 3886200"/>
              <a:gd name="connsiteX60" fmla="*/ 4520406 w 4556125"/>
              <a:gd name="connsiteY60" fmla="*/ 1138635 h 3886200"/>
              <a:gd name="connsiteX61" fmla="*/ 4525566 w 4556125"/>
              <a:gd name="connsiteY61" fmla="*/ 1172369 h 3886200"/>
              <a:gd name="connsiteX62" fmla="*/ 4530328 w 4556125"/>
              <a:gd name="connsiteY62" fmla="*/ 1206103 h 3886200"/>
              <a:gd name="connsiteX63" fmla="*/ 4535090 w 4556125"/>
              <a:gd name="connsiteY63" fmla="*/ 1239044 h 3886200"/>
              <a:gd name="connsiteX64" fmla="*/ 4539060 w 4556125"/>
              <a:gd name="connsiteY64" fmla="*/ 1271985 h 3886200"/>
              <a:gd name="connsiteX65" fmla="*/ 4542631 w 4556125"/>
              <a:gd name="connsiteY65" fmla="*/ 1304528 h 3886200"/>
              <a:gd name="connsiteX66" fmla="*/ 4546203 w 4556125"/>
              <a:gd name="connsiteY66" fmla="*/ 1336278 h 3886200"/>
              <a:gd name="connsiteX67" fmla="*/ 4548584 w 4556125"/>
              <a:gd name="connsiteY67" fmla="*/ 1367631 h 3886200"/>
              <a:gd name="connsiteX68" fmla="*/ 4550966 w 4556125"/>
              <a:gd name="connsiteY68" fmla="*/ 1398191 h 3886200"/>
              <a:gd name="connsiteX69" fmla="*/ 4552950 w 4556125"/>
              <a:gd name="connsiteY69" fmla="*/ 1428353 h 3886200"/>
              <a:gd name="connsiteX70" fmla="*/ 4554538 w 4556125"/>
              <a:gd name="connsiteY70" fmla="*/ 1458119 h 3886200"/>
              <a:gd name="connsiteX71" fmla="*/ 4555728 w 4556125"/>
              <a:gd name="connsiteY71" fmla="*/ 1486297 h 3886200"/>
              <a:gd name="connsiteX72" fmla="*/ 4556125 w 4556125"/>
              <a:gd name="connsiteY72" fmla="*/ 1514475 h 3886200"/>
              <a:gd name="connsiteX73" fmla="*/ 4556125 w 4556125"/>
              <a:gd name="connsiteY73" fmla="*/ 1541463 h 3886200"/>
              <a:gd name="connsiteX74" fmla="*/ 4556125 w 4556125"/>
              <a:gd name="connsiteY74" fmla="*/ 1572022 h 3886200"/>
              <a:gd name="connsiteX75" fmla="*/ 4555728 w 4556125"/>
              <a:gd name="connsiteY75" fmla="*/ 1602185 h 3886200"/>
              <a:gd name="connsiteX76" fmla="*/ 4554538 w 4556125"/>
              <a:gd name="connsiteY76" fmla="*/ 1631950 h 3886200"/>
              <a:gd name="connsiteX77" fmla="*/ 4552950 w 4556125"/>
              <a:gd name="connsiteY77" fmla="*/ 1662113 h 3886200"/>
              <a:gd name="connsiteX78" fmla="*/ 4551760 w 4556125"/>
              <a:gd name="connsiteY78" fmla="*/ 1692275 h 3886200"/>
              <a:gd name="connsiteX79" fmla="*/ 4549775 w 4556125"/>
              <a:gd name="connsiteY79" fmla="*/ 1722041 h 3886200"/>
              <a:gd name="connsiteX80" fmla="*/ 4546997 w 4556125"/>
              <a:gd name="connsiteY80" fmla="*/ 1751806 h 3886200"/>
              <a:gd name="connsiteX81" fmla="*/ 4544219 w 4556125"/>
              <a:gd name="connsiteY81" fmla="*/ 1781572 h 3886200"/>
              <a:gd name="connsiteX82" fmla="*/ 4541044 w 4556125"/>
              <a:gd name="connsiteY82" fmla="*/ 1810544 h 3886200"/>
              <a:gd name="connsiteX83" fmla="*/ 4537472 w 4556125"/>
              <a:gd name="connsiteY83" fmla="*/ 1840310 h 3886200"/>
              <a:gd name="connsiteX84" fmla="*/ 4533503 w 4556125"/>
              <a:gd name="connsiteY84" fmla="*/ 1869678 h 3886200"/>
              <a:gd name="connsiteX85" fmla="*/ 4529534 w 4556125"/>
              <a:gd name="connsiteY85" fmla="*/ 1898650 h 3886200"/>
              <a:gd name="connsiteX86" fmla="*/ 4524375 w 4556125"/>
              <a:gd name="connsiteY86" fmla="*/ 1927622 h 3886200"/>
              <a:gd name="connsiteX87" fmla="*/ 4520010 w 4556125"/>
              <a:gd name="connsiteY87" fmla="*/ 1956594 h 3886200"/>
              <a:gd name="connsiteX88" fmla="*/ 4514453 w 4556125"/>
              <a:gd name="connsiteY88" fmla="*/ 1985566 h 3886200"/>
              <a:gd name="connsiteX89" fmla="*/ 4508897 w 4556125"/>
              <a:gd name="connsiteY89" fmla="*/ 2014141 h 3886200"/>
              <a:gd name="connsiteX90" fmla="*/ 4502944 w 4556125"/>
              <a:gd name="connsiteY90" fmla="*/ 2042716 h 3886200"/>
              <a:gd name="connsiteX91" fmla="*/ 4496197 w 4556125"/>
              <a:gd name="connsiteY91" fmla="*/ 2070894 h 3886200"/>
              <a:gd name="connsiteX92" fmla="*/ 4489847 w 4556125"/>
              <a:gd name="connsiteY92" fmla="*/ 2099072 h 3886200"/>
              <a:gd name="connsiteX93" fmla="*/ 4482703 w 4556125"/>
              <a:gd name="connsiteY93" fmla="*/ 2127250 h 3886200"/>
              <a:gd name="connsiteX94" fmla="*/ 4475162 w 4556125"/>
              <a:gd name="connsiteY94" fmla="*/ 2155428 h 3886200"/>
              <a:gd name="connsiteX95" fmla="*/ 4467622 w 4556125"/>
              <a:gd name="connsiteY95" fmla="*/ 2183210 h 3886200"/>
              <a:gd name="connsiteX96" fmla="*/ 4459684 w 4556125"/>
              <a:gd name="connsiteY96" fmla="*/ 2210991 h 3886200"/>
              <a:gd name="connsiteX97" fmla="*/ 4450953 w 4556125"/>
              <a:gd name="connsiteY97" fmla="*/ 2238772 h 3886200"/>
              <a:gd name="connsiteX98" fmla="*/ 4442222 w 4556125"/>
              <a:gd name="connsiteY98" fmla="*/ 2266553 h 3886200"/>
              <a:gd name="connsiteX99" fmla="*/ 4433490 w 4556125"/>
              <a:gd name="connsiteY99" fmla="*/ 2293541 h 3886200"/>
              <a:gd name="connsiteX100" fmla="*/ 4423569 w 4556125"/>
              <a:gd name="connsiteY100" fmla="*/ 2320925 h 3886200"/>
              <a:gd name="connsiteX101" fmla="*/ 4414044 w 4556125"/>
              <a:gd name="connsiteY101" fmla="*/ 2347913 h 3886200"/>
              <a:gd name="connsiteX102" fmla="*/ 4404122 w 4556125"/>
              <a:gd name="connsiteY102" fmla="*/ 2374503 h 3886200"/>
              <a:gd name="connsiteX103" fmla="*/ 4393406 w 4556125"/>
              <a:gd name="connsiteY103" fmla="*/ 2401491 h 3886200"/>
              <a:gd name="connsiteX104" fmla="*/ 4383088 w 4556125"/>
              <a:gd name="connsiteY104" fmla="*/ 2428081 h 3886200"/>
              <a:gd name="connsiteX105" fmla="*/ 4371975 w 4556125"/>
              <a:gd name="connsiteY105" fmla="*/ 2454275 h 3886200"/>
              <a:gd name="connsiteX106" fmla="*/ 4360862 w 4556125"/>
              <a:gd name="connsiteY106" fmla="*/ 2480469 h 3886200"/>
              <a:gd name="connsiteX107" fmla="*/ 4349353 w 4556125"/>
              <a:gd name="connsiteY107" fmla="*/ 2506663 h 3886200"/>
              <a:gd name="connsiteX108" fmla="*/ 4337050 w 4556125"/>
              <a:gd name="connsiteY108" fmla="*/ 2532063 h 3886200"/>
              <a:gd name="connsiteX109" fmla="*/ 4325144 w 4556125"/>
              <a:gd name="connsiteY109" fmla="*/ 2557860 h 3886200"/>
              <a:gd name="connsiteX110" fmla="*/ 4312444 w 4556125"/>
              <a:gd name="connsiteY110" fmla="*/ 2583656 h 3886200"/>
              <a:gd name="connsiteX111" fmla="*/ 4299744 w 4556125"/>
              <a:gd name="connsiteY111" fmla="*/ 2608660 h 3886200"/>
              <a:gd name="connsiteX112" fmla="*/ 4286647 w 4556125"/>
              <a:gd name="connsiteY112" fmla="*/ 2634060 h 3886200"/>
              <a:gd name="connsiteX113" fmla="*/ 4273153 w 4556125"/>
              <a:gd name="connsiteY113" fmla="*/ 2659063 h 3886200"/>
              <a:gd name="connsiteX114" fmla="*/ 4259660 w 4556125"/>
              <a:gd name="connsiteY114" fmla="*/ 2683669 h 3886200"/>
              <a:gd name="connsiteX115" fmla="*/ 4245769 w 4556125"/>
              <a:gd name="connsiteY115" fmla="*/ 2708275 h 3886200"/>
              <a:gd name="connsiteX116" fmla="*/ 4231481 w 4556125"/>
              <a:gd name="connsiteY116" fmla="*/ 2733278 h 3886200"/>
              <a:gd name="connsiteX117" fmla="*/ 4216797 w 4556125"/>
              <a:gd name="connsiteY117" fmla="*/ 2757488 h 3886200"/>
              <a:gd name="connsiteX118" fmla="*/ 4202112 w 4556125"/>
              <a:gd name="connsiteY118" fmla="*/ 2781300 h 3886200"/>
              <a:gd name="connsiteX119" fmla="*/ 4187031 w 4556125"/>
              <a:gd name="connsiteY119" fmla="*/ 2805113 h 3886200"/>
              <a:gd name="connsiteX120" fmla="*/ 4171553 w 4556125"/>
              <a:gd name="connsiteY120" fmla="*/ 2828925 h 3886200"/>
              <a:gd name="connsiteX121" fmla="*/ 4156075 w 4556125"/>
              <a:gd name="connsiteY121" fmla="*/ 2852341 h 3886200"/>
              <a:gd name="connsiteX122" fmla="*/ 4139803 w 4556125"/>
              <a:gd name="connsiteY122" fmla="*/ 2875756 h 3886200"/>
              <a:gd name="connsiteX123" fmla="*/ 4123928 w 4556125"/>
              <a:gd name="connsiteY123" fmla="*/ 2898775 h 3886200"/>
              <a:gd name="connsiteX124" fmla="*/ 4107260 w 4556125"/>
              <a:gd name="connsiteY124" fmla="*/ 2921794 h 3886200"/>
              <a:gd name="connsiteX125" fmla="*/ 4090590 w 4556125"/>
              <a:gd name="connsiteY125" fmla="*/ 2944416 h 3886200"/>
              <a:gd name="connsiteX126" fmla="*/ 4073525 w 4556125"/>
              <a:gd name="connsiteY126" fmla="*/ 2966641 h 3886200"/>
              <a:gd name="connsiteX127" fmla="*/ 4056460 w 4556125"/>
              <a:gd name="connsiteY127" fmla="*/ 2988866 h 3886200"/>
              <a:gd name="connsiteX128" fmla="*/ 4038600 w 4556125"/>
              <a:gd name="connsiteY128" fmla="*/ 3011091 h 3886200"/>
              <a:gd name="connsiteX129" fmla="*/ 4021138 w 4556125"/>
              <a:gd name="connsiteY129" fmla="*/ 3033316 h 3886200"/>
              <a:gd name="connsiteX130" fmla="*/ 4002881 w 4556125"/>
              <a:gd name="connsiteY130" fmla="*/ 3054350 h 3886200"/>
              <a:gd name="connsiteX131" fmla="*/ 3985022 w 4556125"/>
              <a:gd name="connsiteY131" fmla="*/ 3076178 h 3886200"/>
              <a:gd name="connsiteX132" fmla="*/ 3966369 w 4556125"/>
              <a:gd name="connsiteY132" fmla="*/ 3097213 h 3886200"/>
              <a:gd name="connsiteX133" fmla="*/ 3947716 w 4556125"/>
              <a:gd name="connsiteY133" fmla="*/ 3117850 h 3886200"/>
              <a:gd name="connsiteX134" fmla="*/ 3928666 w 4556125"/>
              <a:gd name="connsiteY134" fmla="*/ 3138885 h 3886200"/>
              <a:gd name="connsiteX135" fmla="*/ 3908822 w 4556125"/>
              <a:gd name="connsiteY135" fmla="*/ 3159125 h 3886200"/>
              <a:gd name="connsiteX136" fmla="*/ 3889772 w 4556125"/>
              <a:gd name="connsiteY136" fmla="*/ 3179366 h 3886200"/>
              <a:gd name="connsiteX137" fmla="*/ 3869531 w 4556125"/>
              <a:gd name="connsiteY137" fmla="*/ 3199210 h 3886200"/>
              <a:gd name="connsiteX138" fmla="*/ 3850084 w 4556125"/>
              <a:gd name="connsiteY138" fmla="*/ 3219053 h 3886200"/>
              <a:gd name="connsiteX139" fmla="*/ 3829447 w 4556125"/>
              <a:gd name="connsiteY139" fmla="*/ 3238500 h 3886200"/>
              <a:gd name="connsiteX140" fmla="*/ 3809206 w 4556125"/>
              <a:gd name="connsiteY140" fmla="*/ 3258344 h 3886200"/>
              <a:gd name="connsiteX141" fmla="*/ 3788569 w 4556125"/>
              <a:gd name="connsiteY141" fmla="*/ 3276997 h 3886200"/>
              <a:gd name="connsiteX142" fmla="*/ 3767534 w 4556125"/>
              <a:gd name="connsiteY142" fmla="*/ 3296047 h 3886200"/>
              <a:gd name="connsiteX143" fmla="*/ 3746103 w 4556125"/>
              <a:gd name="connsiteY143" fmla="*/ 3314700 h 3886200"/>
              <a:gd name="connsiteX144" fmla="*/ 3725069 w 4556125"/>
              <a:gd name="connsiteY144" fmla="*/ 3332956 h 3886200"/>
              <a:gd name="connsiteX145" fmla="*/ 3703638 w 4556125"/>
              <a:gd name="connsiteY145" fmla="*/ 3350816 h 3886200"/>
              <a:gd name="connsiteX146" fmla="*/ 3681412 w 4556125"/>
              <a:gd name="connsiteY146" fmla="*/ 3368675 h 3886200"/>
              <a:gd name="connsiteX147" fmla="*/ 3659584 w 4556125"/>
              <a:gd name="connsiteY147" fmla="*/ 3386138 h 3886200"/>
              <a:gd name="connsiteX148" fmla="*/ 3636962 w 4556125"/>
              <a:gd name="connsiteY148" fmla="*/ 3403203 h 3886200"/>
              <a:gd name="connsiteX149" fmla="*/ 3614738 w 4556125"/>
              <a:gd name="connsiteY149" fmla="*/ 3420269 h 3886200"/>
              <a:gd name="connsiteX150" fmla="*/ 3592116 w 4556125"/>
              <a:gd name="connsiteY150" fmla="*/ 3436938 h 3886200"/>
              <a:gd name="connsiteX151" fmla="*/ 3569097 w 4556125"/>
              <a:gd name="connsiteY151" fmla="*/ 3453606 h 3886200"/>
              <a:gd name="connsiteX152" fmla="*/ 3546078 w 4556125"/>
              <a:gd name="connsiteY152" fmla="*/ 3469878 h 3886200"/>
              <a:gd name="connsiteX153" fmla="*/ 3522662 w 4556125"/>
              <a:gd name="connsiteY153" fmla="*/ 3485753 h 3886200"/>
              <a:gd name="connsiteX154" fmla="*/ 3499644 w 4556125"/>
              <a:gd name="connsiteY154" fmla="*/ 3501628 h 3886200"/>
              <a:gd name="connsiteX155" fmla="*/ 3475831 w 4556125"/>
              <a:gd name="connsiteY155" fmla="*/ 3517106 h 3886200"/>
              <a:gd name="connsiteX156" fmla="*/ 3452019 w 4556125"/>
              <a:gd name="connsiteY156" fmla="*/ 3532188 h 3886200"/>
              <a:gd name="connsiteX157" fmla="*/ 3427810 w 4556125"/>
              <a:gd name="connsiteY157" fmla="*/ 3546872 h 3886200"/>
              <a:gd name="connsiteX158" fmla="*/ 3403600 w 4556125"/>
              <a:gd name="connsiteY158" fmla="*/ 3561556 h 3886200"/>
              <a:gd name="connsiteX159" fmla="*/ 3379390 w 4556125"/>
              <a:gd name="connsiteY159" fmla="*/ 3575447 h 3886200"/>
              <a:gd name="connsiteX160" fmla="*/ 3354784 w 4556125"/>
              <a:gd name="connsiteY160" fmla="*/ 3589735 h 3886200"/>
              <a:gd name="connsiteX161" fmla="*/ 3329384 w 4556125"/>
              <a:gd name="connsiteY161" fmla="*/ 3603228 h 3886200"/>
              <a:gd name="connsiteX162" fmla="*/ 3304778 w 4556125"/>
              <a:gd name="connsiteY162" fmla="*/ 3616722 h 3886200"/>
              <a:gd name="connsiteX163" fmla="*/ 3279775 w 4556125"/>
              <a:gd name="connsiteY163" fmla="*/ 3629819 h 3886200"/>
              <a:gd name="connsiteX164" fmla="*/ 3253978 w 4556125"/>
              <a:gd name="connsiteY164" fmla="*/ 3642519 h 3886200"/>
              <a:gd name="connsiteX165" fmla="*/ 3228975 w 4556125"/>
              <a:gd name="connsiteY165" fmla="*/ 3655219 h 3886200"/>
              <a:gd name="connsiteX166" fmla="*/ 3202781 w 4556125"/>
              <a:gd name="connsiteY166" fmla="*/ 3667125 h 3886200"/>
              <a:gd name="connsiteX167" fmla="*/ 3176984 w 4556125"/>
              <a:gd name="connsiteY167" fmla="*/ 3679428 h 3886200"/>
              <a:gd name="connsiteX168" fmla="*/ 3150790 w 4556125"/>
              <a:gd name="connsiteY168" fmla="*/ 3690938 h 3886200"/>
              <a:gd name="connsiteX169" fmla="*/ 3124597 w 4556125"/>
              <a:gd name="connsiteY169" fmla="*/ 3702050 h 3886200"/>
              <a:gd name="connsiteX170" fmla="*/ 3098403 w 4556125"/>
              <a:gd name="connsiteY170" fmla="*/ 3713163 h 3886200"/>
              <a:gd name="connsiteX171" fmla="*/ 3071812 w 4556125"/>
              <a:gd name="connsiteY171" fmla="*/ 3723481 h 3886200"/>
              <a:gd name="connsiteX172" fmla="*/ 3045222 w 4556125"/>
              <a:gd name="connsiteY172" fmla="*/ 3734197 h 3886200"/>
              <a:gd name="connsiteX173" fmla="*/ 3018631 w 4556125"/>
              <a:gd name="connsiteY173" fmla="*/ 3744119 h 3886200"/>
              <a:gd name="connsiteX174" fmla="*/ 2991247 w 4556125"/>
              <a:gd name="connsiteY174" fmla="*/ 3753644 h 3886200"/>
              <a:gd name="connsiteX175" fmla="*/ 2964260 w 4556125"/>
              <a:gd name="connsiteY175" fmla="*/ 3763169 h 3886200"/>
              <a:gd name="connsiteX176" fmla="*/ 2936875 w 4556125"/>
              <a:gd name="connsiteY176" fmla="*/ 3771900 h 3886200"/>
              <a:gd name="connsiteX177" fmla="*/ 2909094 w 4556125"/>
              <a:gd name="connsiteY177" fmla="*/ 3781028 h 3886200"/>
              <a:gd name="connsiteX178" fmla="*/ 2882106 w 4556125"/>
              <a:gd name="connsiteY178" fmla="*/ 3789363 h 3886200"/>
              <a:gd name="connsiteX179" fmla="*/ 2853928 w 4556125"/>
              <a:gd name="connsiteY179" fmla="*/ 3797697 h 3886200"/>
              <a:gd name="connsiteX180" fmla="*/ 2826147 w 4556125"/>
              <a:gd name="connsiteY180" fmla="*/ 3805238 h 3886200"/>
              <a:gd name="connsiteX181" fmla="*/ 2797969 w 4556125"/>
              <a:gd name="connsiteY181" fmla="*/ 3812778 h 3886200"/>
              <a:gd name="connsiteX182" fmla="*/ 2770188 w 4556125"/>
              <a:gd name="connsiteY182" fmla="*/ 3819922 h 3886200"/>
              <a:gd name="connsiteX183" fmla="*/ 2741612 w 4556125"/>
              <a:gd name="connsiteY183" fmla="*/ 3826272 h 3886200"/>
              <a:gd name="connsiteX184" fmla="*/ 2713434 w 4556125"/>
              <a:gd name="connsiteY184" fmla="*/ 3833019 h 3886200"/>
              <a:gd name="connsiteX185" fmla="*/ 2684860 w 4556125"/>
              <a:gd name="connsiteY185" fmla="*/ 3838972 h 3886200"/>
              <a:gd name="connsiteX186" fmla="*/ 2655888 w 4556125"/>
              <a:gd name="connsiteY186" fmla="*/ 3844528 h 3886200"/>
              <a:gd name="connsiteX187" fmla="*/ 2627312 w 4556125"/>
              <a:gd name="connsiteY187" fmla="*/ 3849291 h 3886200"/>
              <a:gd name="connsiteX188" fmla="*/ 2598738 w 4556125"/>
              <a:gd name="connsiteY188" fmla="*/ 3854450 h 3886200"/>
              <a:gd name="connsiteX189" fmla="*/ 2569369 w 4556125"/>
              <a:gd name="connsiteY189" fmla="*/ 3859610 h 3886200"/>
              <a:gd name="connsiteX190" fmla="*/ 2540397 w 4556125"/>
              <a:gd name="connsiteY190" fmla="*/ 3863578 h 3886200"/>
              <a:gd name="connsiteX191" fmla="*/ 2511028 w 4556125"/>
              <a:gd name="connsiteY191" fmla="*/ 3867547 h 3886200"/>
              <a:gd name="connsiteX192" fmla="*/ 2481262 w 4556125"/>
              <a:gd name="connsiteY192" fmla="*/ 3871119 h 3886200"/>
              <a:gd name="connsiteX193" fmla="*/ 2452290 w 4556125"/>
              <a:gd name="connsiteY193" fmla="*/ 3874294 h 3886200"/>
              <a:gd name="connsiteX194" fmla="*/ 2422525 w 4556125"/>
              <a:gd name="connsiteY194" fmla="*/ 3877072 h 3886200"/>
              <a:gd name="connsiteX195" fmla="*/ 2392760 w 4556125"/>
              <a:gd name="connsiteY195" fmla="*/ 3879850 h 3886200"/>
              <a:gd name="connsiteX196" fmla="*/ 2362994 w 4556125"/>
              <a:gd name="connsiteY196" fmla="*/ 3881835 h 3886200"/>
              <a:gd name="connsiteX197" fmla="*/ 2332831 w 4556125"/>
              <a:gd name="connsiteY197" fmla="*/ 3883025 h 3886200"/>
              <a:gd name="connsiteX198" fmla="*/ 2303066 w 4556125"/>
              <a:gd name="connsiteY198" fmla="*/ 3884613 h 3886200"/>
              <a:gd name="connsiteX199" fmla="*/ 2272903 w 4556125"/>
              <a:gd name="connsiteY199" fmla="*/ 3885803 h 3886200"/>
              <a:gd name="connsiteX200" fmla="*/ 2242740 w 4556125"/>
              <a:gd name="connsiteY200" fmla="*/ 3886200 h 3886200"/>
              <a:gd name="connsiteX201" fmla="*/ 2212578 w 4556125"/>
              <a:gd name="connsiteY201" fmla="*/ 3886200 h 3886200"/>
              <a:gd name="connsiteX202" fmla="*/ 2169716 w 4556125"/>
              <a:gd name="connsiteY202" fmla="*/ 3885803 h 3886200"/>
              <a:gd name="connsiteX203" fmla="*/ 2127647 w 4556125"/>
              <a:gd name="connsiteY203" fmla="*/ 3884613 h 3886200"/>
              <a:gd name="connsiteX204" fmla="*/ 2085975 w 4556125"/>
              <a:gd name="connsiteY204" fmla="*/ 3883025 h 3886200"/>
              <a:gd name="connsiteX205" fmla="*/ 2043906 w 4556125"/>
              <a:gd name="connsiteY205" fmla="*/ 3880247 h 3886200"/>
              <a:gd name="connsiteX206" fmla="*/ 2002234 w 4556125"/>
              <a:gd name="connsiteY206" fmla="*/ 3877072 h 3886200"/>
              <a:gd name="connsiteX207" fmla="*/ 1960960 w 4556125"/>
              <a:gd name="connsiteY207" fmla="*/ 3873103 h 3886200"/>
              <a:gd name="connsiteX208" fmla="*/ 1919685 w 4556125"/>
              <a:gd name="connsiteY208" fmla="*/ 3867944 h 3886200"/>
              <a:gd name="connsiteX209" fmla="*/ 1878410 w 4556125"/>
              <a:gd name="connsiteY209" fmla="*/ 3862388 h 3886200"/>
              <a:gd name="connsiteX210" fmla="*/ 1837531 w 4556125"/>
              <a:gd name="connsiteY210" fmla="*/ 3856435 h 3886200"/>
              <a:gd name="connsiteX211" fmla="*/ 1797050 w 4556125"/>
              <a:gd name="connsiteY211" fmla="*/ 3849291 h 3886200"/>
              <a:gd name="connsiteX212" fmla="*/ 1756569 w 4556125"/>
              <a:gd name="connsiteY212" fmla="*/ 3841750 h 3886200"/>
              <a:gd name="connsiteX213" fmla="*/ 1716881 w 4556125"/>
              <a:gd name="connsiteY213" fmla="*/ 3833813 h 3886200"/>
              <a:gd name="connsiteX214" fmla="*/ 1677194 w 4556125"/>
              <a:gd name="connsiteY214" fmla="*/ 3824685 h 3886200"/>
              <a:gd name="connsiteX215" fmla="*/ 1637506 w 4556125"/>
              <a:gd name="connsiteY215" fmla="*/ 3815160 h 3886200"/>
              <a:gd name="connsiteX216" fmla="*/ 1598216 w 4556125"/>
              <a:gd name="connsiteY216" fmla="*/ 3804444 h 3886200"/>
              <a:gd name="connsiteX217" fmla="*/ 1558925 w 4556125"/>
              <a:gd name="connsiteY217" fmla="*/ 3794125 h 3886200"/>
              <a:gd name="connsiteX218" fmla="*/ 1520031 w 4556125"/>
              <a:gd name="connsiteY218" fmla="*/ 3782616 h 3886200"/>
              <a:gd name="connsiteX219" fmla="*/ 1481931 w 4556125"/>
              <a:gd name="connsiteY219" fmla="*/ 3769916 h 3886200"/>
              <a:gd name="connsiteX220" fmla="*/ 1443435 w 4556125"/>
              <a:gd name="connsiteY220" fmla="*/ 3757216 h 3886200"/>
              <a:gd name="connsiteX221" fmla="*/ 1405731 w 4556125"/>
              <a:gd name="connsiteY221" fmla="*/ 3743722 h 3886200"/>
              <a:gd name="connsiteX222" fmla="*/ 1368028 w 4556125"/>
              <a:gd name="connsiteY222" fmla="*/ 3729435 h 3886200"/>
              <a:gd name="connsiteX223" fmla="*/ 1330722 w 4556125"/>
              <a:gd name="connsiteY223" fmla="*/ 3714353 h 3886200"/>
              <a:gd name="connsiteX224" fmla="*/ 1294210 w 4556125"/>
              <a:gd name="connsiteY224" fmla="*/ 3699272 h 3886200"/>
              <a:gd name="connsiteX225" fmla="*/ 1257300 w 4556125"/>
              <a:gd name="connsiteY225" fmla="*/ 3683397 h 3886200"/>
              <a:gd name="connsiteX226" fmla="*/ 1221185 w 4556125"/>
              <a:gd name="connsiteY226" fmla="*/ 3666728 h 3886200"/>
              <a:gd name="connsiteX227" fmla="*/ 1184672 w 4556125"/>
              <a:gd name="connsiteY227" fmla="*/ 3649663 h 3886200"/>
              <a:gd name="connsiteX228" fmla="*/ 1148953 w 4556125"/>
              <a:gd name="connsiteY228" fmla="*/ 3631803 h 3886200"/>
              <a:gd name="connsiteX229" fmla="*/ 1114028 w 4556125"/>
              <a:gd name="connsiteY229" fmla="*/ 3613150 h 3886200"/>
              <a:gd name="connsiteX230" fmla="*/ 1079103 w 4556125"/>
              <a:gd name="connsiteY230" fmla="*/ 3594100 h 3886200"/>
              <a:gd name="connsiteX231" fmla="*/ 1044575 w 4556125"/>
              <a:gd name="connsiteY231" fmla="*/ 3575050 h 3886200"/>
              <a:gd name="connsiteX232" fmla="*/ 1010047 w 4556125"/>
              <a:gd name="connsiteY232" fmla="*/ 3554810 h 3886200"/>
              <a:gd name="connsiteX233" fmla="*/ 976313 w 4556125"/>
              <a:gd name="connsiteY233" fmla="*/ 3534172 h 3886200"/>
              <a:gd name="connsiteX234" fmla="*/ 943372 w 4556125"/>
              <a:gd name="connsiteY234" fmla="*/ 3513138 h 3886200"/>
              <a:gd name="connsiteX235" fmla="*/ 910035 w 4556125"/>
              <a:gd name="connsiteY235" fmla="*/ 3490913 h 3886200"/>
              <a:gd name="connsiteX236" fmla="*/ 877491 w 4556125"/>
              <a:gd name="connsiteY236" fmla="*/ 3468688 h 3886200"/>
              <a:gd name="connsiteX237" fmla="*/ 844947 w 4556125"/>
              <a:gd name="connsiteY237" fmla="*/ 3446066 h 3886200"/>
              <a:gd name="connsiteX238" fmla="*/ 813197 w 4556125"/>
              <a:gd name="connsiteY238" fmla="*/ 3422650 h 3886200"/>
              <a:gd name="connsiteX239" fmla="*/ 781844 w 4556125"/>
              <a:gd name="connsiteY239" fmla="*/ 3398838 h 3886200"/>
              <a:gd name="connsiteX240" fmla="*/ 750888 w 4556125"/>
              <a:gd name="connsiteY240" fmla="*/ 3374231 h 3886200"/>
              <a:gd name="connsiteX241" fmla="*/ 720328 w 4556125"/>
              <a:gd name="connsiteY241" fmla="*/ 3349625 h 3886200"/>
              <a:gd name="connsiteX242" fmla="*/ 690166 w 4556125"/>
              <a:gd name="connsiteY242" fmla="*/ 3324225 h 3886200"/>
              <a:gd name="connsiteX243" fmla="*/ 660400 w 4556125"/>
              <a:gd name="connsiteY243" fmla="*/ 3298031 h 3886200"/>
              <a:gd name="connsiteX244" fmla="*/ 630635 w 4556125"/>
              <a:gd name="connsiteY244" fmla="*/ 3271838 h 3886200"/>
              <a:gd name="connsiteX245" fmla="*/ 602060 w 4556125"/>
              <a:gd name="connsiteY245" fmla="*/ 3244850 h 3886200"/>
              <a:gd name="connsiteX246" fmla="*/ 573881 w 4556125"/>
              <a:gd name="connsiteY246" fmla="*/ 3217466 h 3886200"/>
              <a:gd name="connsiteX247" fmla="*/ 545703 w 4556125"/>
              <a:gd name="connsiteY247" fmla="*/ 3189685 h 3886200"/>
              <a:gd name="connsiteX248" fmla="*/ 518319 w 4556125"/>
              <a:gd name="connsiteY248" fmla="*/ 3161506 h 3886200"/>
              <a:gd name="connsiteX249" fmla="*/ 491331 w 4556125"/>
              <a:gd name="connsiteY249" fmla="*/ 3132931 h 3886200"/>
              <a:gd name="connsiteX250" fmla="*/ 464741 w 4556125"/>
              <a:gd name="connsiteY250" fmla="*/ 3103563 h 3886200"/>
              <a:gd name="connsiteX251" fmla="*/ 438944 w 4556125"/>
              <a:gd name="connsiteY251" fmla="*/ 3074194 h 3886200"/>
              <a:gd name="connsiteX252" fmla="*/ 413147 w 4556125"/>
              <a:gd name="connsiteY252" fmla="*/ 3043635 h 3886200"/>
              <a:gd name="connsiteX253" fmla="*/ 388144 w 4556125"/>
              <a:gd name="connsiteY253" fmla="*/ 3013472 h 3886200"/>
              <a:gd name="connsiteX254" fmla="*/ 363538 w 4556125"/>
              <a:gd name="connsiteY254" fmla="*/ 2982516 h 3886200"/>
              <a:gd name="connsiteX255" fmla="*/ 339725 w 4556125"/>
              <a:gd name="connsiteY255" fmla="*/ 2951163 h 3886200"/>
              <a:gd name="connsiteX256" fmla="*/ 315913 w 4556125"/>
              <a:gd name="connsiteY256" fmla="*/ 2919413 h 3886200"/>
              <a:gd name="connsiteX257" fmla="*/ 292894 w 4556125"/>
              <a:gd name="connsiteY257" fmla="*/ 2887266 h 3886200"/>
              <a:gd name="connsiteX258" fmla="*/ 270669 w 4556125"/>
              <a:gd name="connsiteY258" fmla="*/ 2854325 h 3886200"/>
              <a:gd name="connsiteX259" fmla="*/ 248841 w 4556125"/>
              <a:gd name="connsiteY259" fmla="*/ 2821781 h 3886200"/>
              <a:gd name="connsiteX260" fmla="*/ 227410 w 4556125"/>
              <a:gd name="connsiteY260" fmla="*/ 2788444 h 3886200"/>
              <a:gd name="connsiteX261" fmla="*/ 206375 w 4556125"/>
              <a:gd name="connsiteY261" fmla="*/ 2754710 h 3886200"/>
              <a:gd name="connsiteX262" fmla="*/ 186135 w 4556125"/>
              <a:gd name="connsiteY262" fmla="*/ 2720578 h 3886200"/>
              <a:gd name="connsiteX263" fmla="*/ 166688 w 4556125"/>
              <a:gd name="connsiteY263" fmla="*/ 2685653 h 3886200"/>
              <a:gd name="connsiteX264" fmla="*/ 147638 w 4556125"/>
              <a:gd name="connsiteY264" fmla="*/ 2651125 h 3886200"/>
              <a:gd name="connsiteX265" fmla="*/ 128985 w 4556125"/>
              <a:gd name="connsiteY265" fmla="*/ 2615803 h 3886200"/>
              <a:gd name="connsiteX266" fmla="*/ 114697 w 4556125"/>
              <a:gd name="connsiteY266" fmla="*/ 2589213 h 3886200"/>
              <a:gd name="connsiteX267" fmla="*/ 101600 w 4556125"/>
              <a:gd name="connsiteY267" fmla="*/ 2561828 h 3886200"/>
              <a:gd name="connsiteX268" fmla="*/ 89694 w 4556125"/>
              <a:gd name="connsiteY268" fmla="*/ 2534841 h 3886200"/>
              <a:gd name="connsiteX269" fmla="*/ 78185 w 4556125"/>
              <a:gd name="connsiteY269" fmla="*/ 2507060 h 3886200"/>
              <a:gd name="connsiteX270" fmla="*/ 67072 w 4556125"/>
              <a:gd name="connsiteY270" fmla="*/ 2479278 h 3886200"/>
              <a:gd name="connsiteX271" fmla="*/ 57547 w 4556125"/>
              <a:gd name="connsiteY271" fmla="*/ 2451100 h 3886200"/>
              <a:gd name="connsiteX272" fmla="*/ 47625 w 4556125"/>
              <a:gd name="connsiteY272" fmla="*/ 2422922 h 3886200"/>
              <a:gd name="connsiteX273" fmla="*/ 39688 w 4556125"/>
              <a:gd name="connsiteY273" fmla="*/ 2394347 h 3886200"/>
              <a:gd name="connsiteX274" fmla="*/ 32147 w 4556125"/>
              <a:gd name="connsiteY274" fmla="*/ 2365375 h 3886200"/>
              <a:gd name="connsiteX275" fmla="*/ 25797 w 4556125"/>
              <a:gd name="connsiteY275" fmla="*/ 2336800 h 3886200"/>
              <a:gd name="connsiteX276" fmla="*/ 19447 w 4556125"/>
              <a:gd name="connsiteY276" fmla="*/ 2308225 h 3886200"/>
              <a:gd name="connsiteX277" fmla="*/ 14685 w 4556125"/>
              <a:gd name="connsiteY277" fmla="*/ 2278856 h 3886200"/>
              <a:gd name="connsiteX278" fmla="*/ 9922 w 4556125"/>
              <a:gd name="connsiteY278" fmla="*/ 2250281 h 3886200"/>
              <a:gd name="connsiteX279" fmla="*/ 6350 w 4556125"/>
              <a:gd name="connsiteY279" fmla="*/ 2220913 h 3886200"/>
              <a:gd name="connsiteX280" fmla="*/ 3572 w 4556125"/>
              <a:gd name="connsiteY280" fmla="*/ 2191941 h 3886200"/>
              <a:gd name="connsiteX281" fmla="*/ 1588 w 4556125"/>
              <a:gd name="connsiteY281" fmla="*/ 2162175 h 3886200"/>
              <a:gd name="connsiteX282" fmla="*/ 397 w 4556125"/>
              <a:gd name="connsiteY282" fmla="*/ 2132806 h 3886200"/>
              <a:gd name="connsiteX283" fmla="*/ 0 w 4556125"/>
              <a:gd name="connsiteY283" fmla="*/ 2103835 h 3886200"/>
              <a:gd name="connsiteX284" fmla="*/ 0 w 4556125"/>
              <a:gd name="connsiteY284" fmla="*/ 2074466 h 3886200"/>
              <a:gd name="connsiteX285" fmla="*/ 1588 w 4556125"/>
              <a:gd name="connsiteY285" fmla="*/ 2044700 h 3886200"/>
              <a:gd name="connsiteX286" fmla="*/ 3175 w 4556125"/>
              <a:gd name="connsiteY286" fmla="*/ 2015728 h 3886200"/>
              <a:gd name="connsiteX287" fmla="*/ 5556 w 4556125"/>
              <a:gd name="connsiteY287" fmla="*/ 1986360 h 3886200"/>
              <a:gd name="connsiteX288" fmla="*/ 9128 w 4556125"/>
              <a:gd name="connsiteY288" fmla="*/ 1957388 h 3886200"/>
              <a:gd name="connsiteX289" fmla="*/ 13097 w 4556125"/>
              <a:gd name="connsiteY289" fmla="*/ 1928019 h 3886200"/>
              <a:gd name="connsiteX290" fmla="*/ 18256 w 4556125"/>
              <a:gd name="connsiteY290" fmla="*/ 1898650 h 3886200"/>
              <a:gd name="connsiteX291" fmla="*/ 23813 w 4556125"/>
              <a:gd name="connsiteY291" fmla="*/ 1870075 h 3886200"/>
              <a:gd name="connsiteX292" fmla="*/ 29766 w 4556125"/>
              <a:gd name="connsiteY292" fmla="*/ 1841500 h 3886200"/>
              <a:gd name="connsiteX293" fmla="*/ 36910 w 4556125"/>
              <a:gd name="connsiteY293" fmla="*/ 1812528 h 3886200"/>
              <a:gd name="connsiteX294" fmla="*/ 44847 w 4556125"/>
              <a:gd name="connsiteY294" fmla="*/ 1783953 h 3886200"/>
              <a:gd name="connsiteX295" fmla="*/ 53181 w 4556125"/>
              <a:gd name="connsiteY295" fmla="*/ 1755775 h 3886200"/>
              <a:gd name="connsiteX296" fmla="*/ 62310 w 4556125"/>
              <a:gd name="connsiteY296" fmla="*/ 1727597 h 3886200"/>
              <a:gd name="connsiteX297" fmla="*/ 72628 w 4556125"/>
              <a:gd name="connsiteY297" fmla="*/ 1699419 h 3886200"/>
              <a:gd name="connsiteX298" fmla="*/ 83741 w 4556125"/>
              <a:gd name="connsiteY298" fmla="*/ 1671638 h 3886200"/>
              <a:gd name="connsiteX299" fmla="*/ 94456 w 4556125"/>
              <a:gd name="connsiteY299" fmla="*/ 1644650 h 3886200"/>
              <a:gd name="connsiteX300" fmla="*/ 106760 w 4556125"/>
              <a:gd name="connsiteY300" fmla="*/ 1617266 h 3886200"/>
              <a:gd name="connsiteX301" fmla="*/ 119856 w 4556125"/>
              <a:gd name="connsiteY301" fmla="*/ 1590278 h 3886200"/>
              <a:gd name="connsiteX302" fmla="*/ 133350 w 4556125"/>
              <a:gd name="connsiteY302" fmla="*/ 1563291 h 3886200"/>
              <a:gd name="connsiteX303" fmla="*/ 148035 w 4556125"/>
              <a:gd name="connsiteY303" fmla="*/ 1537097 h 3886200"/>
              <a:gd name="connsiteX304" fmla="*/ 162719 w 4556125"/>
              <a:gd name="connsiteY304" fmla="*/ 1510903 h 3886200"/>
              <a:gd name="connsiteX305" fmla="*/ 178594 w 4556125"/>
              <a:gd name="connsiteY305" fmla="*/ 1485503 h 3886200"/>
              <a:gd name="connsiteX306" fmla="*/ 194866 w 4556125"/>
              <a:gd name="connsiteY306" fmla="*/ 1460103 h 3886200"/>
              <a:gd name="connsiteX307" fmla="*/ 211931 w 4556125"/>
              <a:gd name="connsiteY307" fmla="*/ 1435100 h 3886200"/>
              <a:gd name="connsiteX308" fmla="*/ 230188 w 4556125"/>
              <a:gd name="connsiteY308" fmla="*/ 1410494 h 3886200"/>
              <a:gd name="connsiteX309" fmla="*/ 248047 w 4556125"/>
              <a:gd name="connsiteY309" fmla="*/ 1386285 h 3886200"/>
              <a:gd name="connsiteX310" fmla="*/ 267891 w 4556125"/>
              <a:gd name="connsiteY310" fmla="*/ 1362472 h 3886200"/>
              <a:gd name="connsiteX311" fmla="*/ 287338 w 4556125"/>
              <a:gd name="connsiteY311" fmla="*/ 1339056 h 3886200"/>
              <a:gd name="connsiteX312" fmla="*/ 307975 w 4556125"/>
              <a:gd name="connsiteY312" fmla="*/ 1316038 h 3886200"/>
              <a:gd name="connsiteX313" fmla="*/ 329010 w 4556125"/>
              <a:gd name="connsiteY313" fmla="*/ 1293416 h 3886200"/>
              <a:gd name="connsiteX314" fmla="*/ 351235 w 4556125"/>
              <a:gd name="connsiteY314" fmla="*/ 1271588 h 3886200"/>
              <a:gd name="connsiteX315" fmla="*/ 373856 w 4556125"/>
              <a:gd name="connsiteY315" fmla="*/ 1249760 h 3886200"/>
              <a:gd name="connsiteX316" fmla="*/ 397272 w 4556125"/>
              <a:gd name="connsiteY316" fmla="*/ 1229122 h 3886200"/>
              <a:gd name="connsiteX317" fmla="*/ 421481 w 4556125"/>
              <a:gd name="connsiteY317" fmla="*/ 1208485 h 3886200"/>
              <a:gd name="connsiteX318" fmla="*/ 445294 w 4556125"/>
              <a:gd name="connsiteY318" fmla="*/ 1188641 h 3886200"/>
              <a:gd name="connsiteX319" fmla="*/ 471091 w 4556125"/>
              <a:gd name="connsiteY319" fmla="*/ 1169194 h 3886200"/>
              <a:gd name="connsiteX320" fmla="*/ 496888 w 4556125"/>
              <a:gd name="connsiteY320" fmla="*/ 1150541 h 3886200"/>
              <a:gd name="connsiteX321" fmla="*/ 523478 w 4556125"/>
              <a:gd name="connsiteY321" fmla="*/ 1132285 h 3886200"/>
              <a:gd name="connsiteX322" fmla="*/ 550466 w 4556125"/>
              <a:gd name="connsiteY322" fmla="*/ 1114822 h 3886200"/>
              <a:gd name="connsiteX323" fmla="*/ 578644 w 4556125"/>
              <a:gd name="connsiteY323" fmla="*/ 1097756 h 3886200"/>
              <a:gd name="connsiteX324" fmla="*/ 606822 w 4556125"/>
              <a:gd name="connsiteY324" fmla="*/ 1081088 h 3886200"/>
              <a:gd name="connsiteX325" fmla="*/ 636191 w 4556125"/>
              <a:gd name="connsiteY325" fmla="*/ 1065610 h 3886200"/>
              <a:gd name="connsiteX326" fmla="*/ 666353 w 4556125"/>
              <a:gd name="connsiteY326" fmla="*/ 1050528 h 3886200"/>
              <a:gd name="connsiteX327" fmla="*/ 696516 w 4556125"/>
              <a:gd name="connsiteY327" fmla="*/ 1036241 h 3886200"/>
              <a:gd name="connsiteX328" fmla="*/ 727869 w 4556125"/>
              <a:gd name="connsiteY328" fmla="*/ 1022747 h 3886200"/>
              <a:gd name="connsiteX329" fmla="*/ 759619 w 4556125"/>
              <a:gd name="connsiteY329" fmla="*/ 1009650 h 3886200"/>
              <a:gd name="connsiteX330" fmla="*/ 3618310 w 4556125"/>
              <a:gd name="connsiteY330" fmla="*/ 26591 h 3886200"/>
              <a:gd name="connsiteX331" fmla="*/ 3633390 w 4556125"/>
              <a:gd name="connsiteY331" fmla="*/ 22225 h 3886200"/>
              <a:gd name="connsiteX332" fmla="*/ 3648472 w 4556125"/>
              <a:gd name="connsiteY332" fmla="*/ 17463 h 3886200"/>
              <a:gd name="connsiteX333" fmla="*/ 3663553 w 4556125"/>
              <a:gd name="connsiteY333" fmla="*/ 13494 h 3886200"/>
              <a:gd name="connsiteX334" fmla="*/ 3678634 w 4556125"/>
              <a:gd name="connsiteY334" fmla="*/ 10716 h 3886200"/>
              <a:gd name="connsiteX335" fmla="*/ 3693319 w 4556125"/>
              <a:gd name="connsiteY335" fmla="*/ 7541 h 3886200"/>
              <a:gd name="connsiteX336" fmla="*/ 3708003 w 4556125"/>
              <a:gd name="connsiteY336" fmla="*/ 5159 h 3886200"/>
              <a:gd name="connsiteX337" fmla="*/ 3722290 w 4556125"/>
              <a:gd name="connsiteY337" fmla="*/ 3175 h 3886200"/>
              <a:gd name="connsiteX338" fmla="*/ 3736578 w 4556125"/>
              <a:gd name="connsiteY338" fmla="*/ 1588 h 3886200"/>
              <a:gd name="connsiteX339" fmla="*/ 3750866 w 4556125"/>
              <a:gd name="connsiteY339" fmla="*/ 397 h 38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4556125" h="3886200">
                <a:moveTo>
                  <a:pt x="3764756" y="0"/>
                </a:moveTo>
                <a:lnTo>
                  <a:pt x="3778647" y="0"/>
                </a:lnTo>
                <a:lnTo>
                  <a:pt x="3792538" y="397"/>
                </a:lnTo>
                <a:lnTo>
                  <a:pt x="3806031" y="1191"/>
                </a:lnTo>
                <a:lnTo>
                  <a:pt x="3819922" y="2381"/>
                </a:lnTo>
                <a:lnTo>
                  <a:pt x="3833019" y="3969"/>
                </a:lnTo>
                <a:lnTo>
                  <a:pt x="3846512" y="5953"/>
                </a:lnTo>
                <a:lnTo>
                  <a:pt x="3859610" y="8731"/>
                </a:lnTo>
                <a:lnTo>
                  <a:pt x="3871912" y="11510"/>
                </a:lnTo>
                <a:lnTo>
                  <a:pt x="3885010" y="14685"/>
                </a:lnTo>
                <a:lnTo>
                  <a:pt x="3897710" y="18256"/>
                </a:lnTo>
                <a:lnTo>
                  <a:pt x="3910410" y="22622"/>
                </a:lnTo>
                <a:lnTo>
                  <a:pt x="3923110" y="26591"/>
                </a:lnTo>
                <a:lnTo>
                  <a:pt x="3935016" y="31750"/>
                </a:lnTo>
                <a:lnTo>
                  <a:pt x="3947716" y="36910"/>
                </a:lnTo>
                <a:lnTo>
                  <a:pt x="3959622" y="42863"/>
                </a:lnTo>
                <a:lnTo>
                  <a:pt x="3971131" y="48419"/>
                </a:lnTo>
                <a:lnTo>
                  <a:pt x="3983434" y="54769"/>
                </a:lnTo>
                <a:lnTo>
                  <a:pt x="3994944" y="61516"/>
                </a:lnTo>
                <a:lnTo>
                  <a:pt x="4006453" y="68660"/>
                </a:lnTo>
                <a:lnTo>
                  <a:pt x="4017962" y="76200"/>
                </a:lnTo>
                <a:lnTo>
                  <a:pt x="4029075" y="83741"/>
                </a:lnTo>
                <a:lnTo>
                  <a:pt x="4040188" y="91678"/>
                </a:lnTo>
                <a:lnTo>
                  <a:pt x="4051300" y="100013"/>
                </a:lnTo>
                <a:lnTo>
                  <a:pt x="4062412" y="108744"/>
                </a:lnTo>
                <a:lnTo>
                  <a:pt x="4073128" y="117872"/>
                </a:lnTo>
                <a:lnTo>
                  <a:pt x="4083844" y="127000"/>
                </a:lnTo>
                <a:lnTo>
                  <a:pt x="4094560" y="136525"/>
                </a:lnTo>
                <a:lnTo>
                  <a:pt x="4104481" y="146447"/>
                </a:lnTo>
                <a:lnTo>
                  <a:pt x="4125119" y="167084"/>
                </a:lnTo>
                <a:lnTo>
                  <a:pt x="4145360" y="188913"/>
                </a:lnTo>
                <a:lnTo>
                  <a:pt x="4164410" y="211931"/>
                </a:lnTo>
                <a:lnTo>
                  <a:pt x="4183856" y="235744"/>
                </a:lnTo>
                <a:lnTo>
                  <a:pt x="4202112" y="260350"/>
                </a:lnTo>
                <a:lnTo>
                  <a:pt x="4219972" y="286544"/>
                </a:lnTo>
                <a:lnTo>
                  <a:pt x="4237434" y="313135"/>
                </a:lnTo>
                <a:lnTo>
                  <a:pt x="4254500" y="340519"/>
                </a:lnTo>
                <a:lnTo>
                  <a:pt x="4271169" y="369094"/>
                </a:lnTo>
                <a:lnTo>
                  <a:pt x="4286647" y="398463"/>
                </a:lnTo>
                <a:lnTo>
                  <a:pt x="4302522" y="427831"/>
                </a:lnTo>
                <a:lnTo>
                  <a:pt x="4317603" y="458391"/>
                </a:lnTo>
                <a:lnTo>
                  <a:pt x="4332288" y="489347"/>
                </a:lnTo>
                <a:lnTo>
                  <a:pt x="4346178" y="521097"/>
                </a:lnTo>
                <a:lnTo>
                  <a:pt x="4359672" y="553244"/>
                </a:lnTo>
                <a:lnTo>
                  <a:pt x="4372769" y="586185"/>
                </a:lnTo>
                <a:lnTo>
                  <a:pt x="4385469" y="619522"/>
                </a:lnTo>
                <a:lnTo>
                  <a:pt x="4398169" y="652463"/>
                </a:lnTo>
                <a:lnTo>
                  <a:pt x="4409678" y="686991"/>
                </a:lnTo>
                <a:lnTo>
                  <a:pt x="4420790" y="721122"/>
                </a:lnTo>
                <a:lnTo>
                  <a:pt x="4431903" y="755253"/>
                </a:lnTo>
                <a:lnTo>
                  <a:pt x="4441825" y="790178"/>
                </a:lnTo>
                <a:lnTo>
                  <a:pt x="4451747" y="824706"/>
                </a:lnTo>
                <a:lnTo>
                  <a:pt x="4461669" y="859631"/>
                </a:lnTo>
                <a:lnTo>
                  <a:pt x="4470003" y="894953"/>
                </a:lnTo>
                <a:lnTo>
                  <a:pt x="4478734" y="929878"/>
                </a:lnTo>
                <a:lnTo>
                  <a:pt x="4486672" y="964803"/>
                </a:lnTo>
                <a:lnTo>
                  <a:pt x="4494212" y="1000125"/>
                </a:lnTo>
                <a:lnTo>
                  <a:pt x="4501753" y="1034653"/>
                </a:lnTo>
                <a:lnTo>
                  <a:pt x="4508500" y="1069578"/>
                </a:lnTo>
                <a:lnTo>
                  <a:pt x="4514453" y="1104106"/>
                </a:lnTo>
                <a:lnTo>
                  <a:pt x="4520406" y="1138635"/>
                </a:lnTo>
                <a:lnTo>
                  <a:pt x="4525566" y="1172369"/>
                </a:lnTo>
                <a:lnTo>
                  <a:pt x="4530328" y="1206103"/>
                </a:lnTo>
                <a:lnTo>
                  <a:pt x="4535090" y="1239044"/>
                </a:lnTo>
                <a:lnTo>
                  <a:pt x="4539060" y="1271985"/>
                </a:lnTo>
                <a:lnTo>
                  <a:pt x="4542631" y="1304528"/>
                </a:lnTo>
                <a:lnTo>
                  <a:pt x="4546203" y="1336278"/>
                </a:lnTo>
                <a:lnTo>
                  <a:pt x="4548584" y="1367631"/>
                </a:lnTo>
                <a:lnTo>
                  <a:pt x="4550966" y="1398191"/>
                </a:lnTo>
                <a:lnTo>
                  <a:pt x="4552950" y="1428353"/>
                </a:lnTo>
                <a:lnTo>
                  <a:pt x="4554538" y="1458119"/>
                </a:lnTo>
                <a:lnTo>
                  <a:pt x="4555728" y="1486297"/>
                </a:lnTo>
                <a:lnTo>
                  <a:pt x="4556125" y="1514475"/>
                </a:lnTo>
                <a:lnTo>
                  <a:pt x="4556125" y="1541463"/>
                </a:lnTo>
                <a:lnTo>
                  <a:pt x="4556125" y="1572022"/>
                </a:lnTo>
                <a:lnTo>
                  <a:pt x="4555728" y="1602185"/>
                </a:lnTo>
                <a:lnTo>
                  <a:pt x="4554538" y="1631950"/>
                </a:lnTo>
                <a:lnTo>
                  <a:pt x="4552950" y="1662113"/>
                </a:lnTo>
                <a:lnTo>
                  <a:pt x="4551760" y="1692275"/>
                </a:lnTo>
                <a:lnTo>
                  <a:pt x="4549775" y="1722041"/>
                </a:lnTo>
                <a:lnTo>
                  <a:pt x="4546997" y="1751806"/>
                </a:lnTo>
                <a:lnTo>
                  <a:pt x="4544219" y="1781572"/>
                </a:lnTo>
                <a:lnTo>
                  <a:pt x="4541044" y="1810544"/>
                </a:lnTo>
                <a:lnTo>
                  <a:pt x="4537472" y="1840310"/>
                </a:lnTo>
                <a:lnTo>
                  <a:pt x="4533503" y="1869678"/>
                </a:lnTo>
                <a:lnTo>
                  <a:pt x="4529534" y="1898650"/>
                </a:lnTo>
                <a:lnTo>
                  <a:pt x="4524375" y="1927622"/>
                </a:lnTo>
                <a:lnTo>
                  <a:pt x="4520010" y="1956594"/>
                </a:lnTo>
                <a:lnTo>
                  <a:pt x="4514453" y="1985566"/>
                </a:lnTo>
                <a:lnTo>
                  <a:pt x="4508897" y="2014141"/>
                </a:lnTo>
                <a:lnTo>
                  <a:pt x="4502944" y="2042716"/>
                </a:lnTo>
                <a:lnTo>
                  <a:pt x="4496197" y="2070894"/>
                </a:lnTo>
                <a:lnTo>
                  <a:pt x="4489847" y="2099072"/>
                </a:lnTo>
                <a:lnTo>
                  <a:pt x="4482703" y="2127250"/>
                </a:lnTo>
                <a:lnTo>
                  <a:pt x="4475162" y="2155428"/>
                </a:lnTo>
                <a:lnTo>
                  <a:pt x="4467622" y="2183210"/>
                </a:lnTo>
                <a:lnTo>
                  <a:pt x="4459684" y="2210991"/>
                </a:lnTo>
                <a:lnTo>
                  <a:pt x="4450953" y="2238772"/>
                </a:lnTo>
                <a:lnTo>
                  <a:pt x="4442222" y="2266553"/>
                </a:lnTo>
                <a:lnTo>
                  <a:pt x="4433490" y="2293541"/>
                </a:lnTo>
                <a:lnTo>
                  <a:pt x="4423569" y="2320925"/>
                </a:lnTo>
                <a:lnTo>
                  <a:pt x="4414044" y="2347913"/>
                </a:lnTo>
                <a:lnTo>
                  <a:pt x="4404122" y="2374503"/>
                </a:lnTo>
                <a:lnTo>
                  <a:pt x="4393406" y="2401491"/>
                </a:lnTo>
                <a:lnTo>
                  <a:pt x="4383088" y="2428081"/>
                </a:lnTo>
                <a:lnTo>
                  <a:pt x="4371975" y="2454275"/>
                </a:lnTo>
                <a:lnTo>
                  <a:pt x="4360862" y="2480469"/>
                </a:lnTo>
                <a:lnTo>
                  <a:pt x="4349353" y="2506663"/>
                </a:lnTo>
                <a:lnTo>
                  <a:pt x="4337050" y="2532063"/>
                </a:lnTo>
                <a:lnTo>
                  <a:pt x="4325144" y="2557860"/>
                </a:lnTo>
                <a:lnTo>
                  <a:pt x="4312444" y="2583656"/>
                </a:lnTo>
                <a:lnTo>
                  <a:pt x="4299744" y="2608660"/>
                </a:lnTo>
                <a:lnTo>
                  <a:pt x="4286647" y="2634060"/>
                </a:lnTo>
                <a:lnTo>
                  <a:pt x="4273153" y="2659063"/>
                </a:lnTo>
                <a:lnTo>
                  <a:pt x="4259660" y="2683669"/>
                </a:lnTo>
                <a:lnTo>
                  <a:pt x="4245769" y="2708275"/>
                </a:lnTo>
                <a:lnTo>
                  <a:pt x="4231481" y="2733278"/>
                </a:lnTo>
                <a:lnTo>
                  <a:pt x="4216797" y="2757488"/>
                </a:lnTo>
                <a:lnTo>
                  <a:pt x="4202112" y="2781300"/>
                </a:lnTo>
                <a:lnTo>
                  <a:pt x="4187031" y="2805113"/>
                </a:lnTo>
                <a:lnTo>
                  <a:pt x="4171553" y="2828925"/>
                </a:lnTo>
                <a:lnTo>
                  <a:pt x="4156075" y="2852341"/>
                </a:lnTo>
                <a:lnTo>
                  <a:pt x="4139803" y="2875756"/>
                </a:lnTo>
                <a:lnTo>
                  <a:pt x="4123928" y="2898775"/>
                </a:lnTo>
                <a:lnTo>
                  <a:pt x="4107260" y="2921794"/>
                </a:lnTo>
                <a:lnTo>
                  <a:pt x="4090590" y="2944416"/>
                </a:lnTo>
                <a:lnTo>
                  <a:pt x="4073525" y="2966641"/>
                </a:lnTo>
                <a:lnTo>
                  <a:pt x="4056460" y="2988866"/>
                </a:lnTo>
                <a:lnTo>
                  <a:pt x="4038600" y="3011091"/>
                </a:lnTo>
                <a:lnTo>
                  <a:pt x="4021138" y="3033316"/>
                </a:lnTo>
                <a:lnTo>
                  <a:pt x="4002881" y="3054350"/>
                </a:lnTo>
                <a:lnTo>
                  <a:pt x="3985022" y="3076178"/>
                </a:lnTo>
                <a:lnTo>
                  <a:pt x="3966369" y="3097213"/>
                </a:lnTo>
                <a:lnTo>
                  <a:pt x="3947716" y="3117850"/>
                </a:lnTo>
                <a:lnTo>
                  <a:pt x="3928666" y="3138885"/>
                </a:lnTo>
                <a:lnTo>
                  <a:pt x="3908822" y="3159125"/>
                </a:lnTo>
                <a:lnTo>
                  <a:pt x="3889772" y="3179366"/>
                </a:lnTo>
                <a:lnTo>
                  <a:pt x="3869531" y="3199210"/>
                </a:lnTo>
                <a:lnTo>
                  <a:pt x="3850084" y="3219053"/>
                </a:lnTo>
                <a:lnTo>
                  <a:pt x="3829447" y="3238500"/>
                </a:lnTo>
                <a:lnTo>
                  <a:pt x="3809206" y="3258344"/>
                </a:lnTo>
                <a:lnTo>
                  <a:pt x="3788569" y="3276997"/>
                </a:lnTo>
                <a:lnTo>
                  <a:pt x="3767534" y="3296047"/>
                </a:lnTo>
                <a:lnTo>
                  <a:pt x="3746103" y="3314700"/>
                </a:lnTo>
                <a:lnTo>
                  <a:pt x="3725069" y="3332956"/>
                </a:lnTo>
                <a:lnTo>
                  <a:pt x="3703638" y="3350816"/>
                </a:lnTo>
                <a:lnTo>
                  <a:pt x="3681412" y="3368675"/>
                </a:lnTo>
                <a:lnTo>
                  <a:pt x="3659584" y="3386138"/>
                </a:lnTo>
                <a:lnTo>
                  <a:pt x="3636962" y="3403203"/>
                </a:lnTo>
                <a:lnTo>
                  <a:pt x="3614738" y="3420269"/>
                </a:lnTo>
                <a:lnTo>
                  <a:pt x="3592116" y="3436938"/>
                </a:lnTo>
                <a:lnTo>
                  <a:pt x="3569097" y="3453606"/>
                </a:lnTo>
                <a:lnTo>
                  <a:pt x="3546078" y="3469878"/>
                </a:lnTo>
                <a:lnTo>
                  <a:pt x="3522662" y="3485753"/>
                </a:lnTo>
                <a:lnTo>
                  <a:pt x="3499644" y="3501628"/>
                </a:lnTo>
                <a:lnTo>
                  <a:pt x="3475831" y="3517106"/>
                </a:lnTo>
                <a:lnTo>
                  <a:pt x="3452019" y="3532188"/>
                </a:lnTo>
                <a:lnTo>
                  <a:pt x="3427810" y="3546872"/>
                </a:lnTo>
                <a:lnTo>
                  <a:pt x="3403600" y="3561556"/>
                </a:lnTo>
                <a:lnTo>
                  <a:pt x="3379390" y="3575447"/>
                </a:lnTo>
                <a:lnTo>
                  <a:pt x="3354784" y="3589735"/>
                </a:lnTo>
                <a:lnTo>
                  <a:pt x="3329384" y="3603228"/>
                </a:lnTo>
                <a:lnTo>
                  <a:pt x="3304778" y="3616722"/>
                </a:lnTo>
                <a:lnTo>
                  <a:pt x="3279775" y="3629819"/>
                </a:lnTo>
                <a:lnTo>
                  <a:pt x="3253978" y="3642519"/>
                </a:lnTo>
                <a:lnTo>
                  <a:pt x="3228975" y="3655219"/>
                </a:lnTo>
                <a:lnTo>
                  <a:pt x="3202781" y="3667125"/>
                </a:lnTo>
                <a:lnTo>
                  <a:pt x="3176984" y="3679428"/>
                </a:lnTo>
                <a:lnTo>
                  <a:pt x="3150790" y="3690938"/>
                </a:lnTo>
                <a:lnTo>
                  <a:pt x="3124597" y="3702050"/>
                </a:lnTo>
                <a:lnTo>
                  <a:pt x="3098403" y="3713163"/>
                </a:lnTo>
                <a:lnTo>
                  <a:pt x="3071812" y="3723481"/>
                </a:lnTo>
                <a:lnTo>
                  <a:pt x="3045222" y="3734197"/>
                </a:lnTo>
                <a:lnTo>
                  <a:pt x="3018631" y="3744119"/>
                </a:lnTo>
                <a:lnTo>
                  <a:pt x="2991247" y="3753644"/>
                </a:lnTo>
                <a:lnTo>
                  <a:pt x="2964260" y="3763169"/>
                </a:lnTo>
                <a:lnTo>
                  <a:pt x="2936875" y="3771900"/>
                </a:lnTo>
                <a:lnTo>
                  <a:pt x="2909094" y="3781028"/>
                </a:lnTo>
                <a:lnTo>
                  <a:pt x="2882106" y="3789363"/>
                </a:lnTo>
                <a:lnTo>
                  <a:pt x="2853928" y="3797697"/>
                </a:lnTo>
                <a:lnTo>
                  <a:pt x="2826147" y="3805238"/>
                </a:lnTo>
                <a:lnTo>
                  <a:pt x="2797969" y="3812778"/>
                </a:lnTo>
                <a:lnTo>
                  <a:pt x="2770188" y="3819922"/>
                </a:lnTo>
                <a:lnTo>
                  <a:pt x="2741612" y="3826272"/>
                </a:lnTo>
                <a:lnTo>
                  <a:pt x="2713434" y="3833019"/>
                </a:lnTo>
                <a:lnTo>
                  <a:pt x="2684860" y="3838972"/>
                </a:lnTo>
                <a:lnTo>
                  <a:pt x="2655888" y="3844528"/>
                </a:lnTo>
                <a:lnTo>
                  <a:pt x="2627312" y="3849291"/>
                </a:lnTo>
                <a:lnTo>
                  <a:pt x="2598738" y="3854450"/>
                </a:lnTo>
                <a:lnTo>
                  <a:pt x="2569369" y="3859610"/>
                </a:lnTo>
                <a:lnTo>
                  <a:pt x="2540397" y="3863578"/>
                </a:lnTo>
                <a:lnTo>
                  <a:pt x="2511028" y="3867547"/>
                </a:lnTo>
                <a:lnTo>
                  <a:pt x="2481262" y="3871119"/>
                </a:lnTo>
                <a:lnTo>
                  <a:pt x="2452290" y="3874294"/>
                </a:lnTo>
                <a:lnTo>
                  <a:pt x="2422525" y="3877072"/>
                </a:lnTo>
                <a:lnTo>
                  <a:pt x="2392760" y="3879850"/>
                </a:lnTo>
                <a:lnTo>
                  <a:pt x="2362994" y="3881835"/>
                </a:lnTo>
                <a:lnTo>
                  <a:pt x="2332831" y="3883025"/>
                </a:lnTo>
                <a:lnTo>
                  <a:pt x="2303066" y="3884613"/>
                </a:lnTo>
                <a:lnTo>
                  <a:pt x="2272903" y="3885803"/>
                </a:lnTo>
                <a:lnTo>
                  <a:pt x="2242740" y="3886200"/>
                </a:lnTo>
                <a:lnTo>
                  <a:pt x="2212578" y="3886200"/>
                </a:lnTo>
                <a:lnTo>
                  <a:pt x="2169716" y="3885803"/>
                </a:lnTo>
                <a:lnTo>
                  <a:pt x="2127647" y="3884613"/>
                </a:lnTo>
                <a:lnTo>
                  <a:pt x="2085975" y="3883025"/>
                </a:lnTo>
                <a:lnTo>
                  <a:pt x="2043906" y="3880247"/>
                </a:lnTo>
                <a:lnTo>
                  <a:pt x="2002234" y="3877072"/>
                </a:lnTo>
                <a:lnTo>
                  <a:pt x="1960960" y="3873103"/>
                </a:lnTo>
                <a:lnTo>
                  <a:pt x="1919685" y="3867944"/>
                </a:lnTo>
                <a:lnTo>
                  <a:pt x="1878410" y="3862388"/>
                </a:lnTo>
                <a:lnTo>
                  <a:pt x="1837531" y="3856435"/>
                </a:lnTo>
                <a:lnTo>
                  <a:pt x="1797050" y="3849291"/>
                </a:lnTo>
                <a:lnTo>
                  <a:pt x="1756569" y="3841750"/>
                </a:lnTo>
                <a:lnTo>
                  <a:pt x="1716881" y="3833813"/>
                </a:lnTo>
                <a:lnTo>
                  <a:pt x="1677194" y="3824685"/>
                </a:lnTo>
                <a:lnTo>
                  <a:pt x="1637506" y="3815160"/>
                </a:lnTo>
                <a:lnTo>
                  <a:pt x="1598216" y="3804444"/>
                </a:lnTo>
                <a:lnTo>
                  <a:pt x="1558925" y="3794125"/>
                </a:lnTo>
                <a:lnTo>
                  <a:pt x="1520031" y="3782616"/>
                </a:lnTo>
                <a:lnTo>
                  <a:pt x="1481931" y="3769916"/>
                </a:lnTo>
                <a:lnTo>
                  <a:pt x="1443435" y="3757216"/>
                </a:lnTo>
                <a:lnTo>
                  <a:pt x="1405731" y="3743722"/>
                </a:lnTo>
                <a:lnTo>
                  <a:pt x="1368028" y="3729435"/>
                </a:lnTo>
                <a:lnTo>
                  <a:pt x="1330722" y="3714353"/>
                </a:lnTo>
                <a:lnTo>
                  <a:pt x="1294210" y="3699272"/>
                </a:lnTo>
                <a:lnTo>
                  <a:pt x="1257300" y="3683397"/>
                </a:lnTo>
                <a:lnTo>
                  <a:pt x="1221185" y="3666728"/>
                </a:lnTo>
                <a:lnTo>
                  <a:pt x="1184672" y="3649663"/>
                </a:lnTo>
                <a:lnTo>
                  <a:pt x="1148953" y="3631803"/>
                </a:lnTo>
                <a:lnTo>
                  <a:pt x="1114028" y="3613150"/>
                </a:lnTo>
                <a:lnTo>
                  <a:pt x="1079103" y="3594100"/>
                </a:lnTo>
                <a:lnTo>
                  <a:pt x="1044575" y="3575050"/>
                </a:lnTo>
                <a:lnTo>
                  <a:pt x="1010047" y="3554810"/>
                </a:lnTo>
                <a:lnTo>
                  <a:pt x="976313" y="3534172"/>
                </a:lnTo>
                <a:lnTo>
                  <a:pt x="943372" y="3513138"/>
                </a:lnTo>
                <a:lnTo>
                  <a:pt x="910035" y="3490913"/>
                </a:lnTo>
                <a:lnTo>
                  <a:pt x="877491" y="3468688"/>
                </a:lnTo>
                <a:lnTo>
                  <a:pt x="844947" y="3446066"/>
                </a:lnTo>
                <a:lnTo>
                  <a:pt x="813197" y="3422650"/>
                </a:lnTo>
                <a:lnTo>
                  <a:pt x="781844" y="3398838"/>
                </a:lnTo>
                <a:lnTo>
                  <a:pt x="750888" y="3374231"/>
                </a:lnTo>
                <a:lnTo>
                  <a:pt x="720328" y="3349625"/>
                </a:lnTo>
                <a:lnTo>
                  <a:pt x="690166" y="3324225"/>
                </a:lnTo>
                <a:lnTo>
                  <a:pt x="660400" y="3298031"/>
                </a:lnTo>
                <a:lnTo>
                  <a:pt x="630635" y="3271838"/>
                </a:lnTo>
                <a:lnTo>
                  <a:pt x="602060" y="3244850"/>
                </a:lnTo>
                <a:lnTo>
                  <a:pt x="573881" y="3217466"/>
                </a:lnTo>
                <a:lnTo>
                  <a:pt x="545703" y="3189685"/>
                </a:lnTo>
                <a:lnTo>
                  <a:pt x="518319" y="3161506"/>
                </a:lnTo>
                <a:lnTo>
                  <a:pt x="491331" y="3132931"/>
                </a:lnTo>
                <a:lnTo>
                  <a:pt x="464741" y="3103563"/>
                </a:lnTo>
                <a:lnTo>
                  <a:pt x="438944" y="3074194"/>
                </a:lnTo>
                <a:lnTo>
                  <a:pt x="413147" y="3043635"/>
                </a:lnTo>
                <a:lnTo>
                  <a:pt x="388144" y="3013472"/>
                </a:lnTo>
                <a:lnTo>
                  <a:pt x="363538" y="2982516"/>
                </a:lnTo>
                <a:lnTo>
                  <a:pt x="339725" y="2951163"/>
                </a:lnTo>
                <a:lnTo>
                  <a:pt x="315913" y="2919413"/>
                </a:lnTo>
                <a:lnTo>
                  <a:pt x="292894" y="2887266"/>
                </a:lnTo>
                <a:lnTo>
                  <a:pt x="270669" y="2854325"/>
                </a:lnTo>
                <a:lnTo>
                  <a:pt x="248841" y="2821781"/>
                </a:lnTo>
                <a:lnTo>
                  <a:pt x="227410" y="2788444"/>
                </a:lnTo>
                <a:lnTo>
                  <a:pt x="206375" y="2754710"/>
                </a:lnTo>
                <a:lnTo>
                  <a:pt x="186135" y="2720578"/>
                </a:lnTo>
                <a:lnTo>
                  <a:pt x="166688" y="2685653"/>
                </a:lnTo>
                <a:lnTo>
                  <a:pt x="147638" y="2651125"/>
                </a:lnTo>
                <a:lnTo>
                  <a:pt x="128985" y="2615803"/>
                </a:lnTo>
                <a:lnTo>
                  <a:pt x="114697" y="2589213"/>
                </a:lnTo>
                <a:lnTo>
                  <a:pt x="101600" y="2561828"/>
                </a:lnTo>
                <a:lnTo>
                  <a:pt x="89694" y="2534841"/>
                </a:lnTo>
                <a:lnTo>
                  <a:pt x="78185" y="2507060"/>
                </a:lnTo>
                <a:lnTo>
                  <a:pt x="67072" y="2479278"/>
                </a:lnTo>
                <a:lnTo>
                  <a:pt x="57547" y="2451100"/>
                </a:lnTo>
                <a:lnTo>
                  <a:pt x="47625" y="2422922"/>
                </a:lnTo>
                <a:lnTo>
                  <a:pt x="39688" y="2394347"/>
                </a:lnTo>
                <a:lnTo>
                  <a:pt x="32147" y="2365375"/>
                </a:lnTo>
                <a:lnTo>
                  <a:pt x="25797" y="2336800"/>
                </a:lnTo>
                <a:lnTo>
                  <a:pt x="19447" y="2308225"/>
                </a:lnTo>
                <a:lnTo>
                  <a:pt x="14685" y="2278856"/>
                </a:lnTo>
                <a:lnTo>
                  <a:pt x="9922" y="2250281"/>
                </a:lnTo>
                <a:lnTo>
                  <a:pt x="6350" y="2220913"/>
                </a:lnTo>
                <a:lnTo>
                  <a:pt x="3572" y="2191941"/>
                </a:lnTo>
                <a:lnTo>
                  <a:pt x="1588" y="2162175"/>
                </a:lnTo>
                <a:lnTo>
                  <a:pt x="397" y="2132806"/>
                </a:lnTo>
                <a:lnTo>
                  <a:pt x="0" y="2103835"/>
                </a:lnTo>
                <a:lnTo>
                  <a:pt x="0" y="2074466"/>
                </a:lnTo>
                <a:lnTo>
                  <a:pt x="1588" y="2044700"/>
                </a:lnTo>
                <a:lnTo>
                  <a:pt x="3175" y="2015728"/>
                </a:lnTo>
                <a:lnTo>
                  <a:pt x="5556" y="1986360"/>
                </a:lnTo>
                <a:lnTo>
                  <a:pt x="9128" y="1957388"/>
                </a:lnTo>
                <a:lnTo>
                  <a:pt x="13097" y="1928019"/>
                </a:lnTo>
                <a:lnTo>
                  <a:pt x="18256" y="1898650"/>
                </a:lnTo>
                <a:lnTo>
                  <a:pt x="23813" y="1870075"/>
                </a:lnTo>
                <a:lnTo>
                  <a:pt x="29766" y="1841500"/>
                </a:lnTo>
                <a:lnTo>
                  <a:pt x="36910" y="1812528"/>
                </a:lnTo>
                <a:lnTo>
                  <a:pt x="44847" y="1783953"/>
                </a:lnTo>
                <a:lnTo>
                  <a:pt x="53181" y="1755775"/>
                </a:lnTo>
                <a:lnTo>
                  <a:pt x="62310" y="1727597"/>
                </a:lnTo>
                <a:lnTo>
                  <a:pt x="72628" y="1699419"/>
                </a:lnTo>
                <a:lnTo>
                  <a:pt x="83741" y="1671638"/>
                </a:lnTo>
                <a:lnTo>
                  <a:pt x="94456" y="1644650"/>
                </a:lnTo>
                <a:lnTo>
                  <a:pt x="106760" y="1617266"/>
                </a:lnTo>
                <a:lnTo>
                  <a:pt x="119856" y="1590278"/>
                </a:lnTo>
                <a:lnTo>
                  <a:pt x="133350" y="1563291"/>
                </a:lnTo>
                <a:lnTo>
                  <a:pt x="148035" y="1537097"/>
                </a:lnTo>
                <a:lnTo>
                  <a:pt x="162719" y="1510903"/>
                </a:lnTo>
                <a:lnTo>
                  <a:pt x="178594" y="1485503"/>
                </a:lnTo>
                <a:lnTo>
                  <a:pt x="194866" y="1460103"/>
                </a:lnTo>
                <a:lnTo>
                  <a:pt x="211931" y="1435100"/>
                </a:lnTo>
                <a:lnTo>
                  <a:pt x="230188" y="1410494"/>
                </a:lnTo>
                <a:lnTo>
                  <a:pt x="248047" y="1386285"/>
                </a:lnTo>
                <a:lnTo>
                  <a:pt x="267891" y="1362472"/>
                </a:lnTo>
                <a:lnTo>
                  <a:pt x="287338" y="1339056"/>
                </a:lnTo>
                <a:lnTo>
                  <a:pt x="307975" y="1316038"/>
                </a:lnTo>
                <a:lnTo>
                  <a:pt x="329010" y="1293416"/>
                </a:lnTo>
                <a:lnTo>
                  <a:pt x="351235" y="1271588"/>
                </a:lnTo>
                <a:lnTo>
                  <a:pt x="373856" y="1249760"/>
                </a:lnTo>
                <a:lnTo>
                  <a:pt x="397272" y="1229122"/>
                </a:lnTo>
                <a:lnTo>
                  <a:pt x="421481" y="1208485"/>
                </a:lnTo>
                <a:lnTo>
                  <a:pt x="445294" y="1188641"/>
                </a:lnTo>
                <a:lnTo>
                  <a:pt x="471091" y="1169194"/>
                </a:lnTo>
                <a:lnTo>
                  <a:pt x="496888" y="1150541"/>
                </a:lnTo>
                <a:lnTo>
                  <a:pt x="523478" y="1132285"/>
                </a:lnTo>
                <a:lnTo>
                  <a:pt x="550466" y="1114822"/>
                </a:lnTo>
                <a:lnTo>
                  <a:pt x="578644" y="1097756"/>
                </a:lnTo>
                <a:lnTo>
                  <a:pt x="606822" y="1081088"/>
                </a:lnTo>
                <a:lnTo>
                  <a:pt x="636191" y="1065610"/>
                </a:lnTo>
                <a:lnTo>
                  <a:pt x="666353" y="1050528"/>
                </a:lnTo>
                <a:lnTo>
                  <a:pt x="696516" y="1036241"/>
                </a:lnTo>
                <a:lnTo>
                  <a:pt x="727869" y="1022747"/>
                </a:lnTo>
                <a:lnTo>
                  <a:pt x="759619" y="1009650"/>
                </a:lnTo>
                <a:lnTo>
                  <a:pt x="3618310" y="26591"/>
                </a:lnTo>
                <a:lnTo>
                  <a:pt x="3633390" y="22225"/>
                </a:lnTo>
                <a:lnTo>
                  <a:pt x="3648472" y="17463"/>
                </a:lnTo>
                <a:lnTo>
                  <a:pt x="3663553" y="13494"/>
                </a:lnTo>
                <a:lnTo>
                  <a:pt x="3678634" y="10716"/>
                </a:lnTo>
                <a:lnTo>
                  <a:pt x="3693319" y="7541"/>
                </a:lnTo>
                <a:lnTo>
                  <a:pt x="3708003" y="5159"/>
                </a:lnTo>
                <a:lnTo>
                  <a:pt x="3722290" y="3175"/>
                </a:lnTo>
                <a:lnTo>
                  <a:pt x="3736578" y="1588"/>
                </a:lnTo>
                <a:lnTo>
                  <a:pt x="3750866" y="397"/>
                </a:lnTo>
                <a:close/>
              </a:path>
            </a:pathLst>
          </a:custGeom>
          <a:solidFill>
            <a:schemeClr val="bg1">
              <a:lumMod val="85000"/>
            </a:schemeClr>
          </a:solidFill>
        </p:spPr>
        <p:txBody>
          <a:bodyPr wrap="square" anchor="ctr">
            <a:noAutofit/>
          </a:bodyPr>
          <a:lstStyle>
            <a:lvl1pPr marL="0" indent="0" algn="ctr">
              <a:buNone/>
              <a:defRPr/>
            </a:lvl1pPr>
          </a:lstStyle>
          <a:p>
            <a:r>
              <a:rPr lang="en-GB"/>
              <a:t>Insert your photo</a:t>
            </a:r>
          </a:p>
        </p:txBody>
      </p:sp>
    </p:spTree>
    <p:extLst>
      <p:ext uri="{BB962C8B-B14F-4D97-AF65-F5344CB8AC3E}">
        <p14:creationId xmlns:p14="http://schemas.microsoft.com/office/powerpoint/2010/main" val="277606311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hape 2">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3987186"/>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292608" y="779416"/>
            <a:ext cx="11228613" cy="420734"/>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8" name="Marcador de posición de imagen 28"/>
          <p:cNvSpPr>
            <a:spLocks noGrp="1"/>
          </p:cNvSpPr>
          <p:nvPr>
            <p:ph type="pic" sz="quarter" idx="16" hasCustomPrompt="1"/>
          </p:nvPr>
        </p:nvSpPr>
        <p:spPr>
          <a:xfrm>
            <a:off x="6632254" y="1903298"/>
            <a:ext cx="4479647" cy="3982295"/>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85000"/>
            </a:schemeClr>
          </a:solidFill>
        </p:spPr>
        <p:txBody>
          <a:bodyPr wrap="square" anchor="ctr">
            <a:noAutofit/>
          </a:bodyPr>
          <a:lstStyle>
            <a:lvl1pPr marL="0" indent="0" algn="ctr">
              <a:buNone/>
              <a:defRPr/>
            </a:lvl1pPr>
          </a:lstStyle>
          <a:p>
            <a:r>
              <a:rPr lang="en-GB" noProof="0"/>
              <a:t>     </a:t>
            </a:r>
            <a:br>
              <a:rPr lang="en-GB" noProof="0"/>
            </a:br>
            <a:br>
              <a:rPr lang="en-GB" noProof="0"/>
            </a:br>
            <a:r>
              <a:rPr lang="en-GB" noProof="0"/>
              <a:t> Insert your picture here</a:t>
            </a:r>
          </a:p>
        </p:txBody>
      </p:sp>
    </p:spTree>
    <p:extLst>
      <p:ext uri="{BB962C8B-B14F-4D97-AF65-F5344CB8AC3E}">
        <p14:creationId xmlns:p14="http://schemas.microsoft.com/office/powerpoint/2010/main" val="22272045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hape 3">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292608" y="779416"/>
            <a:ext cx="11228613" cy="404633"/>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2" name="Picture Placeholder 11"/>
          <p:cNvSpPr>
            <a:spLocks noGrp="1"/>
          </p:cNvSpPr>
          <p:nvPr>
            <p:ph type="pic" sz="quarter" idx="19" hasCustomPrompt="1"/>
          </p:nvPr>
        </p:nvSpPr>
        <p:spPr>
          <a:xfrm>
            <a:off x="6722269" y="1939925"/>
            <a:ext cx="4443412" cy="3992562"/>
          </a:xfrm>
          <a:custGeom>
            <a:avLst/>
            <a:gdLst>
              <a:gd name="connsiteX0" fmla="*/ 3649988 w 4443412"/>
              <a:gd name="connsiteY0" fmla="*/ 0 h 3992562"/>
              <a:gd name="connsiteX1" fmla="*/ 3667849 w 4443412"/>
              <a:gd name="connsiteY1" fmla="*/ 0 h 3992562"/>
              <a:gd name="connsiteX2" fmla="*/ 3685710 w 4443412"/>
              <a:gd name="connsiteY2" fmla="*/ 397 h 3992562"/>
              <a:gd name="connsiteX3" fmla="*/ 3703174 w 4443412"/>
              <a:gd name="connsiteY3" fmla="*/ 1588 h 3992562"/>
              <a:gd name="connsiteX4" fmla="*/ 3720638 w 4443412"/>
              <a:gd name="connsiteY4" fmla="*/ 2381 h 3992562"/>
              <a:gd name="connsiteX5" fmla="*/ 3737705 w 4443412"/>
              <a:gd name="connsiteY5" fmla="*/ 4366 h 3992562"/>
              <a:gd name="connsiteX6" fmla="*/ 3755169 w 4443412"/>
              <a:gd name="connsiteY6" fmla="*/ 7144 h 3992562"/>
              <a:gd name="connsiteX7" fmla="*/ 3771839 w 4443412"/>
              <a:gd name="connsiteY7" fmla="*/ 9525 h 3992562"/>
              <a:gd name="connsiteX8" fmla="*/ 3788510 w 4443412"/>
              <a:gd name="connsiteY8" fmla="*/ 12303 h 3992562"/>
              <a:gd name="connsiteX9" fmla="*/ 3805180 w 4443412"/>
              <a:gd name="connsiteY9" fmla="*/ 16669 h 3992562"/>
              <a:gd name="connsiteX10" fmla="*/ 3821057 w 4443412"/>
              <a:gd name="connsiteY10" fmla="*/ 20638 h 3992562"/>
              <a:gd name="connsiteX11" fmla="*/ 3836933 w 4443412"/>
              <a:gd name="connsiteY11" fmla="*/ 25003 h 3992562"/>
              <a:gd name="connsiteX12" fmla="*/ 3853206 w 4443412"/>
              <a:gd name="connsiteY12" fmla="*/ 29369 h 3992562"/>
              <a:gd name="connsiteX13" fmla="*/ 3869083 w 4443412"/>
              <a:gd name="connsiteY13" fmla="*/ 34925 h 3992562"/>
              <a:gd name="connsiteX14" fmla="*/ 3884165 w 4443412"/>
              <a:gd name="connsiteY14" fmla="*/ 40481 h 3992562"/>
              <a:gd name="connsiteX15" fmla="*/ 3899645 w 4443412"/>
              <a:gd name="connsiteY15" fmla="*/ 46434 h 3992562"/>
              <a:gd name="connsiteX16" fmla="*/ 3914331 w 4443412"/>
              <a:gd name="connsiteY16" fmla="*/ 52784 h 3992562"/>
              <a:gd name="connsiteX17" fmla="*/ 3929016 w 4443412"/>
              <a:gd name="connsiteY17" fmla="*/ 59928 h 3992562"/>
              <a:gd name="connsiteX18" fmla="*/ 3943305 w 4443412"/>
              <a:gd name="connsiteY18" fmla="*/ 67072 h 3992562"/>
              <a:gd name="connsiteX19" fmla="*/ 3957991 w 4443412"/>
              <a:gd name="connsiteY19" fmla="*/ 74613 h 3992562"/>
              <a:gd name="connsiteX20" fmla="*/ 3971883 w 4443412"/>
              <a:gd name="connsiteY20" fmla="*/ 82550 h 3992562"/>
              <a:gd name="connsiteX21" fmla="*/ 3985774 w 4443412"/>
              <a:gd name="connsiteY21" fmla="*/ 90885 h 3992562"/>
              <a:gd name="connsiteX22" fmla="*/ 3999269 w 4443412"/>
              <a:gd name="connsiteY22" fmla="*/ 100013 h 3992562"/>
              <a:gd name="connsiteX23" fmla="*/ 4012764 w 4443412"/>
              <a:gd name="connsiteY23" fmla="*/ 108744 h 3992562"/>
              <a:gd name="connsiteX24" fmla="*/ 4025862 w 4443412"/>
              <a:gd name="connsiteY24" fmla="*/ 118269 h 3992562"/>
              <a:gd name="connsiteX25" fmla="*/ 4038167 w 4443412"/>
              <a:gd name="connsiteY25" fmla="*/ 127794 h 3992562"/>
              <a:gd name="connsiteX26" fmla="*/ 4050867 w 4443412"/>
              <a:gd name="connsiteY26" fmla="*/ 137716 h 3992562"/>
              <a:gd name="connsiteX27" fmla="*/ 4063172 w 4443412"/>
              <a:gd name="connsiteY27" fmla="*/ 148431 h 3992562"/>
              <a:gd name="connsiteX28" fmla="*/ 4075476 w 4443412"/>
              <a:gd name="connsiteY28" fmla="*/ 159147 h 3992562"/>
              <a:gd name="connsiteX29" fmla="*/ 4087383 w 4443412"/>
              <a:gd name="connsiteY29" fmla="*/ 170259 h 3992562"/>
              <a:gd name="connsiteX30" fmla="*/ 4098894 w 4443412"/>
              <a:gd name="connsiteY30" fmla="*/ 181769 h 3992562"/>
              <a:gd name="connsiteX31" fmla="*/ 4109610 w 4443412"/>
              <a:gd name="connsiteY31" fmla="*/ 193278 h 3992562"/>
              <a:gd name="connsiteX32" fmla="*/ 4120724 w 4443412"/>
              <a:gd name="connsiteY32" fmla="*/ 205184 h 3992562"/>
              <a:gd name="connsiteX33" fmla="*/ 4131043 w 4443412"/>
              <a:gd name="connsiteY33" fmla="*/ 217884 h 3992562"/>
              <a:gd name="connsiteX34" fmla="*/ 4141760 w 4443412"/>
              <a:gd name="connsiteY34" fmla="*/ 230188 h 3992562"/>
              <a:gd name="connsiteX35" fmla="*/ 4151683 w 4443412"/>
              <a:gd name="connsiteY35" fmla="*/ 243284 h 3992562"/>
              <a:gd name="connsiteX36" fmla="*/ 4161605 w 4443412"/>
              <a:gd name="connsiteY36" fmla="*/ 256381 h 3992562"/>
              <a:gd name="connsiteX37" fmla="*/ 4171131 w 4443412"/>
              <a:gd name="connsiteY37" fmla="*/ 269875 h 3992562"/>
              <a:gd name="connsiteX38" fmla="*/ 4180261 w 4443412"/>
              <a:gd name="connsiteY38" fmla="*/ 283766 h 3992562"/>
              <a:gd name="connsiteX39" fmla="*/ 4188993 w 4443412"/>
              <a:gd name="connsiteY39" fmla="*/ 297656 h 3992562"/>
              <a:gd name="connsiteX40" fmla="*/ 4197725 w 4443412"/>
              <a:gd name="connsiteY40" fmla="*/ 312341 h 3992562"/>
              <a:gd name="connsiteX41" fmla="*/ 4206059 w 4443412"/>
              <a:gd name="connsiteY41" fmla="*/ 326628 h 3992562"/>
              <a:gd name="connsiteX42" fmla="*/ 4213998 w 4443412"/>
              <a:gd name="connsiteY42" fmla="*/ 341313 h 3992562"/>
              <a:gd name="connsiteX43" fmla="*/ 4221539 w 4443412"/>
              <a:gd name="connsiteY43" fmla="*/ 355997 h 3992562"/>
              <a:gd name="connsiteX44" fmla="*/ 4229081 w 4443412"/>
              <a:gd name="connsiteY44" fmla="*/ 371475 h 3992562"/>
              <a:gd name="connsiteX45" fmla="*/ 4236225 w 4443412"/>
              <a:gd name="connsiteY45" fmla="*/ 386953 h 3992562"/>
              <a:gd name="connsiteX46" fmla="*/ 4242575 w 4443412"/>
              <a:gd name="connsiteY46" fmla="*/ 403225 h 3992562"/>
              <a:gd name="connsiteX47" fmla="*/ 4248926 w 4443412"/>
              <a:gd name="connsiteY47" fmla="*/ 419100 h 3992562"/>
              <a:gd name="connsiteX48" fmla="*/ 4254879 w 4443412"/>
              <a:gd name="connsiteY48" fmla="*/ 434975 h 3992562"/>
              <a:gd name="connsiteX49" fmla="*/ 4260437 w 4443412"/>
              <a:gd name="connsiteY49" fmla="*/ 451644 h 3992562"/>
              <a:gd name="connsiteX50" fmla="*/ 4265993 w 4443412"/>
              <a:gd name="connsiteY50" fmla="*/ 468709 h 3992562"/>
              <a:gd name="connsiteX51" fmla="*/ 4271153 w 4443412"/>
              <a:gd name="connsiteY51" fmla="*/ 484981 h 3992562"/>
              <a:gd name="connsiteX52" fmla="*/ 4275916 w 4443412"/>
              <a:gd name="connsiteY52" fmla="*/ 502444 h 3992562"/>
              <a:gd name="connsiteX53" fmla="*/ 4279885 w 4443412"/>
              <a:gd name="connsiteY53" fmla="*/ 519509 h 3992562"/>
              <a:gd name="connsiteX54" fmla="*/ 4283854 w 4443412"/>
              <a:gd name="connsiteY54" fmla="*/ 536972 h 3992562"/>
              <a:gd name="connsiteX55" fmla="*/ 4287823 w 4443412"/>
              <a:gd name="connsiteY55" fmla="*/ 554434 h 3992562"/>
              <a:gd name="connsiteX56" fmla="*/ 4290999 w 4443412"/>
              <a:gd name="connsiteY56" fmla="*/ 572294 h 3992562"/>
              <a:gd name="connsiteX57" fmla="*/ 4294173 w 4443412"/>
              <a:gd name="connsiteY57" fmla="*/ 590550 h 3992562"/>
              <a:gd name="connsiteX58" fmla="*/ 4296555 w 4443412"/>
              <a:gd name="connsiteY58" fmla="*/ 608806 h 3992562"/>
              <a:gd name="connsiteX59" fmla="*/ 4298539 w 4443412"/>
              <a:gd name="connsiteY59" fmla="*/ 627063 h 3992562"/>
              <a:gd name="connsiteX60" fmla="*/ 4300525 w 4443412"/>
              <a:gd name="connsiteY60" fmla="*/ 645319 h 3992562"/>
              <a:gd name="connsiteX61" fmla="*/ 4439840 w 4443412"/>
              <a:gd name="connsiteY61" fmla="*/ 2872581 h 3992562"/>
              <a:gd name="connsiteX62" fmla="*/ 4441825 w 4443412"/>
              <a:gd name="connsiteY62" fmla="*/ 2916634 h 3992562"/>
              <a:gd name="connsiteX63" fmla="*/ 4442618 w 4443412"/>
              <a:gd name="connsiteY63" fmla="*/ 2959100 h 3992562"/>
              <a:gd name="connsiteX64" fmla="*/ 4443412 w 4443412"/>
              <a:gd name="connsiteY64" fmla="*/ 3000375 h 3992562"/>
              <a:gd name="connsiteX65" fmla="*/ 4443412 w 4443412"/>
              <a:gd name="connsiteY65" fmla="*/ 3041650 h 3992562"/>
              <a:gd name="connsiteX66" fmla="*/ 4442618 w 4443412"/>
              <a:gd name="connsiteY66" fmla="*/ 3081337 h 3992562"/>
              <a:gd name="connsiteX67" fmla="*/ 4440633 w 4443412"/>
              <a:gd name="connsiteY67" fmla="*/ 3121025 h 3992562"/>
              <a:gd name="connsiteX68" fmla="*/ 4439443 w 4443412"/>
              <a:gd name="connsiteY68" fmla="*/ 3140472 h 3992562"/>
              <a:gd name="connsiteX69" fmla="*/ 4437855 w 4443412"/>
              <a:gd name="connsiteY69" fmla="*/ 3159918 h 3992562"/>
              <a:gd name="connsiteX70" fmla="*/ 4435871 w 4443412"/>
              <a:gd name="connsiteY70" fmla="*/ 3179365 h 3992562"/>
              <a:gd name="connsiteX71" fmla="*/ 4433489 w 4443412"/>
              <a:gd name="connsiteY71" fmla="*/ 3198812 h 3992562"/>
              <a:gd name="connsiteX72" fmla="*/ 4430711 w 4443412"/>
              <a:gd name="connsiteY72" fmla="*/ 3218259 h 3992562"/>
              <a:gd name="connsiteX73" fmla="*/ 4427933 w 4443412"/>
              <a:gd name="connsiteY73" fmla="*/ 3237309 h 3992562"/>
              <a:gd name="connsiteX74" fmla="*/ 4424757 w 4443412"/>
              <a:gd name="connsiteY74" fmla="*/ 3256756 h 3992562"/>
              <a:gd name="connsiteX75" fmla="*/ 4420788 w 4443412"/>
              <a:gd name="connsiteY75" fmla="*/ 3276203 h 3992562"/>
              <a:gd name="connsiteX76" fmla="*/ 4416819 w 4443412"/>
              <a:gd name="connsiteY76" fmla="*/ 3295253 h 3992562"/>
              <a:gd name="connsiteX77" fmla="*/ 4412453 w 4443412"/>
              <a:gd name="connsiteY77" fmla="*/ 3314700 h 3992562"/>
              <a:gd name="connsiteX78" fmla="*/ 4407293 w 4443412"/>
              <a:gd name="connsiteY78" fmla="*/ 3334147 h 3992562"/>
              <a:gd name="connsiteX79" fmla="*/ 4401737 w 4443412"/>
              <a:gd name="connsiteY79" fmla="*/ 3353593 h 3992562"/>
              <a:gd name="connsiteX80" fmla="*/ 4395783 w 4443412"/>
              <a:gd name="connsiteY80" fmla="*/ 3373040 h 3992562"/>
              <a:gd name="connsiteX81" fmla="*/ 4389432 w 4443412"/>
              <a:gd name="connsiteY81" fmla="*/ 3392487 h 3992562"/>
              <a:gd name="connsiteX82" fmla="*/ 4382288 w 4443412"/>
              <a:gd name="connsiteY82" fmla="*/ 3412331 h 3992562"/>
              <a:gd name="connsiteX83" fmla="*/ 4374747 w 4443412"/>
              <a:gd name="connsiteY83" fmla="*/ 3432175 h 3992562"/>
              <a:gd name="connsiteX84" fmla="*/ 4366809 w 4443412"/>
              <a:gd name="connsiteY84" fmla="*/ 3452018 h 3992562"/>
              <a:gd name="connsiteX85" fmla="*/ 4358473 w 4443412"/>
              <a:gd name="connsiteY85" fmla="*/ 3472259 h 3992562"/>
              <a:gd name="connsiteX86" fmla="*/ 4349344 w 4443412"/>
              <a:gd name="connsiteY86" fmla="*/ 3492500 h 3992562"/>
              <a:gd name="connsiteX87" fmla="*/ 4339819 w 4443412"/>
              <a:gd name="connsiteY87" fmla="*/ 3513137 h 3992562"/>
              <a:gd name="connsiteX88" fmla="*/ 4329499 w 4443412"/>
              <a:gd name="connsiteY88" fmla="*/ 3534172 h 3992562"/>
              <a:gd name="connsiteX89" fmla="*/ 4318385 w 4443412"/>
              <a:gd name="connsiteY89" fmla="*/ 3554809 h 3992562"/>
              <a:gd name="connsiteX90" fmla="*/ 4306875 w 4443412"/>
              <a:gd name="connsiteY90" fmla="*/ 3575447 h 3992562"/>
              <a:gd name="connsiteX91" fmla="*/ 4294967 w 4443412"/>
              <a:gd name="connsiteY91" fmla="*/ 3595290 h 3992562"/>
              <a:gd name="connsiteX92" fmla="*/ 4283060 w 4443412"/>
              <a:gd name="connsiteY92" fmla="*/ 3615531 h 3992562"/>
              <a:gd name="connsiteX93" fmla="*/ 4269962 w 4443412"/>
              <a:gd name="connsiteY93" fmla="*/ 3634978 h 3992562"/>
              <a:gd name="connsiteX94" fmla="*/ 4256864 w 4443412"/>
              <a:gd name="connsiteY94" fmla="*/ 3654028 h 3992562"/>
              <a:gd name="connsiteX95" fmla="*/ 4242972 w 4443412"/>
              <a:gd name="connsiteY95" fmla="*/ 3672284 h 3992562"/>
              <a:gd name="connsiteX96" fmla="*/ 4229081 w 4443412"/>
              <a:gd name="connsiteY96" fmla="*/ 3690937 h 3992562"/>
              <a:gd name="connsiteX97" fmla="*/ 4214791 w 4443412"/>
              <a:gd name="connsiteY97" fmla="*/ 3708797 h 3992562"/>
              <a:gd name="connsiteX98" fmla="*/ 4199709 w 4443412"/>
              <a:gd name="connsiteY98" fmla="*/ 3726259 h 3992562"/>
              <a:gd name="connsiteX99" fmla="*/ 4184627 w 4443412"/>
              <a:gd name="connsiteY99" fmla="*/ 3743325 h 3992562"/>
              <a:gd name="connsiteX100" fmla="*/ 4168750 w 4443412"/>
              <a:gd name="connsiteY100" fmla="*/ 3760390 h 3992562"/>
              <a:gd name="connsiteX101" fmla="*/ 4152873 w 4443412"/>
              <a:gd name="connsiteY101" fmla="*/ 3776265 h 3992562"/>
              <a:gd name="connsiteX102" fmla="*/ 4136203 w 4443412"/>
              <a:gd name="connsiteY102" fmla="*/ 3792140 h 3992562"/>
              <a:gd name="connsiteX103" fmla="*/ 4119136 w 4443412"/>
              <a:gd name="connsiteY103" fmla="*/ 3807222 h 3992562"/>
              <a:gd name="connsiteX104" fmla="*/ 4101672 w 4443412"/>
              <a:gd name="connsiteY104" fmla="*/ 3822303 h 3992562"/>
              <a:gd name="connsiteX105" fmla="*/ 4083811 w 4443412"/>
              <a:gd name="connsiteY105" fmla="*/ 3836193 h 3992562"/>
              <a:gd name="connsiteX106" fmla="*/ 4065950 w 4443412"/>
              <a:gd name="connsiteY106" fmla="*/ 3850084 h 3992562"/>
              <a:gd name="connsiteX107" fmla="*/ 4047295 w 4443412"/>
              <a:gd name="connsiteY107" fmla="*/ 3863181 h 3992562"/>
              <a:gd name="connsiteX108" fmla="*/ 4028244 w 4443412"/>
              <a:gd name="connsiteY108" fmla="*/ 3875484 h 3992562"/>
              <a:gd name="connsiteX109" fmla="*/ 4008795 w 4443412"/>
              <a:gd name="connsiteY109" fmla="*/ 3888184 h 3992562"/>
              <a:gd name="connsiteX110" fmla="*/ 3989347 w 4443412"/>
              <a:gd name="connsiteY110" fmla="*/ 3899693 h 3992562"/>
              <a:gd name="connsiteX111" fmla="*/ 3969501 w 4443412"/>
              <a:gd name="connsiteY111" fmla="*/ 3910012 h 3992562"/>
              <a:gd name="connsiteX112" fmla="*/ 3948862 w 4443412"/>
              <a:gd name="connsiteY112" fmla="*/ 3920728 h 3992562"/>
              <a:gd name="connsiteX113" fmla="*/ 3927825 w 4443412"/>
              <a:gd name="connsiteY113" fmla="*/ 3930253 h 3992562"/>
              <a:gd name="connsiteX114" fmla="*/ 3907186 w 4443412"/>
              <a:gd name="connsiteY114" fmla="*/ 3938984 h 3992562"/>
              <a:gd name="connsiteX115" fmla="*/ 3885356 w 4443412"/>
              <a:gd name="connsiteY115" fmla="*/ 3947715 h 3992562"/>
              <a:gd name="connsiteX116" fmla="*/ 3863526 w 4443412"/>
              <a:gd name="connsiteY116" fmla="*/ 3955256 h 3992562"/>
              <a:gd name="connsiteX117" fmla="*/ 3840902 w 4443412"/>
              <a:gd name="connsiteY117" fmla="*/ 3962400 h 3992562"/>
              <a:gd name="connsiteX118" fmla="*/ 3818675 w 4443412"/>
              <a:gd name="connsiteY118" fmla="*/ 3968750 h 3992562"/>
              <a:gd name="connsiteX119" fmla="*/ 3795654 w 4443412"/>
              <a:gd name="connsiteY119" fmla="*/ 3973909 h 3992562"/>
              <a:gd name="connsiteX120" fmla="*/ 3768664 w 4443412"/>
              <a:gd name="connsiteY120" fmla="*/ 3980259 h 3992562"/>
              <a:gd name="connsiteX121" fmla="*/ 3741277 w 4443412"/>
              <a:gd name="connsiteY121" fmla="*/ 3984625 h 3992562"/>
              <a:gd name="connsiteX122" fmla="*/ 3714287 w 4443412"/>
              <a:gd name="connsiteY122" fmla="*/ 3988197 h 3992562"/>
              <a:gd name="connsiteX123" fmla="*/ 3686901 w 4443412"/>
              <a:gd name="connsiteY123" fmla="*/ 3990578 h 3992562"/>
              <a:gd name="connsiteX124" fmla="*/ 3659117 w 4443412"/>
              <a:gd name="connsiteY124" fmla="*/ 3992165 h 3992562"/>
              <a:gd name="connsiteX125" fmla="*/ 3631730 w 4443412"/>
              <a:gd name="connsiteY125" fmla="*/ 3992562 h 3992562"/>
              <a:gd name="connsiteX126" fmla="*/ 3604343 w 4443412"/>
              <a:gd name="connsiteY126" fmla="*/ 3992562 h 3992562"/>
              <a:gd name="connsiteX127" fmla="*/ 3576560 w 4443412"/>
              <a:gd name="connsiteY127" fmla="*/ 3990975 h 3992562"/>
              <a:gd name="connsiteX128" fmla="*/ 3548379 w 4443412"/>
              <a:gd name="connsiteY128" fmla="*/ 3988990 h 3992562"/>
              <a:gd name="connsiteX129" fmla="*/ 3520595 w 4443412"/>
              <a:gd name="connsiteY129" fmla="*/ 3986609 h 3992562"/>
              <a:gd name="connsiteX130" fmla="*/ 3492415 w 4443412"/>
              <a:gd name="connsiteY130" fmla="*/ 3982640 h 3992562"/>
              <a:gd name="connsiteX131" fmla="*/ 3464631 w 4443412"/>
              <a:gd name="connsiteY131" fmla="*/ 3978672 h 3992562"/>
              <a:gd name="connsiteX132" fmla="*/ 3436053 w 4443412"/>
              <a:gd name="connsiteY132" fmla="*/ 3973115 h 3992562"/>
              <a:gd name="connsiteX133" fmla="*/ 3407476 w 4443412"/>
              <a:gd name="connsiteY133" fmla="*/ 3967559 h 3992562"/>
              <a:gd name="connsiteX134" fmla="*/ 3379295 w 4443412"/>
              <a:gd name="connsiteY134" fmla="*/ 3961209 h 3992562"/>
              <a:gd name="connsiteX135" fmla="*/ 3350321 w 4443412"/>
              <a:gd name="connsiteY135" fmla="*/ 3954065 h 3992562"/>
              <a:gd name="connsiteX136" fmla="*/ 3321346 w 4443412"/>
              <a:gd name="connsiteY136" fmla="*/ 3946128 h 3992562"/>
              <a:gd name="connsiteX137" fmla="*/ 3291975 w 4443412"/>
              <a:gd name="connsiteY137" fmla="*/ 3938190 h 3992562"/>
              <a:gd name="connsiteX138" fmla="*/ 3263001 w 4443412"/>
              <a:gd name="connsiteY138" fmla="*/ 3929062 h 3992562"/>
              <a:gd name="connsiteX139" fmla="*/ 3233232 w 4443412"/>
              <a:gd name="connsiteY139" fmla="*/ 3919537 h 3992562"/>
              <a:gd name="connsiteX140" fmla="*/ 3203464 w 4443412"/>
              <a:gd name="connsiteY140" fmla="*/ 3910012 h 3992562"/>
              <a:gd name="connsiteX141" fmla="*/ 3173299 w 4443412"/>
              <a:gd name="connsiteY141" fmla="*/ 3899693 h 3992562"/>
              <a:gd name="connsiteX142" fmla="*/ 3112571 w 4443412"/>
              <a:gd name="connsiteY142" fmla="*/ 3878262 h 3992562"/>
              <a:gd name="connsiteX143" fmla="*/ 3051050 w 4443412"/>
              <a:gd name="connsiteY143" fmla="*/ 3855243 h 3992562"/>
              <a:gd name="connsiteX144" fmla="*/ 2988735 w 4443412"/>
              <a:gd name="connsiteY144" fmla="*/ 3831034 h 3992562"/>
              <a:gd name="connsiteX145" fmla="*/ 2860533 w 4443412"/>
              <a:gd name="connsiteY145" fmla="*/ 3780631 h 3992562"/>
              <a:gd name="connsiteX146" fmla="*/ 818429 w 4443412"/>
              <a:gd name="connsiteY146" fmla="*/ 2887662 h 3992562"/>
              <a:gd name="connsiteX147" fmla="*/ 753733 w 4443412"/>
              <a:gd name="connsiteY147" fmla="*/ 2858294 h 3992562"/>
              <a:gd name="connsiteX148" fmla="*/ 686655 w 4443412"/>
              <a:gd name="connsiteY148" fmla="*/ 2828131 h 3992562"/>
              <a:gd name="connsiteX149" fmla="*/ 617593 w 4443412"/>
              <a:gd name="connsiteY149" fmla="*/ 2797175 h 3992562"/>
              <a:gd name="connsiteX150" fmla="*/ 582665 w 4443412"/>
              <a:gd name="connsiteY150" fmla="*/ 2781300 h 3992562"/>
              <a:gd name="connsiteX151" fmla="*/ 548133 w 4443412"/>
              <a:gd name="connsiteY151" fmla="*/ 2765425 h 3992562"/>
              <a:gd name="connsiteX152" fmla="*/ 513205 w 4443412"/>
              <a:gd name="connsiteY152" fmla="*/ 2748359 h 3992562"/>
              <a:gd name="connsiteX153" fmla="*/ 479071 w 4443412"/>
              <a:gd name="connsiteY153" fmla="*/ 2730897 h 3992562"/>
              <a:gd name="connsiteX154" fmla="*/ 444937 w 4443412"/>
              <a:gd name="connsiteY154" fmla="*/ 2712640 h 3992562"/>
              <a:gd name="connsiteX155" fmla="*/ 410803 w 4443412"/>
              <a:gd name="connsiteY155" fmla="*/ 2694384 h 3992562"/>
              <a:gd name="connsiteX156" fmla="*/ 377859 w 4443412"/>
              <a:gd name="connsiteY156" fmla="*/ 2675334 h 3992562"/>
              <a:gd name="connsiteX157" fmla="*/ 345709 w 4443412"/>
              <a:gd name="connsiteY157" fmla="*/ 2655490 h 3992562"/>
              <a:gd name="connsiteX158" fmla="*/ 313559 w 4443412"/>
              <a:gd name="connsiteY158" fmla="*/ 2634853 h 3992562"/>
              <a:gd name="connsiteX159" fmla="*/ 298080 w 4443412"/>
              <a:gd name="connsiteY159" fmla="*/ 2623740 h 3992562"/>
              <a:gd name="connsiteX160" fmla="*/ 282600 w 4443412"/>
              <a:gd name="connsiteY160" fmla="*/ 2613422 h 3992562"/>
              <a:gd name="connsiteX161" fmla="*/ 267518 w 4443412"/>
              <a:gd name="connsiteY161" fmla="*/ 2602309 h 3992562"/>
              <a:gd name="connsiteX162" fmla="*/ 252832 w 4443412"/>
              <a:gd name="connsiteY162" fmla="*/ 2590800 h 3992562"/>
              <a:gd name="connsiteX163" fmla="*/ 238146 w 4443412"/>
              <a:gd name="connsiteY163" fmla="*/ 2579290 h 3992562"/>
              <a:gd name="connsiteX164" fmla="*/ 223858 w 4443412"/>
              <a:gd name="connsiteY164" fmla="*/ 2567781 h 3992562"/>
              <a:gd name="connsiteX165" fmla="*/ 209569 w 4443412"/>
              <a:gd name="connsiteY165" fmla="*/ 2555875 h 3992562"/>
              <a:gd name="connsiteX166" fmla="*/ 196074 w 4443412"/>
              <a:gd name="connsiteY166" fmla="*/ 2543572 h 3992562"/>
              <a:gd name="connsiteX167" fmla="*/ 182579 w 4443412"/>
              <a:gd name="connsiteY167" fmla="*/ 2530872 h 3992562"/>
              <a:gd name="connsiteX168" fmla="*/ 169878 w 4443412"/>
              <a:gd name="connsiteY168" fmla="*/ 2518569 h 3992562"/>
              <a:gd name="connsiteX169" fmla="*/ 157177 w 4443412"/>
              <a:gd name="connsiteY169" fmla="*/ 2505472 h 3992562"/>
              <a:gd name="connsiteX170" fmla="*/ 144873 w 4443412"/>
              <a:gd name="connsiteY170" fmla="*/ 2491978 h 3992562"/>
              <a:gd name="connsiteX171" fmla="*/ 133362 w 4443412"/>
              <a:gd name="connsiteY171" fmla="*/ 2478484 h 3992562"/>
              <a:gd name="connsiteX172" fmla="*/ 121852 w 4443412"/>
              <a:gd name="connsiteY172" fmla="*/ 2464594 h 3992562"/>
              <a:gd name="connsiteX173" fmla="*/ 110738 w 4443412"/>
              <a:gd name="connsiteY173" fmla="*/ 2450703 h 3992562"/>
              <a:gd name="connsiteX174" fmla="*/ 100419 w 4443412"/>
              <a:gd name="connsiteY174" fmla="*/ 2436019 h 3992562"/>
              <a:gd name="connsiteX175" fmla="*/ 89702 w 4443412"/>
              <a:gd name="connsiteY175" fmla="*/ 2421731 h 3992562"/>
              <a:gd name="connsiteX176" fmla="*/ 80573 w 4443412"/>
              <a:gd name="connsiteY176" fmla="*/ 2406650 h 3992562"/>
              <a:gd name="connsiteX177" fmla="*/ 71047 w 4443412"/>
              <a:gd name="connsiteY177" fmla="*/ 2391172 h 3992562"/>
              <a:gd name="connsiteX178" fmla="*/ 62315 w 4443412"/>
              <a:gd name="connsiteY178" fmla="*/ 2375297 h 3992562"/>
              <a:gd name="connsiteX179" fmla="*/ 54377 w 4443412"/>
              <a:gd name="connsiteY179" fmla="*/ 2359025 h 3992562"/>
              <a:gd name="connsiteX180" fmla="*/ 46439 w 4443412"/>
              <a:gd name="connsiteY180" fmla="*/ 2343150 h 3992562"/>
              <a:gd name="connsiteX181" fmla="*/ 39294 w 4443412"/>
              <a:gd name="connsiteY181" fmla="*/ 2326084 h 3992562"/>
              <a:gd name="connsiteX182" fmla="*/ 32944 w 4443412"/>
              <a:gd name="connsiteY182" fmla="*/ 2309415 h 3992562"/>
              <a:gd name="connsiteX183" fmla="*/ 26990 w 4443412"/>
              <a:gd name="connsiteY183" fmla="*/ 2292350 h 3992562"/>
              <a:gd name="connsiteX184" fmla="*/ 21433 w 4443412"/>
              <a:gd name="connsiteY184" fmla="*/ 2274094 h 3992562"/>
              <a:gd name="connsiteX185" fmla="*/ 16670 w 4443412"/>
              <a:gd name="connsiteY185" fmla="*/ 2256234 h 3992562"/>
              <a:gd name="connsiteX186" fmla="*/ 11908 w 4443412"/>
              <a:gd name="connsiteY186" fmla="*/ 2237978 h 3992562"/>
              <a:gd name="connsiteX187" fmla="*/ 8335 w 4443412"/>
              <a:gd name="connsiteY187" fmla="*/ 2218928 h 3992562"/>
              <a:gd name="connsiteX188" fmla="*/ 5557 w 4443412"/>
              <a:gd name="connsiteY188" fmla="*/ 2199878 h 3992562"/>
              <a:gd name="connsiteX189" fmla="*/ 3176 w 4443412"/>
              <a:gd name="connsiteY189" fmla="*/ 2180034 h 3992562"/>
              <a:gd name="connsiteX190" fmla="*/ 1588 w 4443412"/>
              <a:gd name="connsiteY190" fmla="*/ 2159794 h 3992562"/>
              <a:gd name="connsiteX191" fmla="*/ 397 w 4443412"/>
              <a:gd name="connsiteY191" fmla="*/ 2139553 h 3992562"/>
              <a:gd name="connsiteX192" fmla="*/ 0 w 4443412"/>
              <a:gd name="connsiteY192" fmla="*/ 2118915 h 3992562"/>
              <a:gd name="connsiteX193" fmla="*/ 0 w 4443412"/>
              <a:gd name="connsiteY193" fmla="*/ 1397794 h 3992562"/>
              <a:gd name="connsiteX194" fmla="*/ 0 w 4443412"/>
              <a:gd name="connsiteY194" fmla="*/ 1352153 h 3992562"/>
              <a:gd name="connsiteX195" fmla="*/ 397 w 4443412"/>
              <a:gd name="connsiteY195" fmla="*/ 1307703 h 3992562"/>
              <a:gd name="connsiteX196" fmla="*/ 1985 w 4443412"/>
              <a:gd name="connsiteY196" fmla="*/ 1263253 h 3992562"/>
              <a:gd name="connsiteX197" fmla="*/ 3572 w 4443412"/>
              <a:gd name="connsiteY197" fmla="*/ 1219200 h 3992562"/>
              <a:gd name="connsiteX198" fmla="*/ 6351 w 4443412"/>
              <a:gd name="connsiteY198" fmla="*/ 1176338 h 3992562"/>
              <a:gd name="connsiteX199" fmla="*/ 8335 w 4443412"/>
              <a:gd name="connsiteY199" fmla="*/ 1154509 h 3992562"/>
              <a:gd name="connsiteX200" fmla="*/ 10320 w 4443412"/>
              <a:gd name="connsiteY200" fmla="*/ 1133475 h 3992562"/>
              <a:gd name="connsiteX201" fmla="*/ 13098 w 4443412"/>
              <a:gd name="connsiteY201" fmla="*/ 1112044 h 3992562"/>
              <a:gd name="connsiteX202" fmla="*/ 15877 w 4443412"/>
              <a:gd name="connsiteY202" fmla="*/ 1091009 h 3992562"/>
              <a:gd name="connsiteX203" fmla="*/ 19052 w 4443412"/>
              <a:gd name="connsiteY203" fmla="*/ 1069975 h 3992562"/>
              <a:gd name="connsiteX204" fmla="*/ 23021 w 4443412"/>
              <a:gd name="connsiteY204" fmla="*/ 1048941 h 3992562"/>
              <a:gd name="connsiteX205" fmla="*/ 26990 w 4443412"/>
              <a:gd name="connsiteY205" fmla="*/ 1027906 h 3992562"/>
              <a:gd name="connsiteX206" fmla="*/ 31356 w 4443412"/>
              <a:gd name="connsiteY206" fmla="*/ 1007666 h 3992562"/>
              <a:gd name="connsiteX207" fmla="*/ 36516 w 4443412"/>
              <a:gd name="connsiteY207" fmla="*/ 986631 h 3992562"/>
              <a:gd name="connsiteX208" fmla="*/ 42073 w 4443412"/>
              <a:gd name="connsiteY208" fmla="*/ 965994 h 3992562"/>
              <a:gd name="connsiteX209" fmla="*/ 48026 w 4443412"/>
              <a:gd name="connsiteY209" fmla="*/ 945753 h 3992562"/>
              <a:gd name="connsiteX210" fmla="*/ 54377 w 4443412"/>
              <a:gd name="connsiteY210" fmla="*/ 925513 h 3992562"/>
              <a:gd name="connsiteX211" fmla="*/ 61918 w 4443412"/>
              <a:gd name="connsiteY211" fmla="*/ 905272 h 3992562"/>
              <a:gd name="connsiteX212" fmla="*/ 69856 w 4443412"/>
              <a:gd name="connsiteY212" fmla="*/ 885031 h 3992562"/>
              <a:gd name="connsiteX213" fmla="*/ 77795 w 4443412"/>
              <a:gd name="connsiteY213" fmla="*/ 865188 h 3992562"/>
              <a:gd name="connsiteX214" fmla="*/ 87321 w 4443412"/>
              <a:gd name="connsiteY214" fmla="*/ 845344 h 3992562"/>
              <a:gd name="connsiteX215" fmla="*/ 96846 w 4443412"/>
              <a:gd name="connsiteY215" fmla="*/ 825500 h 3992562"/>
              <a:gd name="connsiteX216" fmla="*/ 107166 w 4443412"/>
              <a:gd name="connsiteY216" fmla="*/ 805656 h 3992562"/>
              <a:gd name="connsiteX217" fmla="*/ 118676 w 4443412"/>
              <a:gd name="connsiteY217" fmla="*/ 786209 h 3992562"/>
              <a:gd name="connsiteX218" fmla="*/ 130981 w 4443412"/>
              <a:gd name="connsiteY218" fmla="*/ 766763 h 3992562"/>
              <a:gd name="connsiteX219" fmla="*/ 143285 w 4443412"/>
              <a:gd name="connsiteY219" fmla="*/ 747713 h 3992562"/>
              <a:gd name="connsiteX220" fmla="*/ 156780 w 4443412"/>
              <a:gd name="connsiteY220" fmla="*/ 728266 h 3992562"/>
              <a:gd name="connsiteX221" fmla="*/ 166703 w 4443412"/>
              <a:gd name="connsiteY221" fmla="*/ 715169 h 3992562"/>
              <a:gd name="connsiteX222" fmla="*/ 176625 w 4443412"/>
              <a:gd name="connsiteY222" fmla="*/ 702469 h 3992562"/>
              <a:gd name="connsiteX223" fmla="*/ 187342 w 4443412"/>
              <a:gd name="connsiteY223" fmla="*/ 689769 h 3992562"/>
              <a:gd name="connsiteX224" fmla="*/ 197265 w 4443412"/>
              <a:gd name="connsiteY224" fmla="*/ 677863 h 3992562"/>
              <a:gd name="connsiteX225" fmla="*/ 208378 w 4443412"/>
              <a:gd name="connsiteY225" fmla="*/ 666353 h 3992562"/>
              <a:gd name="connsiteX226" fmla="*/ 219095 w 4443412"/>
              <a:gd name="connsiteY226" fmla="*/ 654844 h 3992562"/>
              <a:gd name="connsiteX227" fmla="*/ 230208 w 4443412"/>
              <a:gd name="connsiteY227" fmla="*/ 643731 h 3992562"/>
              <a:gd name="connsiteX228" fmla="*/ 241322 w 4443412"/>
              <a:gd name="connsiteY228" fmla="*/ 633016 h 3992562"/>
              <a:gd name="connsiteX229" fmla="*/ 252832 w 4443412"/>
              <a:gd name="connsiteY229" fmla="*/ 622697 h 3992562"/>
              <a:gd name="connsiteX230" fmla="*/ 264343 w 4443412"/>
              <a:gd name="connsiteY230" fmla="*/ 612378 h 3992562"/>
              <a:gd name="connsiteX231" fmla="*/ 276250 w 4443412"/>
              <a:gd name="connsiteY231" fmla="*/ 602853 h 3992562"/>
              <a:gd name="connsiteX232" fmla="*/ 288157 w 4443412"/>
              <a:gd name="connsiteY232" fmla="*/ 593328 h 3992562"/>
              <a:gd name="connsiteX233" fmla="*/ 300065 w 4443412"/>
              <a:gd name="connsiteY233" fmla="*/ 583803 h 3992562"/>
              <a:gd name="connsiteX234" fmla="*/ 312766 w 4443412"/>
              <a:gd name="connsiteY234" fmla="*/ 575072 h 3992562"/>
              <a:gd name="connsiteX235" fmla="*/ 325070 w 4443412"/>
              <a:gd name="connsiteY235" fmla="*/ 566341 h 3992562"/>
              <a:gd name="connsiteX236" fmla="*/ 337374 w 4443412"/>
              <a:gd name="connsiteY236" fmla="*/ 558006 h 3992562"/>
              <a:gd name="connsiteX237" fmla="*/ 350472 w 4443412"/>
              <a:gd name="connsiteY237" fmla="*/ 550069 h 3992562"/>
              <a:gd name="connsiteX238" fmla="*/ 363570 w 4443412"/>
              <a:gd name="connsiteY238" fmla="*/ 542131 h 3992562"/>
              <a:gd name="connsiteX239" fmla="*/ 390163 w 4443412"/>
              <a:gd name="connsiteY239" fmla="*/ 527050 h 3992562"/>
              <a:gd name="connsiteX240" fmla="*/ 417153 w 4443412"/>
              <a:gd name="connsiteY240" fmla="*/ 513159 h 3992562"/>
              <a:gd name="connsiteX241" fmla="*/ 444540 w 4443412"/>
              <a:gd name="connsiteY241" fmla="*/ 499666 h 3992562"/>
              <a:gd name="connsiteX242" fmla="*/ 472324 w 4443412"/>
              <a:gd name="connsiteY242" fmla="*/ 487363 h 3992562"/>
              <a:gd name="connsiteX243" fmla="*/ 500504 w 4443412"/>
              <a:gd name="connsiteY243" fmla="*/ 475853 h 3992562"/>
              <a:gd name="connsiteX244" fmla="*/ 529479 w 4443412"/>
              <a:gd name="connsiteY244" fmla="*/ 465534 h 3992562"/>
              <a:gd name="connsiteX245" fmla="*/ 558850 w 4443412"/>
              <a:gd name="connsiteY245" fmla="*/ 455613 h 3992562"/>
              <a:gd name="connsiteX246" fmla="*/ 588221 w 4443412"/>
              <a:gd name="connsiteY246" fmla="*/ 446088 h 3992562"/>
              <a:gd name="connsiteX247" fmla="*/ 618387 w 4443412"/>
              <a:gd name="connsiteY247" fmla="*/ 437753 h 3992562"/>
              <a:gd name="connsiteX248" fmla="*/ 648155 w 4443412"/>
              <a:gd name="connsiteY248" fmla="*/ 429022 h 3992562"/>
              <a:gd name="connsiteX249" fmla="*/ 678717 w 4443412"/>
              <a:gd name="connsiteY249" fmla="*/ 421481 h 3992562"/>
              <a:gd name="connsiteX250" fmla="*/ 709279 w 4443412"/>
              <a:gd name="connsiteY250" fmla="*/ 414734 h 3992562"/>
              <a:gd name="connsiteX251" fmla="*/ 740238 w 4443412"/>
              <a:gd name="connsiteY251" fmla="*/ 407988 h 3992562"/>
              <a:gd name="connsiteX252" fmla="*/ 771197 w 4443412"/>
              <a:gd name="connsiteY252" fmla="*/ 401638 h 3992562"/>
              <a:gd name="connsiteX253" fmla="*/ 802156 w 4443412"/>
              <a:gd name="connsiteY253" fmla="*/ 395684 h 3992562"/>
              <a:gd name="connsiteX254" fmla="*/ 864471 w 4443412"/>
              <a:gd name="connsiteY254" fmla="*/ 384572 h 3992562"/>
              <a:gd name="connsiteX255" fmla="*/ 926786 w 4443412"/>
              <a:gd name="connsiteY255" fmla="*/ 374650 h 3992562"/>
              <a:gd name="connsiteX256" fmla="*/ 1050622 w 4443412"/>
              <a:gd name="connsiteY256" fmla="*/ 354806 h 3992562"/>
              <a:gd name="connsiteX257" fmla="*/ 3575766 w 4443412"/>
              <a:gd name="connsiteY257" fmla="*/ 5160 h 3992562"/>
              <a:gd name="connsiteX258" fmla="*/ 3594817 w 4443412"/>
              <a:gd name="connsiteY258" fmla="*/ 3175 h 3992562"/>
              <a:gd name="connsiteX259" fmla="*/ 3613472 w 4443412"/>
              <a:gd name="connsiteY259" fmla="*/ 1588 h 3992562"/>
              <a:gd name="connsiteX260" fmla="*/ 3631333 w 4443412"/>
              <a:gd name="connsiteY260" fmla="*/ 397 h 3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4443412" h="3992562">
                <a:moveTo>
                  <a:pt x="3649988" y="0"/>
                </a:moveTo>
                <a:lnTo>
                  <a:pt x="3667849" y="0"/>
                </a:lnTo>
                <a:lnTo>
                  <a:pt x="3685710" y="397"/>
                </a:lnTo>
                <a:lnTo>
                  <a:pt x="3703174" y="1588"/>
                </a:lnTo>
                <a:lnTo>
                  <a:pt x="3720638" y="2381"/>
                </a:lnTo>
                <a:lnTo>
                  <a:pt x="3737705" y="4366"/>
                </a:lnTo>
                <a:lnTo>
                  <a:pt x="3755169" y="7144"/>
                </a:lnTo>
                <a:lnTo>
                  <a:pt x="3771839" y="9525"/>
                </a:lnTo>
                <a:lnTo>
                  <a:pt x="3788510" y="12303"/>
                </a:lnTo>
                <a:lnTo>
                  <a:pt x="3805180" y="16669"/>
                </a:lnTo>
                <a:lnTo>
                  <a:pt x="3821057" y="20638"/>
                </a:lnTo>
                <a:lnTo>
                  <a:pt x="3836933" y="25003"/>
                </a:lnTo>
                <a:lnTo>
                  <a:pt x="3853206" y="29369"/>
                </a:lnTo>
                <a:lnTo>
                  <a:pt x="3869083" y="34925"/>
                </a:lnTo>
                <a:lnTo>
                  <a:pt x="3884165" y="40481"/>
                </a:lnTo>
                <a:lnTo>
                  <a:pt x="3899645" y="46434"/>
                </a:lnTo>
                <a:lnTo>
                  <a:pt x="3914331" y="52784"/>
                </a:lnTo>
                <a:lnTo>
                  <a:pt x="3929016" y="59928"/>
                </a:lnTo>
                <a:lnTo>
                  <a:pt x="3943305" y="67072"/>
                </a:lnTo>
                <a:lnTo>
                  <a:pt x="3957991" y="74613"/>
                </a:lnTo>
                <a:lnTo>
                  <a:pt x="3971883" y="82550"/>
                </a:lnTo>
                <a:lnTo>
                  <a:pt x="3985774" y="90885"/>
                </a:lnTo>
                <a:lnTo>
                  <a:pt x="3999269" y="100013"/>
                </a:lnTo>
                <a:lnTo>
                  <a:pt x="4012764" y="108744"/>
                </a:lnTo>
                <a:lnTo>
                  <a:pt x="4025862" y="118269"/>
                </a:lnTo>
                <a:lnTo>
                  <a:pt x="4038167" y="127794"/>
                </a:lnTo>
                <a:lnTo>
                  <a:pt x="4050867" y="137716"/>
                </a:lnTo>
                <a:lnTo>
                  <a:pt x="4063172" y="148431"/>
                </a:lnTo>
                <a:lnTo>
                  <a:pt x="4075476" y="159147"/>
                </a:lnTo>
                <a:lnTo>
                  <a:pt x="4087383" y="170259"/>
                </a:lnTo>
                <a:lnTo>
                  <a:pt x="4098894" y="181769"/>
                </a:lnTo>
                <a:lnTo>
                  <a:pt x="4109610" y="193278"/>
                </a:lnTo>
                <a:lnTo>
                  <a:pt x="4120724" y="205184"/>
                </a:lnTo>
                <a:lnTo>
                  <a:pt x="4131043" y="217884"/>
                </a:lnTo>
                <a:lnTo>
                  <a:pt x="4141760" y="230188"/>
                </a:lnTo>
                <a:lnTo>
                  <a:pt x="4151683" y="243284"/>
                </a:lnTo>
                <a:lnTo>
                  <a:pt x="4161605" y="256381"/>
                </a:lnTo>
                <a:lnTo>
                  <a:pt x="4171131" y="269875"/>
                </a:lnTo>
                <a:lnTo>
                  <a:pt x="4180261" y="283766"/>
                </a:lnTo>
                <a:lnTo>
                  <a:pt x="4188993" y="297656"/>
                </a:lnTo>
                <a:lnTo>
                  <a:pt x="4197725" y="312341"/>
                </a:lnTo>
                <a:lnTo>
                  <a:pt x="4206059" y="326628"/>
                </a:lnTo>
                <a:lnTo>
                  <a:pt x="4213998" y="341313"/>
                </a:lnTo>
                <a:lnTo>
                  <a:pt x="4221539" y="355997"/>
                </a:lnTo>
                <a:lnTo>
                  <a:pt x="4229081" y="371475"/>
                </a:lnTo>
                <a:lnTo>
                  <a:pt x="4236225" y="386953"/>
                </a:lnTo>
                <a:lnTo>
                  <a:pt x="4242575" y="403225"/>
                </a:lnTo>
                <a:lnTo>
                  <a:pt x="4248926" y="419100"/>
                </a:lnTo>
                <a:lnTo>
                  <a:pt x="4254879" y="434975"/>
                </a:lnTo>
                <a:lnTo>
                  <a:pt x="4260437" y="451644"/>
                </a:lnTo>
                <a:lnTo>
                  <a:pt x="4265993" y="468709"/>
                </a:lnTo>
                <a:lnTo>
                  <a:pt x="4271153" y="484981"/>
                </a:lnTo>
                <a:lnTo>
                  <a:pt x="4275916" y="502444"/>
                </a:lnTo>
                <a:lnTo>
                  <a:pt x="4279885" y="519509"/>
                </a:lnTo>
                <a:lnTo>
                  <a:pt x="4283854" y="536972"/>
                </a:lnTo>
                <a:lnTo>
                  <a:pt x="4287823" y="554434"/>
                </a:lnTo>
                <a:lnTo>
                  <a:pt x="4290999" y="572294"/>
                </a:lnTo>
                <a:lnTo>
                  <a:pt x="4294173" y="590550"/>
                </a:lnTo>
                <a:lnTo>
                  <a:pt x="4296555" y="608806"/>
                </a:lnTo>
                <a:lnTo>
                  <a:pt x="4298539" y="627063"/>
                </a:lnTo>
                <a:lnTo>
                  <a:pt x="4300525" y="645319"/>
                </a:lnTo>
                <a:lnTo>
                  <a:pt x="4439840" y="2872581"/>
                </a:lnTo>
                <a:lnTo>
                  <a:pt x="4441825" y="2916634"/>
                </a:lnTo>
                <a:lnTo>
                  <a:pt x="4442618" y="2959100"/>
                </a:lnTo>
                <a:lnTo>
                  <a:pt x="4443412" y="3000375"/>
                </a:lnTo>
                <a:lnTo>
                  <a:pt x="4443412" y="3041650"/>
                </a:lnTo>
                <a:lnTo>
                  <a:pt x="4442618" y="3081337"/>
                </a:lnTo>
                <a:lnTo>
                  <a:pt x="4440633" y="3121025"/>
                </a:lnTo>
                <a:lnTo>
                  <a:pt x="4439443" y="3140472"/>
                </a:lnTo>
                <a:lnTo>
                  <a:pt x="4437855" y="3159918"/>
                </a:lnTo>
                <a:lnTo>
                  <a:pt x="4435871" y="3179365"/>
                </a:lnTo>
                <a:lnTo>
                  <a:pt x="4433489" y="3198812"/>
                </a:lnTo>
                <a:lnTo>
                  <a:pt x="4430711" y="3218259"/>
                </a:lnTo>
                <a:lnTo>
                  <a:pt x="4427933" y="3237309"/>
                </a:lnTo>
                <a:lnTo>
                  <a:pt x="4424757" y="3256756"/>
                </a:lnTo>
                <a:lnTo>
                  <a:pt x="4420788" y="3276203"/>
                </a:lnTo>
                <a:lnTo>
                  <a:pt x="4416819" y="3295253"/>
                </a:lnTo>
                <a:lnTo>
                  <a:pt x="4412453" y="3314700"/>
                </a:lnTo>
                <a:lnTo>
                  <a:pt x="4407293" y="3334147"/>
                </a:lnTo>
                <a:lnTo>
                  <a:pt x="4401737" y="3353593"/>
                </a:lnTo>
                <a:lnTo>
                  <a:pt x="4395783" y="3373040"/>
                </a:lnTo>
                <a:lnTo>
                  <a:pt x="4389432" y="3392487"/>
                </a:lnTo>
                <a:lnTo>
                  <a:pt x="4382288" y="3412331"/>
                </a:lnTo>
                <a:lnTo>
                  <a:pt x="4374747" y="3432175"/>
                </a:lnTo>
                <a:lnTo>
                  <a:pt x="4366809" y="3452018"/>
                </a:lnTo>
                <a:lnTo>
                  <a:pt x="4358473" y="3472259"/>
                </a:lnTo>
                <a:lnTo>
                  <a:pt x="4349344" y="3492500"/>
                </a:lnTo>
                <a:lnTo>
                  <a:pt x="4339819" y="3513137"/>
                </a:lnTo>
                <a:lnTo>
                  <a:pt x="4329499" y="3534172"/>
                </a:lnTo>
                <a:lnTo>
                  <a:pt x="4318385" y="3554809"/>
                </a:lnTo>
                <a:lnTo>
                  <a:pt x="4306875" y="3575447"/>
                </a:lnTo>
                <a:lnTo>
                  <a:pt x="4294967" y="3595290"/>
                </a:lnTo>
                <a:lnTo>
                  <a:pt x="4283060" y="3615531"/>
                </a:lnTo>
                <a:lnTo>
                  <a:pt x="4269962" y="3634978"/>
                </a:lnTo>
                <a:lnTo>
                  <a:pt x="4256864" y="3654028"/>
                </a:lnTo>
                <a:lnTo>
                  <a:pt x="4242972" y="3672284"/>
                </a:lnTo>
                <a:lnTo>
                  <a:pt x="4229081" y="3690937"/>
                </a:lnTo>
                <a:lnTo>
                  <a:pt x="4214791" y="3708797"/>
                </a:lnTo>
                <a:lnTo>
                  <a:pt x="4199709" y="3726259"/>
                </a:lnTo>
                <a:lnTo>
                  <a:pt x="4184627" y="3743325"/>
                </a:lnTo>
                <a:lnTo>
                  <a:pt x="4168750" y="3760390"/>
                </a:lnTo>
                <a:lnTo>
                  <a:pt x="4152873" y="3776265"/>
                </a:lnTo>
                <a:lnTo>
                  <a:pt x="4136203" y="3792140"/>
                </a:lnTo>
                <a:lnTo>
                  <a:pt x="4119136" y="3807222"/>
                </a:lnTo>
                <a:lnTo>
                  <a:pt x="4101672" y="3822303"/>
                </a:lnTo>
                <a:lnTo>
                  <a:pt x="4083811" y="3836193"/>
                </a:lnTo>
                <a:lnTo>
                  <a:pt x="4065950" y="3850084"/>
                </a:lnTo>
                <a:lnTo>
                  <a:pt x="4047295" y="3863181"/>
                </a:lnTo>
                <a:lnTo>
                  <a:pt x="4028244" y="3875484"/>
                </a:lnTo>
                <a:lnTo>
                  <a:pt x="4008795" y="3888184"/>
                </a:lnTo>
                <a:lnTo>
                  <a:pt x="3989347" y="3899693"/>
                </a:lnTo>
                <a:lnTo>
                  <a:pt x="3969501" y="3910012"/>
                </a:lnTo>
                <a:lnTo>
                  <a:pt x="3948862" y="3920728"/>
                </a:lnTo>
                <a:lnTo>
                  <a:pt x="3927825" y="3930253"/>
                </a:lnTo>
                <a:lnTo>
                  <a:pt x="3907186" y="3938984"/>
                </a:lnTo>
                <a:lnTo>
                  <a:pt x="3885356" y="3947715"/>
                </a:lnTo>
                <a:lnTo>
                  <a:pt x="3863526" y="3955256"/>
                </a:lnTo>
                <a:lnTo>
                  <a:pt x="3840902" y="3962400"/>
                </a:lnTo>
                <a:lnTo>
                  <a:pt x="3818675" y="3968750"/>
                </a:lnTo>
                <a:lnTo>
                  <a:pt x="3795654" y="3973909"/>
                </a:lnTo>
                <a:lnTo>
                  <a:pt x="3768664" y="3980259"/>
                </a:lnTo>
                <a:lnTo>
                  <a:pt x="3741277" y="3984625"/>
                </a:lnTo>
                <a:lnTo>
                  <a:pt x="3714287" y="3988197"/>
                </a:lnTo>
                <a:lnTo>
                  <a:pt x="3686901" y="3990578"/>
                </a:lnTo>
                <a:lnTo>
                  <a:pt x="3659117" y="3992165"/>
                </a:lnTo>
                <a:lnTo>
                  <a:pt x="3631730" y="3992562"/>
                </a:lnTo>
                <a:lnTo>
                  <a:pt x="3604343" y="3992562"/>
                </a:lnTo>
                <a:lnTo>
                  <a:pt x="3576560" y="3990975"/>
                </a:lnTo>
                <a:lnTo>
                  <a:pt x="3548379" y="3988990"/>
                </a:lnTo>
                <a:lnTo>
                  <a:pt x="3520595" y="3986609"/>
                </a:lnTo>
                <a:lnTo>
                  <a:pt x="3492415" y="3982640"/>
                </a:lnTo>
                <a:lnTo>
                  <a:pt x="3464631" y="3978672"/>
                </a:lnTo>
                <a:lnTo>
                  <a:pt x="3436053" y="3973115"/>
                </a:lnTo>
                <a:lnTo>
                  <a:pt x="3407476" y="3967559"/>
                </a:lnTo>
                <a:lnTo>
                  <a:pt x="3379295" y="3961209"/>
                </a:lnTo>
                <a:lnTo>
                  <a:pt x="3350321" y="3954065"/>
                </a:lnTo>
                <a:lnTo>
                  <a:pt x="3321346" y="3946128"/>
                </a:lnTo>
                <a:lnTo>
                  <a:pt x="3291975" y="3938190"/>
                </a:lnTo>
                <a:lnTo>
                  <a:pt x="3263001" y="3929062"/>
                </a:lnTo>
                <a:lnTo>
                  <a:pt x="3233232" y="3919537"/>
                </a:lnTo>
                <a:lnTo>
                  <a:pt x="3203464" y="3910012"/>
                </a:lnTo>
                <a:lnTo>
                  <a:pt x="3173299" y="3899693"/>
                </a:lnTo>
                <a:lnTo>
                  <a:pt x="3112571" y="3878262"/>
                </a:lnTo>
                <a:lnTo>
                  <a:pt x="3051050" y="3855243"/>
                </a:lnTo>
                <a:lnTo>
                  <a:pt x="2988735" y="3831034"/>
                </a:lnTo>
                <a:lnTo>
                  <a:pt x="2860533" y="3780631"/>
                </a:lnTo>
                <a:lnTo>
                  <a:pt x="818429" y="2887662"/>
                </a:lnTo>
                <a:lnTo>
                  <a:pt x="753733" y="2858294"/>
                </a:lnTo>
                <a:lnTo>
                  <a:pt x="686655" y="2828131"/>
                </a:lnTo>
                <a:lnTo>
                  <a:pt x="617593" y="2797175"/>
                </a:lnTo>
                <a:lnTo>
                  <a:pt x="582665" y="2781300"/>
                </a:lnTo>
                <a:lnTo>
                  <a:pt x="548133" y="2765425"/>
                </a:lnTo>
                <a:lnTo>
                  <a:pt x="513205" y="2748359"/>
                </a:lnTo>
                <a:lnTo>
                  <a:pt x="479071" y="2730897"/>
                </a:lnTo>
                <a:lnTo>
                  <a:pt x="444937" y="2712640"/>
                </a:lnTo>
                <a:lnTo>
                  <a:pt x="410803" y="2694384"/>
                </a:lnTo>
                <a:lnTo>
                  <a:pt x="377859" y="2675334"/>
                </a:lnTo>
                <a:lnTo>
                  <a:pt x="345709" y="2655490"/>
                </a:lnTo>
                <a:lnTo>
                  <a:pt x="313559" y="2634853"/>
                </a:lnTo>
                <a:lnTo>
                  <a:pt x="298080" y="2623740"/>
                </a:lnTo>
                <a:lnTo>
                  <a:pt x="282600" y="2613422"/>
                </a:lnTo>
                <a:lnTo>
                  <a:pt x="267518" y="2602309"/>
                </a:lnTo>
                <a:lnTo>
                  <a:pt x="252832" y="2590800"/>
                </a:lnTo>
                <a:lnTo>
                  <a:pt x="238146" y="2579290"/>
                </a:lnTo>
                <a:lnTo>
                  <a:pt x="223858" y="2567781"/>
                </a:lnTo>
                <a:lnTo>
                  <a:pt x="209569" y="2555875"/>
                </a:lnTo>
                <a:lnTo>
                  <a:pt x="196074" y="2543572"/>
                </a:lnTo>
                <a:lnTo>
                  <a:pt x="182579" y="2530872"/>
                </a:lnTo>
                <a:lnTo>
                  <a:pt x="169878" y="2518569"/>
                </a:lnTo>
                <a:lnTo>
                  <a:pt x="157177" y="2505472"/>
                </a:lnTo>
                <a:lnTo>
                  <a:pt x="144873" y="2491978"/>
                </a:lnTo>
                <a:lnTo>
                  <a:pt x="133362" y="2478484"/>
                </a:lnTo>
                <a:lnTo>
                  <a:pt x="121852" y="2464594"/>
                </a:lnTo>
                <a:lnTo>
                  <a:pt x="110738" y="2450703"/>
                </a:lnTo>
                <a:lnTo>
                  <a:pt x="100419" y="2436019"/>
                </a:lnTo>
                <a:lnTo>
                  <a:pt x="89702" y="2421731"/>
                </a:lnTo>
                <a:lnTo>
                  <a:pt x="80573" y="2406650"/>
                </a:lnTo>
                <a:lnTo>
                  <a:pt x="71047" y="2391172"/>
                </a:lnTo>
                <a:lnTo>
                  <a:pt x="62315" y="2375297"/>
                </a:lnTo>
                <a:lnTo>
                  <a:pt x="54377" y="2359025"/>
                </a:lnTo>
                <a:lnTo>
                  <a:pt x="46439" y="2343150"/>
                </a:lnTo>
                <a:lnTo>
                  <a:pt x="39294" y="2326084"/>
                </a:lnTo>
                <a:lnTo>
                  <a:pt x="32944" y="2309415"/>
                </a:lnTo>
                <a:lnTo>
                  <a:pt x="26990" y="2292350"/>
                </a:lnTo>
                <a:lnTo>
                  <a:pt x="21433" y="2274094"/>
                </a:lnTo>
                <a:lnTo>
                  <a:pt x="16670" y="2256234"/>
                </a:lnTo>
                <a:lnTo>
                  <a:pt x="11908" y="2237978"/>
                </a:lnTo>
                <a:lnTo>
                  <a:pt x="8335" y="2218928"/>
                </a:lnTo>
                <a:lnTo>
                  <a:pt x="5557" y="2199878"/>
                </a:lnTo>
                <a:lnTo>
                  <a:pt x="3176" y="2180034"/>
                </a:lnTo>
                <a:lnTo>
                  <a:pt x="1588" y="2159794"/>
                </a:lnTo>
                <a:lnTo>
                  <a:pt x="397" y="2139553"/>
                </a:lnTo>
                <a:lnTo>
                  <a:pt x="0" y="2118915"/>
                </a:lnTo>
                <a:lnTo>
                  <a:pt x="0" y="1397794"/>
                </a:lnTo>
                <a:lnTo>
                  <a:pt x="0" y="1352153"/>
                </a:lnTo>
                <a:lnTo>
                  <a:pt x="397" y="1307703"/>
                </a:lnTo>
                <a:lnTo>
                  <a:pt x="1985" y="1263253"/>
                </a:lnTo>
                <a:lnTo>
                  <a:pt x="3572" y="1219200"/>
                </a:lnTo>
                <a:lnTo>
                  <a:pt x="6351" y="1176338"/>
                </a:lnTo>
                <a:lnTo>
                  <a:pt x="8335" y="1154509"/>
                </a:lnTo>
                <a:lnTo>
                  <a:pt x="10320" y="1133475"/>
                </a:lnTo>
                <a:lnTo>
                  <a:pt x="13098" y="1112044"/>
                </a:lnTo>
                <a:lnTo>
                  <a:pt x="15877" y="1091009"/>
                </a:lnTo>
                <a:lnTo>
                  <a:pt x="19052" y="1069975"/>
                </a:lnTo>
                <a:lnTo>
                  <a:pt x="23021" y="1048941"/>
                </a:lnTo>
                <a:lnTo>
                  <a:pt x="26990" y="1027906"/>
                </a:lnTo>
                <a:lnTo>
                  <a:pt x="31356" y="1007666"/>
                </a:lnTo>
                <a:lnTo>
                  <a:pt x="36516" y="986631"/>
                </a:lnTo>
                <a:lnTo>
                  <a:pt x="42073" y="965994"/>
                </a:lnTo>
                <a:lnTo>
                  <a:pt x="48026" y="945753"/>
                </a:lnTo>
                <a:lnTo>
                  <a:pt x="54377" y="925513"/>
                </a:lnTo>
                <a:lnTo>
                  <a:pt x="61918" y="905272"/>
                </a:lnTo>
                <a:lnTo>
                  <a:pt x="69856" y="885031"/>
                </a:lnTo>
                <a:lnTo>
                  <a:pt x="77795" y="865188"/>
                </a:lnTo>
                <a:lnTo>
                  <a:pt x="87321" y="845344"/>
                </a:lnTo>
                <a:lnTo>
                  <a:pt x="96846" y="825500"/>
                </a:lnTo>
                <a:lnTo>
                  <a:pt x="107166" y="805656"/>
                </a:lnTo>
                <a:lnTo>
                  <a:pt x="118676" y="786209"/>
                </a:lnTo>
                <a:lnTo>
                  <a:pt x="130981" y="766763"/>
                </a:lnTo>
                <a:lnTo>
                  <a:pt x="143285" y="747713"/>
                </a:lnTo>
                <a:lnTo>
                  <a:pt x="156780" y="728266"/>
                </a:lnTo>
                <a:lnTo>
                  <a:pt x="166703" y="715169"/>
                </a:lnTo>
                <a:lnTo>
                  <a:pt x="176625" y="702469"/>
                </a:lnTo>
                <a:lnTo>
                  <a:pt x="187342" y="689769"/>
                </a:lnTo>
                <a:lnTo>
                  <a:pt x="197265" y="677863"/>
                </a:lnTo>
                <a:lnTo>
                  <a:pt x="208378" y="666353"/>
                </a:lnTo>
                <a:lnTo>
                  <a:pt x="219095" y="654844"/>
                </a:lnTo>
                <a:lnTo>
                  <a:pt x="230208" y="643731"/>
                </a:lnTo>
                <a:lnTo>
                  <a:pt x="241322" y="633016"/>
                </a:lnTo>
                <a:lnTo>
                  <a:pt x="252832" y="622697"/>
                </a:lnTo>
                <a:lnTo>
                  <a:pt x="264343" y="612378"/>
                </a:lnTo>
                <a:lnTo>
                  <a:pt x="276250" y="602853"/>
                </a:lnTo>
                <a:lnTo>
                  <a:pt x="288157" y="593328"/>
                </a:lnTo>
                <a:lnTo>
                  <a:pt x="300065" y="583803"/>
                </a:lnTo>
                <a:lnTo>
                  <a:pt x="312766" y="575072"/>
                </a:lnTo>
                <a:lnTo>
                  <a:pt x="325070" y="566341"/>
                </a:lnTo>
                <a:lnTo>
                  <a:pt x="337374" y="558006"/>
                </a:lnTo>
                <a:lnTo>
                  <a:pt x="350472" y="550069"/>
                </a:lnTo>
                <a:lnTo>
                  <a:pt x="363570" y="542131"/>
                </a:lnTo>
                <a:lnTo>
                  <a:pt x="390163" y="527050"/>
                </a:lnTo>
                <a:lnTo>
                  <a:pt x="417153" y="513159"/>
                </a:lnTo>
                <a:lnTo>
                  <a:pt x="444540" y="499666"/>
                </a:lnTo>
                <a:lnTo>
                  <a:pt x="472324" y="487363"/>
                </a:lnTo>
                <a:lnTo>
                  <a:pt x="500504" y="475853"/>
                </a:lnTo>
                <a:lnTo>
                  <a:pt x="529479" y="465534"/>
                </a:lnTo>
                <a:lnTo>
                  <a:pt x="558850" y="455613"/>
                </a:lnTo>
                <a:lnTo>
                  <a:pt x="588221" y="446088"/>
                </a:lnTo>
                <a:lnTo>
                  <a:pt x="618387" y="437753"/>
                </a:lnTo>
                <a:lnTo>
                  <a:pt x="648155" y="429022"/>
                </a:lnTo>
                <a:lnTo>
                  <a:pt x="678717" y="421481"/>
                </a:lnTo>
                <a:lnTo>
                  <a:pt x="709279" y="414734"/>
                </a:lnTo>
                <a:lnTo>
                  <a:pt x="740238" y="407988"/>
                </a:lnTo>
                <a:lnTo>
                  <a:pt x="771197" y="401638"/>
                </a:lnTo>
                <a:lnTo>
                  <a:pt x="802156" y="395684"/>
                </a:lnTo>
                <a:lnTo>
                  <a:pt x="864471" y="384572"/>
                </a:lnTo>
                <a:lnTo>
                  <a:pt x="926786" y="374650"/>
                </a:lnTo>
                <a:lnTo>
                  <a:pt x="1050622" y="354806"/>
                </a:lnTo>
                <a:lnTo>
                  <a:pt x="3575766" y="5160"/>
                </a:lnTo>
                <a:lnTo>
                  <a:pt x="3594817" y="3175"/>
                </a:lnTo>
                <a:lnTo>
                  <a:pt x="3613472" y="1588"/>
                </a:lnTo>
                <a:lnTo>
                  <a:pt x="3631333" y="397"/>
                </a:lnTo>
                <a:close/>
              </a:path>
            </a:pathLst>
          </a:custGeom>
          <a:solidFill>
            <a:schemeClr val="bg1">
              <a:lumMod val="85000"/>
            </a:schemeClr>
          </a:solidFill>
        </p:spPr>
        <p:txBody>
          <a:bodyPr wrap="square" anchor="ctr">
            <a:noAutofit/>
          </a:bodyPr>
          <a:lstStyle>
            <a:lvl1pPr marL="0" indent="0" algn="ctr">
              <a:buNone/>
              <a:defRPr baseline="0"/>
            </a:lvl1pPr>
          </a:lstStyle>
          <a:p>
            <a:r>
              <a:rPr lang="en-GB"/>
              <a:t>Insert your photo</a:t>
            </a:r>
          </a:p>
        </p:txBody>
      </p:sp>
    </p:spTree>
    <p:extLst>
      <p:ext uri="{BB962C8B-B14F-4D97-AF65-F5344CB8AC3E}">
        <p14:creationId xmlns:p14="http://schemas.microsoft.com/office/powerpoint/2010/main" val="394240742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2"/>
        </a:solidFill>
        <a:effectLst/>
      </p:bgPr>
    </p:bg>
    <p:spTree>
      <p:nvGrpSpPr>
        <p:cNvPr id="1" name=""/>
        <p:cNvGrpSpPr/>
        <p:nvPr/>
      </p:nvGrpSpPr>
      <p:grpSpPr>
        <a:xfrm>
          <a:off x="0" y="0"/>
          <a:ext cx="0" cy="0"/>
          <a:chOff x="0" y="0"/>
          <a:chExt cx="0" cy="0"/>
        </a:xfrm>
      </p:grpSpPr>
      <p:sp>
        <p:nvSpPr>
          <p:cNvPr id="2" name="Rectángulo 1"/>
          <p:cNvSpPr/>
          <p:nvPr userDrawn="1"/>
        </p:nvSpPr>
        <p:spPr>
          <a:xfrm>
            <a:off x="0" y="0"/>
            <a:ext cx="12192000"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a:solidFill>
                <a:srgbClr val="005EB8"/>
              </a:solidFill>
            </a:endParaRPr>
          </a:p>
        </p:txBody>
      </p:sp>
      <p:cxnSp>
        <p:nvCxnSpPr>
          <p:cNvPr id="31" name="Straight Connector 11"/>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4" name="AutoShape 3"/>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56" name="Text Placeholder 23"/>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8" name="Text Placeholder 23"/>
          <p:cNvSpPr>
            <a:spLocks noGrp="1"/>
          </p:cNvSpPr>
          <p:nvPr>
            <p:ph type="body" sz="quarter" idx="38" hasCustomPrompt="1"/>
          </p:nvPr>
        </p:nvSpPr>
        <p:spPr>
          <a:xfrm>
            <a:off x="376389" y="6298613"/>
            <a:ext cx="1764284"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1" name="Freeform 5"/>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2" name="Freeform 6"/>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3" name="Freeform 7"/>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4" name="Freeform 8"/>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11"/>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nvGrpSpPr>
          <p:cNvPr id="28" name="Grupo 27"/>
          <p:cNvGrpSpPr/>
          <p:nvPr userDrawn="1"/>
        </p:nvGrpSpPr>
        <p:grpSpPr>
          <a:xfrm>
            <a:off x="9621123" y="1122673"/>
            <a:ext cx="2751419" cy="2345067"/>
            <a:chOff x="7842547" y="2093286"/>
            <a:chExt cx="4597521" cy="3918521"/>
          </a:xfrm>
        </p:grpSpPr>
        <p:pic>
          <p:nvPicPr>
            <p:cNvPr id="29" name="Imagen 28"/>
            <p:cNvPicPr>
              <a:picLocks noChangeAspect="1"/>
            </p:cNvPicPr>
            <p:nvPr/>
          </p:nvPicPr>
          <p:blipFill rotWithShape="1">
            <a:blip r:embed="rId2" cstate="screen">
              <a:extLst>
                <a:ext uri="{28A0092B-C50C-407E-A947-70E740481C1C}">
                  <a14:useLocalDpi xmlns:a14="http://schemas.microsoft.com/office/drawing/2010/main"/>
                </a:ext>
              </a:extLst>
            </a:blip>
            <a:srcRect r="61222"/>
            <a:stretch/>
          </p:blipFill>
          <p:spPr>
            <a:xfrm rot="9987682" flipH="1">
              <a:off x="7842547" y="2093286"/>
              <a:ext cx="4597521" cy="3918521"/>
            </a:xfrm>
            <a:prstGeom prst="rect">
              <a:avLst/>
            </a:prstGeom>
          </p:spPr>
        </p:pic>
        <p:sp>
          <p:nvSpPr>
            <p:cNvPr id="30" name="Rectángulo 29"/>
            <p:cNvSpPr/>
            <p:nvPr/>
          </p:nvSpPr>
          <p:spPr>
            <a:xfrm>
              <a:off x="7938183" y="2667925"/>
              <a:ext cx="571500" cy="24638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grpSp>
      <p:pic>
        <p:nvPicPr>
          <p:cNvPr id="32" name="Imagen 3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041575" y="724613"/>
            <a:ext cx="4130427" cy="2354831"/>
          </a:xfrm>
          <a:prstGeom prst="rect">
            <a:avLst/>
          </a:prstGeom>
        </p:spPr>
      </p:pic>
      <p:grpSp>
        <p:nvGrpSpPr>
          <p:cNvPr id="33" name="Grupo 32"/>
          <p:cNvGrpSpPr/>
          <p:nvPr userDrawn="1"/>
        </p:nvGrpSpPr>
        <p:grpSpPr>
          <a:xfrm>
            <a:off x="-723900" y="1120930"/>
            <a:ext cx="8956032" cy="1592011"/>
            <a:chOff x="-12700" y="682078"/>
            <a:chExt cx="8956032" cy="1592011"/>
          </a:xfrm>
        </p:grpSpPr>
        <p:sp>
          <p:nvSpPr>
            <p:cNvPr id="34" name="Forma libre 33"/>
            <p:cNvSpPr/>
            <p:nvPr/>
          </p:nvSpPr>
          <p:spPr>
            <a:xfrm>
              <a:off x="-12700" y="682078"/>
              <a:ext cx="8890000" cy="1592011"/>
            </a:xfrm>
            <a:custGeom>
              <a:avLst/>
              <a:gdLst>
                <a:gd name="connsiteX0" fmla="*/ 0 w 8890000"/>
                <a:gd name="connsiteY0" fmla="*/ 1304132 h 1486839"/>
                <a:gd name="connsiteX1" fmla="*/ 2578100 w 8890000"/>
                <a:gd name="connsiteY1" fmla="*/ 1291432 h 1486839"/>
                <a:gd name="connsiteX2" fmla="*/ 3911600 w 8890000"/>
                <a:gd name="connsiteY2" fmla="*/ 885032 h 1486839"/>
                <a:gd name="connsiteX3" fmla="*/ 4114800 w 8890000"/>
                <a:gd name="connsiteY3" fmla="*/ 97632 h 1486839"/>
                <a:gd name="connsiteX4" fmla="*/ 2908300 w 8890000"/>
                <a:gd name="connsiteY4" fmla="*/ 97632 h 1486839"/>
                <a:gd name="connsiteX5" fmla="*/ 2667000 w 8890000"/>
                <a:gd name="connsiteY5" fmla="*/ 872332 h 1486839"/>
                <a:gd name="connsiteX6" fmla="*/ 3568700 w 8890000"/>
                <a:gd name="connsiteY6" fmla="*/ 1354932 h 1486839"/>
                <a:gd name="connsiteX7" fmla="*/ 5321300 w 8890000"/>
                <a:gd name="connsiteY7" fmla="*/ 1151732 h 1486839"/>
                <a:gd name="connsiteX8" fmla="*/ 7112000 w 8890000"/>
                <a:gd name="connsiteY8" fmla="*/ 1481932 h 1486839"/>
                <a:gd name="connsiteX9" fmla="*/ 8890000 w 8890000"/>
                <a:gd name="connsiteY9" fmla="*/ 846932 h 1486839"/>
                <a:gd name="connsiteX0" fmla="*/ 0 w 8890000"/>
                <a:gd name="connsiteY0" fmla="*/ 1340162 h 1522869"/>
                <a:gd name="connsiteX1" fmla="*/ 2578100 w 8890000"/>
                <a:gd name="connsiteY1" fmla="*/ 1327462 h 1522869"/>
                <a:gd name="connsiteX2" fmla="*/ 3911600 w 8890000"/>
                <a:gd name="connsiteY2" fmla="*/ 921062 h 1522869"/>
                <a:gd name="connsiteX3" fmla="*/ 3956050 w 8890000"/>
                <a:gd name="connsiteY3" fmla="*/ 76512 h 1522869"/>
                <a:gd name="connsiteX4" fmla="*/ 2908300 w 8890000"/>
                <a:gd name="connsiteY4" fmla="*/ 133662 h 1522869"/>
                <a:gd name="connsiteX5" fmla="*/ 2667000 w 8890000"/>
                <a:gd name="connsiteY5" fmla="*/ 908362 h 1522869"/>
                <a:gd name="connsiteX6" fmla="*/ 3568700 w 8890000"/>
                <a:gd name="connsiteY6" fmla="*/ 1390962 h 1522869"/>
                <a:gd name="connsiteX7" fmla="*/ 5321300 w 8890000"/>
                <a:gd name="connsiteY7" fmla="*/ 1187762 h 1522869"/>
                <a:gd name="connsiteX8" fmla="*/ 7112000 w 8890000"/>
                <a:gd name="connsiteY8" fmla="*/ 1517962 h 1522869"/>
                <a:gd name="connsiteX9" fmla="*/ 8890000 w 8890000"/>
                <a:gd name="connsiteY9" fmla="*/ 882962 h 1522869"/>
                <a:gd name="connsiteX0" fmla="*/ 0 w 8890000"/>
                <a:gd name="connsiteY0" fmla="*/ 1395610 h 1578317"/>
                <a:gd name="connsiteX1" fmla="*/ 2578100 w 8890000"/>
                <a:gd name="connsiteY1" fmla="*/ 1382910 h 1578317"/>
                <a:gd name="connsiteX2" fmla="*/ 3911600 w 8890000"/>
                <a:gd name="connsiteY2" fmla="*/ 976510 h 1578317"/>
                <a:gd name="connsiteX3" fmla="*/ 3956050 w 8890000"/>
                <a:gd name="connsiteY3" fmla="*/ 131960 h 1578317"/>
                <a:gd name="connsiteX4" fmla="*/ 2908300 w 8890000"/>
                <a:gd name="connsiteY4" fmla="*/ 189110 h 1578317"/>
                <a:gd name="connsiteX5" fmla="*/ 2667000 w 8890000"/>
                <a:gd name="connsiteY5" fmla="*/ 963810 h 1578317"/>
                <a:gd name="connsiteX6" fmla="*/ 3568700 w 8890000"/>
                <a:gd name="connsiteY6" fmla="*/ 1446410 h 1578317"/>
                <a:gd name="connsiteX7" fmla="*/ 5321300 w 8890000"/>
                <a:gd name="connsiteY7" fmla="*/ 1243210 h 1578317"/>
                <a:gd name="connsiteX8" fmla="*/ 7112000 w 8890000"/>
                <a:gd name="connsiteY8" fmla="*/ 1573410 h 1578317"/>
                <a:gd name="connsiteX9" fmla="*/ 8890000 w 8890000"/>
                <a:gd name="connsiteY9" fmla="*/ 938410 h 1578317"/>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1992"/>
                <a:gd name="connsiteX1" fmla="*/ 2578100 w 8890000"/>
                <a:gd name="connsiteY1" fmla="*/ 1400721 h 1591992"/>
                <a:gd name="connsiteX2" fmla="*/ 3911600 w 8890000"/>
                <a:gd name="connsiteY2" fmla="*/ 994321 h 1591992"/>
                <a:gd name="connsiteX3" fmla="*/ 3956050 w 8890000"/>
                <a:gd name="connsiteY3" fmla="*/ 149771 h 1591992"/>
                <a:gd name="connsiteX4" fmla="*/ 2908300 w 8890000"/>
                <a:gd name="connsiteY4" fmla="*/ 206921 h 1591992"/>
                <a:gd name="connsiteX5" fmla="*/ 2667000 w 8890000"/>
                <a:gd name="connsiteY5" fmla="*/ 981621 h 1591992"/>
                <a:gd name="connsiteX6" fmla="*/ 3587750 w 8890000"/>
                <a:gd name="connsiteY6" fmla="*/ 1546771 h 1591992"/>
                <a:gd name="connsiteX7" fmla="*/ 5511800 w 8890000"/>
                <a:gd name="connsiteY7" fmla="*/ 1095921 h 1591992"/>
                <a:gd name="connsiteX8" fmla="*/ 7112000 w 8890000"/>
                <a:gd name="connsiteY8" fmla="*/ 1591221 h 1591992"/>
                <a:gd name="connsiteX9" fmla="*/ 8890000 w 8890000"/>
                <a:gd name="connsiteY9" fmla="*/ 956221 h 1591992"/>
                <a:gd name="connsiteX0" fmla="*/ 0 w 8890000"/>
                <a:gd name="connsiteY0" fmla="*/ 1413421 h 1592011"/>
                <a:gd name="connsiteX1" fmla="*/ 2578100 w 8890000"/>
                <a:gd name="connsiteY1" fmla="*/ 1400721 h 1592011"/>
                <a:gd name="connsiteX2" fmla="*/ 3911600 w 8890000"/>
                <a:gd name="connsiteY2" fmla="*/ 994321 h 1592011"/>
                <a:gd name="connsiteX3" fmla="*/ 3956050 w 8890000"/>
                <a:gd name="connsiteY3" fmla="*/ 149771 h 1592011"/>
                <a:gd name="connsiteX4" fmla="*/ 2908300 w 8890000"/>
                <a:gd name="connsiteY4" fmla="*/ 206921 h 1592011"/>
                <a:gd name="connsiteX5" fmla="*/ 2667000 w 8890000"/>
                <a:gd name="connsiteY5" fmla="*/ 981621 h 1592011"/>
                <a:gd name="connsiteX6" fmla="*/ 3587750 w 8890000"/>
                <a:gd name="connsiteY6" fmla="*/ 1546771 h 1592011"/>
                <a:gd name="connsiteX7" fmla="*/ 5511800 w 8890000"/>
                <a:gd name="connsiteY7" fmla="*/ 1095921 h 1592011"/>
                <a:gd name="connsiteX8" fmla="*/ 7112000 w 8890000"/>
                <a:gd name="connsiteY8" fmla="*/ 1591221 h 1592011"/>
                <a:gd name="connsiteX9" fmla="*/ 8890000 w 8890000"/>
                <a:gd name="connsiteY9" fmla="*/ 956221 h 159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90000" h="1592011">
                  <a:moveTo>
                    <a:pt x="0" y="1413421"/>
                  </a:moveTo>
                  <a:cubicBezTo>
                    <a:pt x="963083" y="1441996"/>
                    <a:pt x="1926167" y="1470571"/>
                    <a:pt x="2578100" y="1400721"/>
                  </a:cubicBezTo>
                  <a:cubicBezTo>
                    <a:pt x="3230033" y="1330871"/>
                    <a:pt x="3675592" y="1240913"/>
                    <a:pt x="3911600" y="994321"/>
                  </a:cubicBezTo>
                  <a:cubicBezTo>
                    <a:pt x="4147608" y="747729"/>
                    <a:pt x="4269317" y="408004"/>
                    <a:pt x="3956050" y="149771"/>
                  </a:cubicBezTo>
                  <a:cubicBezTo>
                    <a:pt x="3642783" y="-108462"/>
                    <a:pt x="3154892" y="4779"/>
                    <a:pt x="2908300" y="206921"/>
                  </a:cubicBezTo>
                  <a:cubicBezTo>
                    <a:pt x="2661708" y="409063"/>
                    <a:pt x="2553758" y="758313"/>
                    <a:pt x="2667000" y="981621"/>
                  </a:cubicBezTo>
                  <a:cubicBezTo>
                    <a:pt x="2780242" y="1204929"/>
                    <a:pt x="3113617" y="1527721"/>
                    <a:pt x="3587750" y="1546771"/>
                  </a:cubicBezTo>
                  <a:cubicBezTo>
                    <a:pt x="4061883" y="1565821"/>
                    <a:pt x="4695825" y="1075813"/>
                    <a:pt x="5511800" y="1095921"/>
                  </a:cubicBezTo>
                  <a:cubicBezTo>
                    <a:pt x="6327775" y="1116029"/>
                    <a:pt x="6548967" y="1614504"/>
                    <a:pt x="7112000" y="1591221"/>
                  </a:cubicBezTo>
                  <a:cubicBezTo>
                    <a:pt x="7675033" y="1567938"/>
                    <a:pt x="8298391" y="1248321"/>
                    <a:pt x="8890000" y="956221"/>
                  </a:cubicBezTo>
                </a:path>
              </a:pathLst>
            </a:custGeom>
            <a:noFill/>
            <a:ln w="19050">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5" name="Medio marco 34"/>
            <p:cNvSpPr/>
            <p:nvPr/>
          </p:nvSpPr>
          <p:spPr>
            <a:xfrm rot="6898098">
              <a:off x="8778264" y="1561890"/>
              <a:ext cx="165068" cy="165068"/>
            </a:xfrm>
            <a:prstGeom prst="halfFrame">
              <a:avLst>
                <a:gd name="adj1" fmla="val 12626"/>
                <a:gd name="adj2" fmla="val 1290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5EB8"/>
                </a:solidFill>
              </a:endParaRPr>
            </a:p>
          </p:txBody>
        </p:sp>
      </p:grpSp>
      <p:sp>
        <p:nvSpPr>
          <p:cNvPr id="36" name="Title 1"/>
          <p:cNvSpPr>
            <a:spLocks noGrp="1"/>
          </p:cNvSpPr>
          <p:nvPr>
            <p:ph type="title" hasCustomPrompt="1"/>
          </p:nvPr>
        </p:nvSpPr>
        <p:spPr>
          <a:xfrm>
            <a:off x="115760" y="3533669"/>
            <a:ext cx="10057015" cy="622000"/>
          </a:xfrm>
        </p:spPr>
        <p:txBody>
          <a:bodyPr anchor="b"/>
          <a:lstStyle>
            <a:lvl1pPr algn="r">
              <a:lnSpc>
                <a:spcPct val="100000"/>
              </a:lnSpc>
              <a:defRPr sz="3600" baseline="0">
                <a:solidFill>
                  <a:schemeClr val="bg1"/>
                </a:solidFill>
                <a:latin typeface="+mj-lt"/>
              </a:defRPr>
            </a:lvl1pPr>
          </a:lstStyle>
          <a:p>
            <a:r>
              <a:rPr lang="en-GB" noProof="0"/>
              <a:t>Insert here your thank you</a:t>
            </a:r>
          </a:p>
        </p:txBody>
      </p:sp>
      <p:sp>
        <p:nvSpPr>
          <p:cNvPr id="37" name="TextBox 36"/>
          <p:cNvSpPr txBox="1"/>
          <p:nvPr userDrawn="1"/>
        </p:nvSpPr>
        <p:spPr>
          <a:xfrm>
            <a:off x="6809695" y="6444921"/>
            <a:ext cx="3942687" cy="276999"/>
          </a:xfrm>
          <a:prstGeom prst="rect">
            <a:avLst/>
          </a:prstGeom>
          <a:noFill/>
        </p:spPr>
        <p:txBody>
          <a:bodyPr wrap="square" rtlCol="0">
            <a:spAutoFit/>
          </a:bodyPr>
          <a:lstStyle/>
          <a:p>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38" name="Picture 37"/>
          <p:cNvPicPr>
            <a:picLocks noChangeAspect="1"/>
          </p:cNvPicPr>
          <p:nvPr userDrawn="1"/>
        </p:nvPicPr>
        <p:blipFill>
          <a:blip r:embed="rId4" cstate="screen">
            <a:biLevel thresh="25000"/>
            <a:extLst>
              <a:ext uri="{28A0092B-C50C-407E-A947-70E740481C1C}">
                <a14:useLocalDpi xmlns:a14="http://schemas.microsoft.com/office/drawing/2010/main"/>
              </a:ext>
            </a:extLst>
          </a:blip>
          <a:stretch>
            <a:fillRect/>
          </a:stretch>
        </p:blipFill>
        <p:spPr>
          <a:xfrm flipH="1">
            <a:off x="6584655" y="6402113"/>
            <a:ext cx="254224" cy="254224"/>
          </a:xfrm>
          <a:prstGeom prst="rect">
            <a:avLst/>
          </a:prstGeom>
        </p:spPr>
      </p:pic>
    </p:spTree>
    <p:extLst>
      <p:ext uri="{BB962C8B-B14F-4D97-AF65-F5344CB8AC3E}">
        <p14:creationId xmlns:p14="http://schemas.microsoft.com/office/powerpoint/2010/main" val="32889723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83873" y="899886"/>
            <a:ext cx="11022863" cy="4267200"/>
          </a:xfrm>
        </p:spPr>
        <p:txBody>
          <a:bodyPr anchor="b">
            <a:normAutofit/>
          </a:bodyPr>
          <a:lstStyle>
            <a:lvl1pPr>
              <a:lnSpc>
                <a:spcPct val="100000"/>
              </a:lnSpc>
              <a:defRPr sz="3200" baseline="0">
                <a:solidFill>
                  <a:schemeClr val="tx2"/>
                </a:solidFill>
                <a:latin typeface="+mj-lt"/>
              </a:defRPr>
            </a:lvl1pPr>
          </a:lstStyle>
          <a:p>
            <a:r>
              <a:rPr lang="en-GB" noProof="0" dirty="0"/>
              <a:t>“Click to insert your quote”</a:t>
            </a:r>
          </a:p>
        </p:txBody>
      </p:sp>
      <p:sp>
        <p:nvSpPr>
          <p:cNvPr id="6" name="Text Placeholder 19"/>
          <p:cNvSpPr>
            <a:spLocks noGrp="1"/>
          </p:cNvSpPr>
          <p:nvPr>
            <p:ph type="body" sz="quarter" idx="13"/>
          </p:nvPr>
        </p:nvSpPr>
        <p:spPr>
          <a:xfrm>
            <a:off x="283657" y="5240908"/>
            <a:ext cx="4602163" cy="498992"/>
          </a:xfrm>
          <a:prstGeom prst="rect">
            <a:avLst/>
          </a:prstGeom>
        </p:spPr>
        <p:txBody>
          <a:bodyPr>
            <a:noAutofit/>
          </a:bodyPr>
          <a:lstStyle>
            <a:lvl1pPr marL="0" indent="0">
              <a:lnSpc>
                <a:spcPts val="1425"/>
              </a:lnSpc>
              <a:buNone/>
              <a:defRPr sz="135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Tree>
    <p:extLst>
      <p:ext uri="{BB962C8B-B14F-4D97-AF65-F5344CB8AC3E}">
        <p14:creationId xmlns:p14="http://schemas.microsoft.com/office/powerpoint/2010/main" val="400093489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with photo background 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l">
              <a:buNone/>
              <a:defRPr sz="1800" b="1" baseline="0"/>
            </a:lvl1pPr>
          </a:lstStyle>
          <a:p>
            <a:r>
              <a:rPr lang="en-GB" noProof="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 name="Text Placeholder 97"/>
          <p:cNvSpPr>
            <a:spLocks noGrp="1"/>
          </p:cNvSpPr>
          <p:nvPr>
            <p:ph type="body" sz="quarter" idx="15" hasCustomPrompt="1"/>
          </p:nvPr>
        </p:nvSpPr>
        <p:spPr>
          <a:xfrm>
            <a:off x="7970109" y="5287278"/>
            <a:ext cx="3541587"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31" name="Title 1"/>
          <p:cNvSpPr>
            <a:spLocks noGrp="1"/>
          </p:cNvSpPr>
          <p:nvPr>
            <p:ph type="title" hasCustomPrompt="1"/>
          </p:nvPr>
        </p:nvSpPr>
        <p:spPr>
          <a:xfrm>
            <a:off x="6022110" y="2458245"/>
            <a:ext cx="5489593" cy="1727779"/>
          </a:xfrm>
        </p:spPr>
        <p:txBody>
          <a:bodyPr anchor="b"/>
          <a:lstStyle>
            <a:lvl1pPr algn="r">
              <a:lnSpc>
                <a:spcPct val="100000"/>
              </a:lnSpc>
              <a:defRPr baseline="0">
                <a:solidFill>
                  <a:schemeClr val="bg1"/>
                </a:solidFill>
                <a:latin typeface="+mj-lt"/>
              </a:defRPr>
            </a:lvl1pPr>
          </a:lstStyle>
          <a:p>
            <a:r>
              <a:rPr lang="en-GB" noProof="0"/>
              <a:t>Add your title here</a:t>
            </a:r>
          </a:p>
        </p:txBody>
      </p:sp>
      <p:sp>
        <p:nvSpPr>
          <p:cNvPr id="32" name="Text Placeholder 19"/>
          <p:cNvSpPr>
            <a:spLocks noGrp="1"/>
          </p:cNvSpPr>
          <p:nvPr>
            <p:ph type="body" sz="quarter" idx="13" hasCustomPrompt="1"/>
          </p:nvPr>
        </p:nvSpPr>
        <p:spPr>
          <a:xfrm>
            <a:off x="6021664" y="4373324"/>
            <a:ext cx="5490033" cy="498992"/>
          </a:xfrm>
          <a:prstGeom prst="rect">
            <a:avLst/>
          </a:prstGeom>
        </p:spPr>
        <p:txBody>
          <a:bodyPr>
            <a:noAutofit/>
          </a:bodyPr>
          <a:lstStyle>
            <a:lvl1pPr marL="0" indent="0" algn="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10" name="TextBox 9"/>
          <p:cNvSpPr txBox="1"/>
          <p:nvPr userDrawn="1"/>
        </p:nvSpPr>
        <p:spPr>
          <a:xfrm>
            <a:off x="7594886" y="6459588"/>
            <a:ext cx="3942687" cy="276999"/>
          </a:xfrm>
          <a:prstGeom prst="rect">
            <a:avLst/>
          </a:prstGeom>
          <a:noFill/>
        </p:spPr>
        <p:txBody>
          <a:bodyPr wrap="square" rtlCol="0">
            <a:spAutoFit/>
          </a:bodyPr>
          <a:lstStyle/>
          <a:p>
            <a:pPr algn="r"/>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2" name="Picture 11"/>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flipH="1">
            <a:off x="7369846" y="6416780"/>
            <a:ext cx="254224" cy="254224"/>
          </a:xfrm>
          <a:prstGeom prst="rect">
            <a:avLst/>
          </a:prstGeom>
        </p:spPr>
      </p:pic>
    </p:spTree>
    <p:extLst>
      <p:ext uri="{BB962C8B-B14F-4D97-AF65-F5344CB8AC3E}">
        <p14:creationId xmlns:p14="http://schemas.microsoft.com/office/powerpoint/2010/main" val="151349691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with photo ll">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4" name="Title 1"/>
          <p:cNvSpPr>
            <a:spLocks noGrp="1"/>
          </p:cNvSpPr>
          <p:nvPr>
            <p:ph type="title" hasCustomPrompt="1"/>
          </p:nvPr>
        </p:nvSpPr>
        <p:spPr>
          <a:xfrm>
            <a:off x="6807837" y="1160165"/>
            <a:ext cx="4601584" cy="1325563"/>
          </a:xfrm>
        </p:spPr>
        <p:txBody>
          <a:bodyPr anchor="b"/>
          <a:lstStyle>
            <a:lvl1pPr algn="r">
              <a:lnSpc>
                <a:spcPct val="100000"/>
              </a:lnSpc>
              <a:defRPr baseline="0">
                <a:solidFill>
                  <a:schemeClr val="bg1"/>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6807261" y="2698787"/>
            <a:ext cx="4602163" cy="978910"/>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8790229" y="5032983"/>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GB" noProof="0"/>
              <a:t>Insert Author, </a:t>
            </a:r>
            <a:br>
              <a:rPr lang="en-GB" noProof="0"/>
            </a:br>
            <a:r>
              <a:rPr lang="en-GB" noProof="0"/>
              <a:t>department, </a:t>
            </a:r>
            <a:br>
              <a:rPr lang="en-GB" noProof="0"/>
            </a:br>
            <a:r>
              <a:rPr lang="en-GB" noProof="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12" name="Marcador de posición de imagen 34"/>
          <p:cNvSpPr>
            <a:spLocks noGrp="1"/>
          </p:cNvSpPr>
          <p:nvPr>
            <p:ph type="pic" sz="quarter" idx="16" hasCustomPrompt="1"/>
          </p:nvPr>
        </p:nvSpPr>
        <p:spPr>
          <a:xfrm>
            <a:off x="-6547" y="1160164"/>
            <a:ext cx="4999609" cy="5774817"/>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wrap="square" anchor="ctr">
            <a:noAutofit/>
          </a:bodyPr>
          <a:lstStyle>
            <a:lvl1pPr marL="0" indent="0" algn="ctr">
              <a:buNone/>
              <a:defRPr baseline="0"/>
            </a:lvl1pPr>
          </a:lstStyle>
          <a:p>
            <a:br>
              <a:rPr lang="en-GB" noProof="0"/>
            </a:br>
            <a:br>
              <a:rPr lang="en-GB" noProof="0"/>
            </a:br>
            <a:br>
              <a:rPr lang="en-GB" noProof="0"/>
            </a:br>
            <a:br>
              <a:rPr lang="en-GB" noProof="0"/>
            </a:br>
            <a:r>
              <a:rPr lang="en-GB" noProof="0"/>
              <a:t>Insert your picture here</a:t>
            </a:r>
          </a:p>
        </p:txBody>
      </p:sp>
      <p:sp>
        <p:nvSpPr>
          <p:cNvPr id="32"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10" name="TextBox 9"/>
          <p:cNvSpPr txBox="1"/>
          <p:nvPr userDrawn="1"/>
        </p:nvSpPr>
        <p:spPr>
          <a:xfrm>
            <a:off x="7594886" y="6459588"/>
            <a:ext cx="3942687" cy="276999"/>
          </a:xfrm>
          <a:prstGeom prst="rect">
            <a:avLst/>
          </a:prstGeom>
          <a:noFill/>
        </p:spPr>
        <p:txBody>
          <a:bodyPr wrap="square" rtlCol="0">
            <a:spAutoFit/>
          </a:bodyPr>
          <a:lstStyle/>
          <a:p>
            <a:pPr algn="r"/>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1" name="Picture 10"/>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flipH="1">
            <a:off x="7429480" y="6416780"/>
            <a:ext cx="254224" cy="254224"/>
          </a:xfrm>
          <a:prstGeom prst="rect">
            <a:avLst/>
          </a:prstGeom>
        </p:spPr>
      </p:pic>
    </p:spTree>
    <p:extLst>
      <p:ext uri="{BB962C8B-B14F-4D97-AF65-F5344CB8AC3E}">
        <p14:creationId xmlns:p14="http://schemas.microsoft.com/office/powerpoint/2010/main" val="366971110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 NO photo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1" name="Freeform 5"/>
          <p:cNvSpPr>
            <a:spLocks/>
          </p:cNvSpPr>
          <p:nvPr userDrawn="1"/>
        </p:nvSpPr>
        <p:spPr bwMode="auto">
          <a:xfrm>
            <a:off x="3081003" y="996683"/>
            <a:ext cx="8241679" cy="5879190"/>
          </a:xfrm>
          <a:custGeom>
            <a:avLst/>
            <a:gdLst>
              <a:gd name="T0" fmla="*/ 1104 w 1265"/>
              <a:gd name="T1" fmla="*/ 110 h 903"/>
              <a:gd name="T2" fmla="*/ 427 w 1265"/>
              <a:gd name="T3" fmla="*/ 25 h 903"/>
              <a:gd name="T4" fmla="*/ 169 w 1265"/>
              <a:gd name="T5" fmla="*/ 59 h 903"/>
              <a:gd name="T6" fmla="*/ 169 w 1265"/>
              <a:gd name="T7" fmla="*/ 59 h 903"/>
              <a:gd name="T8" fmla="*/ 169 w 1265"/>
              <a:gd name="T9" fmla="*/ 59 h 903"/>
              <a:gd name="T10" fmla="*/ 82 w 1265"/>
              <a:gd name="T11" fmla="*/ 221 h 903"/>
              <a:gd name="T12" fmla="*/ 32 w 1265"/>
              <a:gd name="T13" fmla="*/ 407 h 903"/>
              <a:gd name="T14" fmla="*/ 190 w 1265"/>
              <a:gd name="T15" fmla="*/ 663 h 903"/>
              <a:gd name="T16" fmla="*/ 489 w 1265"/>
              <a:gd name="T17" fmla="*/ 903 h 903"/>
              <a:gd name="T18" fmla="*/ 1129 w 1265"/>
              <a:gd name="T19" fmla="*/ 903 h 903"/>
              <a:gd name="T20" fmla="*/ 1247 w 1265"/>
              <a:gd name="T21" fmla="*/ 327 h 903"/>
              <a:gd name="T22" fmla="*/ 1104 w 1265"/>
              <a:gd name="T23" fmla="*/ 11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5" h="903">
                <a:moveTo>
                  <a:pt x="1104" y="110"/>
                </a:moveTo>
                <a:cubicBezTo>
                  <a:pt x="427" y="25"/>
                  <a:pt x="427" y="25"/>
                  <a:pt x="427" y="25"/>
                </a:cubicBezTo>
                <a:cubicBezTo>
                  <a:pt x="338" y="16"/>
                  <a:pt x="243" y="0"/>
                  <a:pt x="169" y="59"/>
                </a:cubicBezTo>
                <a:cubicBezTo>
                  <a:pt x="169" y="59"/>
                  <a:pt x="169" y="59"/>
                  <a:pt x="169" y="59"/>
                </a:cubicBezTo>
                <a:cubicBezTo>
                  <a:pt x="169" y="59"/>
                  <a:pt x="169" y="59"/>
                  <a:pt x="169" y="59"/>
                </a:cubicBezTo>
                <a:cubicBezTo>
                  <a:pt x="117" y="101"/>
                  <a:pt x="99" y="158"/>
                  <a:pt x="82" y="221"/>
                </a:cubicBezTo>
                <a:cubicBezTo>
                  <a:pt x="32" y="407"/>
                  <a:pt x="32" y="407"/>
                  <a:pt x="32" y="407"/>
                </a:cubicBezTo>
                <a:cubicBezTo>
                  <a:pt x="0" y="523"/>
                  <a:pt x="113" y="599"/>
                  <a:pt x="190" y="663"/>
                </a:cubicBezTo>
                <a:cubicBezTo>
                  <a:pt x="190" y="663"/>
                  <a:pt x="355" y="796"/>
                  <a:pt x="489" y="903"/>
                </a:cubicBezTo>
                <a:cubicBezTo>
                  <a:pt x="1129" y="903"/>
                  <a:pt x="1129" y="903"/>
                  <a:pt x="1129" y="903"/>
                </a:cubicBezTo>
                <a:cubicBezTo>
                  <a:pt x="1247" y="327"/>
                  <a:pt x="1247" y="327"/>
                  <a:pt x="1247" y="327"/>
                </a:cubicBezTo>
                <a:cubicBezTo>
                  <a:pt x="1265" y="222"/>
                  <a:pt x="1211" y="126"/>
                  <a:pt x="1104" y="1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2235201" y="1801092"/>
            <a:ext cx="7467796" cy="1913318"/>
          </a:xfrm>
        </p:spPr>
        <p:txBody>
          <a:bodyPr anchor="b"/>
          <a:lstStyle>
            <a:lvl1pPr algn="r">
              <a:lnSpc>
                <a:spcPct val="100000"/>
              </a:lnSpc>
              <a:defRPr baseline="0">
                <a:solidFill>
                  <a:schemeClr val="tx2"/>
                </a:solidFill>
                <a:latin typeface="+mj-lt"/>
              </a:defRPr>
            </a:lvl1pPr>
          </a:lstStyle>
          <a:p>
            <a:r>
              <a:rPr lang="en-GB" noProof="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aseline="0">
                <a:solidFill>
                  <a:srgbClr val="323232"/>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3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13" name="TextBox 12"/>
          <p:cNvSpPr txBox="1"/>
          <p:nvPr userDrawn="1"/>
        </p:nvSpPr>
        <p:spPr>
          <a:xfrm>
            <a:off x="576472" y="6498269"/>
            <a:ext cx="3942687" cy="276999"/>
          </a:xfrm>
          <a:prstGeom prst="rect">
            <a:avLst/>
          </a:prstGeom>
          <a:noFill/>
        </p:spPr>
        <p:txBody>
          <a:bodyPr wrap="square" rtlCol="0">
            <a:spAutoFit/>
          </a:bodyPr>
          <a:lstStyle/>
          <a:p>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5" name="Picture 14"/>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flipH="1">
            <a:off x="4398708" y="6431234"/>
            <a:ext cx="254224" cy="254224"/>
          </a:xfrm>
          <a:prstGeom prst="rect">
            <a:avLst/>
          </a:prstGeom>
        </p:spPr>
      </p:pic>
    </p:spTree>
    <p:extLst>
      <p:ext uri="{BB962C8B-B14F-4D97-AF65-F5344CB8AC3E}">
        <p14:creationId xmlns:p14="http://schemas.microsoft.com/office/powerpoint/2010/main" val="22388930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 NO photo l">
    <p:bg>
      <p:bgPr>
        <a:solidFill>
          <a:schemeClr val="bg1"/>
        </a:solidFill>
        <a:effectLst/>
      </p:bgPr>
    </p:bg>
    <p:spTree>
      <p:nvGrpSpPr>
        <p:cNvPr id="1" name=""/>
        <p:cNvGrpSpPr/>
        <p:nvPr/>
      </p:nvGrpSpPr>
      <p:grpSpPr>
        <a:xfrm>
          <a:off x="0" y="0"/>
          <a:ext cx="0" cy="0"/>
          <a:chOff x="0" y="0"/>
          <a:chExt cx="0" cy="0"/>
        </a:xfrm>
      </p:grpSpPr>
      <p:sp>
        <p:nvSpPr>
          <p:cNvPr id="13" name="Rectangle 1"/>
          <p:cNvSpPr/>
          <p:nvPr userDrawn="1"/>
        </p:nvSpPr>
        <p:spPr>
          <a:xfrm>
            <a:off x="1905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1" name="Freeform 5"/>
          <p:cNvSpPr>
            <a:spLocks/>
          </p:cNvSpPr>
          <p:nvPr userDrawn="1"/>
        </p:nvSpPr>
        <p:spPr bwMode="auto">
          <a:xfrm>
            <a:off x="-21430" y="0"/>
            <a:ext cx="6740885" cy="6858000"/>
          </a:xfrm>
          <a:custGeom>
            <a:avLst/>
            <a:gdLst>
              <a:gd name="T0" fmla="*/ 1140 w 1200"/>
              <a:gd name="T1" fmla="*/ 388 h 988"/>
              <a:gd name="T2" fmla="*/ 1140 w 1200"/>
              <a:gd name="T3" fmla="*/ 388 h 988"/>
              <a:gd name="T4" fmla="*/ 1069 w 1200"/>
              <a:gd name="T5" fmla="*/ 7 h 988"/>
              <a:gd name="T6" fmla="*/ 1062 w 1200"/>
              <a:gd name="T7" fmla="*/ 0 h 988"/>
              <a:gd name="T8" fmla="*/ 0 w 1200"/>
              <a:gd name="T9" fmla="*/ 0 h 988"/>
              <a:gd name="T10" fmla="*/ 0 w 1200"/>
              <a:gd name="T11" fmla="*/ 988 h 988"/>
              <a:gd name="T12" fmla="*/ 479 w 1200"/>
              <a:gd name="T13" fmla="*/ 988 h 988"/>
              <a:gd name="T14" fmla="*/ 986 w 1200"/>
              <a:gd name="T15" fmla="*/ 561 h 988"/>
              <a:gd name="T16" fmla="*/ 1140 w 1200"/>
              <a:gd name="T17" fmla="*/ 3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0" h="988">
                <a:moveTo>
                  <a:pt x="1140" y="388"/>
                </a:moveTo>
                <a:cubicBezTo>
                  <a:pt x="1140" y="388"/>
                  <a:pt x="1140" y="388"/>
                  <a:pt x="1140" y="388"/>
                </a:cubicBezTo>
                <a:cubicBezTo>
                  <a:pt x="1200" y="262"/>
                  <a:pt x="1167" y="104"/>
                  <a:pt x="1069" y="7"/>
                </a:cubicBezTo>
                <a:cubicBezTo>
                  <a:pt x="1067" y="4"/>
                  <a:pt x="1064" y="2"/>
                  <a:pt x="1062" y="0"/>
                </a:cubicBezTo>
                <a:cubicBezTo>
                  <a:pt x="0" y="0"/>
                  <a:pt x="0" y="0"/>
                  <a:pt x="0" y="0"/>
                </a:cubicBezTo>
                <a:cubicBezTo>
                  <a:pt x="0" y="988"/>
                  <a:pt x="0" y="988"/>
                  <a:pt x="0" y="988"/>
                </a:cubicBezTo>
                <a:cubicBezTo>
                  <a:pt x="479" y="988"/>
                  <a:pt x="479" y="988"/>
                  <a:pt x="479" y="988"/>
                </a:cubicBezTo>
                <a:cubicBezTo>
                  <a:pt x="986" y="561"/>
                  <a:pt x="986" y="561"/>
                  <a:pt x="986" y="561"/>
                </a:cubicBezTo>
                <a:cubicBezTo>
                  <a:pt x="1045" y="511"/>
                  <a:pt x="1105" y="463"/>
                  <a:pt x="1140" y="388"/>
                </a:cubicBezTo>
                <a:close/>
              </a:path>
            </a:pathLst>
          </a:custGeom>
          <a:gradFill>
            <a:gsLst>
              <a:gs pos="0">
                <a:srgbClr val="005EB8"/>
              </a:gs>
              <a:gs pos="100000">
                <a:srgbClr val="00A9E0">
                  <a:alpha val="70999"/>
                </a:srgbClr>
              </a:gs>
            </a:gsLst>
            <a:lin ang="5400000" scaled="1"/>
          </a:gradFill>
          <a:ln>
            <a:noFill/>
          </a:ln>
        </p:spPr>
        <p:txBody>
          <a:bodyPr vert="horz" wrap="square" lIns="68580" tIns="34290" rIns="68580" bIns="34290" numCol="1" anchor="t" anchorCtr="0" compatLnSpc="1">
            <a:prstTxWarp prst="textNoShape">
              <a:avLst/>
            </a:prstTxWarp>
          </a:bodyPr>
          <a:lstStyle/>
          <a:p>
            <a:endParaRPr lang="en-GB" sz="1350">
              <a:solidFill>
                <a:srgbClr val="005EB8"/>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6" name="Title 1"/>
          <p:cNvSpPr>
            <a:spLocks noGrp="1"/>
          </p:cNvSpPr>
          <p:nvPr>
            <p:ph type="title" hasCustomPrompt="1"/>
          </p:nvPr>
        </p:nvSpPr>
        <p:spPr>
          <a:xfrm>
            <a:off x="950456" y="549276"/>
            <a:ext cx="5877064" cy="3213981"/>
          </a:xfrm>
        </p:spPr>
        <p:txBody>
          <a:bodyPr anchor="b"/>
          <a:lstStyle>
            <a:lvl1pPr algn="l">
              <a:lnSpc>
                <a:spcPct val="100000"/>
              </a:lnSpc>
              <a:defRPr baseline="0">
                <a:solidFill>
                  <a:schemeClr val="bg1"/>
                </a:solidFill>
                <a:latin typeface="+mj-lt"/>
              </a:defRPr>
            </a:lvl1pPr>
          </a:lstStyle>
          <a:p>
            <a:r>
              <a:rPr lang="en-GB" noProof="0"/>
              <a:t>Add your title here</a:t>
            </a:r>
          </a:p>
        </p:txBody>
      </p:sp>
      <p:sp>
        <p:nvSpPr>
          <p:cNvPr id="17" name="Text Placeholder 19"/>
          <p:cNvSpPr>
            <a:spLocks noGrp="1"/>
          </p:cNvSpPr>
          <p:nvPr>
            <p:ph type="body" sz="quarter" idx="13" hasCustomPrompt="1"/>
          </p:nvPr>
        </p:nvSpPr>
        <p:spPr>
          <a:xfrm>
            <a:off x="950249" y="3863657"/>
            <a:ext cx="4231352" cy="1045757"/>
          </a:xfrm>
          <a:prstGeom prst="rect">
            <a:avLst/>
          </a:prstGeom>
        </p:spPr>
        <p:txBody>
          <a:bodyPr>
            <a:noAutofit/>
          </a:bodyPr>
          <a:lstStyle>
            <a:lvl1pPr marL="0" indent="0" algn="l">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8" name="Text Placeholder 97"/>
          <p:cNvSpPr>
            <a:spLocks noGrp="1"/>
          </p:cNvSpPr>
          <p:nvPr>
            <p:ph type="body" sz="quarter" idx="16" hasCustomPrompt="1"/>
          </p:nvPr>
        </p:nvSpPr>
        <p:spPr>
          <a:xfrm>
            <a:off x="950258" y="5438785"/>
            <a:ext cx="2619201" cy="1058862"/>
          </a:xfrm>
          <a:prstGeom prst="rect">
            <a:avLst/>
          </a:prstGeom>
        </p:spPr>
        <p:txBody>
          <a:bodyPr anchor="b">
            <a:normAutofit/>
          </a:bodyPr>
          <a:lstStyle>
            <a:lvl1pPr marL="0" indent="0" algn="l">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34"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92898" y="6402113"/>
            <a:ext cx="254224" cy="254224"/>
          </a:xfrm>
          <a:prstGeom prst="rect">
            <a:avLst/>
          </a:prstGeom>
        </p:spPr>
      </p:pic>
      <p:sp>
        <p:nvSpPr>
          <p:cNvPr id="22" name="TextBox 21"/>
          <p:cNvSpPr txBox="1"/>
          <p:nvPr userDrawn="1"/>
        </p:nvSpPr>
        <p:spPr>
          <a:xfrm>
            <a:off x="7594886" y="6459588"/>
            <a:ext cx="3942687" cy="276999"/>
          </a:xfrm>
          <a:prstGeom prst="rect">
            <a:avLst/>
          </a:prstGeom>
          <a:noFill/>
        </p:spPr>
        <p:txBody>
          <a:bodyPr wrap="square" rtlCol="0">
            <a:spAutoFit/>
          </a:bodyPr>
          <a:lstStyle/>
          <a:p>
            <a:pPr algn="r"/>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spTree>
    <p:extLst>
      <p:ext uri="{BB962C8B-B14F-4D97-AF65-F5344CB8AC3E}">
        <p14:creationId xmlns:p14="http://schemas.microsoft.com/office/powerpoint/2010/main" val="2475748416"/>
      </p:ext>
    </p:extLst>
  </p:cSld>
  <p:clrMapOvr>
    <a:masterClrMapping/>
  </p:clrMapOvr>
  <p:extLst mod="1">
    <p:ext uri="{DCECCB84-F9BA-43D5-87BE-67443E8EF086}">
      <p15:sldGuideLst xmlns:p15="http://schemas.microsoft.com/office/powerpoint/2012/main">
        <p15:guide id="1" orient="horz" pos="4065">
          <p15:clr>
            <a:srgbClr val="FBAE40"/>
          </p15:clr>
        </p15:guide>
        <p15:guide id="2" orient="horz" pos="34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lumMod val="50000"/>
                  </a:schemeClr>
                </a:solidFill>
              </a:defRPr>
            </a:lvl1pPr>
          </a:lstStyle>
          <a:p>
            <a:pPr marL="0" lvl="0" algn="ctr" defTabSz="342875">
              <a:lnSpc>
                <a:spcPts val="3075"/>
              </a:lnSpc>
            </a:pPr>
            <a:r>
              <a:rPr lang="en-GB" noProof="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GB" noProof="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12" name="TextBox 11"/>
          <p:cNvSpPr txBox="1"/>
          <p:nvPr userDrawn="1"/>
        </p:nvSpPr>
        <p:spPr>
          <a:xfrm>
            <a:off x="6809695" y="6444921"/>
            <a:ext cx="3942687" cy="276999"/>
          </a:xfrm>
          <a:prstGeom prst="rect">
            <a:avLst/>
          </a:prstGeom>
          <a:noFill/>
        </p:spPr>
        <p:txBody>
          <a:bodyPr wrap="square" rtlCol="0">
            <a:spAutoFit/>
          </a:bodyPr>
          <a:lstStyle/>
          <a:p>
            <a:pPr algn="r"/>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3" name="Picture 12"/>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flipH="1">
            <a:off x="6624411" y="6402113"/>
            <a:ext cx="254224" cy="254224"/>
          </a:xfrm>
          <a:prstGeom prst="rect">
            <a:avLst/>
          </a:prstGeom>
        </p:spPr>
      </p:pic>
    </p:spTree>
    <p:extLst>
      <p:ext uri="{BB962C8B-B14F-4D97-AF65-F5344CB8AC3E}">
        <p14:creationId xmlns:p14="http://schemas.microsoft.com/office/powerpoint/2010/main" val="35816020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s-ES" smtClean="0">
                <a:solidFill>
                  <a:srgbClr val="FFFFFF">
                    <a:lumMod val="50000"/>
                  </a:srgbClr>
                </a:solidFill>
              </a:rPr>
              <a:pPr/>
              <a:t>‹#›</a:t>
            </a:fld>
            <a:endParaRPr lang="es-ES" dirty="0">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2016 Amadeus IT Group and its affiliates and subsidiaries</a:t>
            </a:r>
            <a:endParaRPr lang="es-ES" dirty="0">
              <a:solidFill>
                <a:srgbClr val="FFFFFF">
                  <a:lumMod val="65000"/>
                </a:srgbClr>
              </a:solidFill>
            </a:endParaRPr>
          </a:p>
        </p:txBody>
      </p:sp>
      <p:sp>
        <p:nvSpPr>
          <p:cNvPr id="17" name="Title 1"/>
          <p:cNvSpPr>
            <a:spLocks noGrp="1"/>
          </p:cNvSpPr>
          <p:nvPr>
            <p:ph type="title"/>
          </p:nvPr>
        </p:nvSpPr>
        <p:spPr>
          <a:xfrm>
            <a:off x="268224" y="296865"/>
            <a:ext cx="11253216" cy="482549"/>
          </a:xfrm>
        </p:spPr>
        <p:txBody>
          <a:bodyPr anchor="t">
            <a:noAutofit/>
          </a:bodyPr>
          <a:lstStyle>
            <a:lvl1pPr>
              <a:defRPr sz="4000">
                <a:solidFill>
                  <a:schemeClr val="tx2"/>
                </a:solidFill>
                <a:latin typeface="+mj-lt"/>
              </a:defRPr>
            </a:lvl1pPr>
          </a:lstStyle>
          <a:p>
            <a:r>
              <a:rPr lang="en-GB" noProof="0" dirty="0" err="1"/>
              <a:t>Clic</a:t>
            </a:r>
            <a:r>
              <a:rPr lang="en-GB" noProof="0" dirty="0"/>
              <a:t> </a:t>
            </a:r>
            <a:r>
              <a:rPr lang="en-GB" noProof="0" dirty="0" err="1"/>
              <a:t>para</a:t>
            </a:r>
            <a:r>
              <a:rPr lang="en-GB" noProof="0" dirty="0"/>
              <a:t> </a:t>
            </a:r>
            <a:r>
              <a:rPr lang="en-GB" noProof="0" dirty="0" err="1"/>
              <a:t>editar</a:t>
            </a:r>
            <a:r>
              <a:rPr lang="en-GB" noProof="0" dirty="0"/>
              <a:t> </a:t>
            </a:r>
            <a:r>
              <a:rPr lang="en-GB" noProof="0" dirty="0" err="1"/>
              <a:t>título</a:t>
            </a:r>
            <a:endParaRPr lang="en-GB" noProof="0" dirty="0"/>
          </a:p>
        </p:txBody>
      </p:sp>
      <p:sp>
        <p:nvSpPr>
          <p:cNvPr id="18" name="Text Placeholder 19"/>
          <p:cNvSpPr>
            <a:spLocks noGrp="1"/>
          </p:cNvSpPr>
          <p:nvPr>
            <p:ph type="body" sz="quarter" idx="13"/>
          </p:nvPr>
        </p:nvSpPr>
        <p:spPr>
          <a:xfrm>
            <a:off x="268224" y="877102"/>
            <a:ext cx="11252997" cy="300087"/>
          </a:xfrm>
          <a:prstGeom prst="rect">
            <a:avLst/>
          </a:prstGeom>
        </p:spPr>
        <p:txBody>
          <a:bodyPr>
            <a:noAutofit/>
          </a:bodyPr>
          <a:lstStyle>
            <a:lvl1pPr marL="0" indent="0">
              <a:lnSpc>
                <a:spcPct val="100000"/>
              </a:lnSpc>
              <a:buNone/>
              <a:defRPr sz="2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err="1"/>
              <a:t>Haga</a:t>
            </a:r>
            <a:r>
              <a:rPr lang="en-GB" noProof="0" dirty="0"/>
              <a:t> </a:t>
            </a:r>
            <a:r>
              <a:rPr lang="en-GB" noProof="0" dirty="0" err="1"/>
              <a:t>clic</a:t>
            </a:r>
            <a:r>
              <a:rPr lang="en-GB" noProof="0" dirty="0"/>
              <a:t> </a:t>
            </a:r>
            <a:r>
              <a:rPr lang="en-GB" noProof="0" dirty="0" err="1"/>
              <a:t>para</a:t>
            </a:r>
            <a:r>
              <a:rPr lang="en-GB" noProof="0" dirty="0"/>
              <a:t> </a:t>
            </a:r>
            <a:r>
              <a:rPr lang="en-GB" noProof="0" dirty="0" err="1"/>
              <a:t>modificar</a:t>
            </a:r>
            <a:r>
              <a:rPr lang="en-GB" noProof="0" dirty="0"/>
              <a:t> el </a:t>
            </a:r>
            <a:r>
              <a:rPr lang="en-GB" noProof="0" dirty="0" err="1"/>
              <a:t>estilo</a:t>
            </a:r>
            <a:r>
              <a:rPr lang="en-GB" noProof="0" dirty="0"/>
              <a:t> de </a:t>
            </a:r>
            <a:r>
              <a:rPr lang="en-GB" noProof="0" dirty="0" err="1"/>
              <a:t>texto</a:t>
            </a:r>
            <a:r>
              <a:rPr lang="en-GB" noProof="0" dirty="0"/>
              <a:t> del </a:t>
            </a:r>
            <a:r>
              <a:rPr lang="en-GB" noProof="0" dirty="0" err="1"/>
              <a:t>patrón</a:t>
            </a:r>
            <a:endParaRPr lang="en-GB" noProof="0" dirty="0"/>
          </a:p>
        </p:txBody>
      </p:sp>
    </p:spTree>
    <p:extLst>
      <p:ext uri="{BB962C8B-B14F-4D97-AF65-F5344CB8AC3E}">
        <p14:creationId xmlns:p14="http://schemas.microsoft.com/office/powerpoint/2010/main" val="20665819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268224" y="296865"/>
            <a:ext cx="11253216" cy="482549"/>
          </a:xfrm>
          <a:prstGeom prst="rect">
            <a:avLst/>
          </a:prstGeom>
        </p:spPr>
        <p:txBody>
          <a:bodyPr anchor="t">
            <a:noAutofit/>
          </a:bodyPr>
          <a:lstStyle>
            <a:lvl1pPr>
              <a:defRPr sz="2800">
                <a:solidFill>
                  <a:schemeClr val="tx2"/>
                </a:solidFill>
                <a:latin typeface="+mj-lt"/>
              </a:defRPr>
            </a:lvl1pPr>
          </a:lstStyle>
          <a:p>
            <a:r>
              <a:rPr lang="en-GB" noProof="0" dirty="0"/>
              <a:t>Add your title here</a:t>
            </a:r>
          </a:p>
        </p:txBody>
      </p:sp>
      <p:sp>
        <p:nvSpPr>
          <p:cNvPr id="16" name="Text Placeholder 19"/>
          <p:cNvSpPr>
            <a:spLocks noGrp="1"/>
          </p:cNvSpPr>
          <p:nvPr>
            <p:ph type="body" sz="quarter" idx="13" hasCustomPrompt="1"/>
          </p:nvPr>
        </p:nvSpPr>
        <p:spPr>
          <a:xfrm>
            <a:off x="268224" y="789351"/>
            <a:ext cx="1125299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9" name="Marcador de texto 2"/>
          <p:cNvSpPr>
            <a:spLocks noGrp="1"/>
          </p:cNvSpPr>
          <p:nvPr>
            <p:ph type="body" sz="quarter" idx="18" hasCustomPrompt="1"/>
          </p:nvPr>
        </p:nvSpPr>
        <p:spPr>
          <a:xfrm>
            <a:off x="292609" y="1480159"/>
            <a:ext cx="11228409" cy="4298341"/>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Tree>
    <p:extLst>
      <p:ext uri="{BB962C8B-B14F-4D97-AF65-F5344CB8AC3E}">
        <p14:creationId xmlns:p14="http://schemas.microsoft.com/office/powerpoint/2010/main" val="281251690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7" name="Title 1"/>
          <p:cNvSpPr>
            <a:spLocks noGrp="1"/>
          </p:cNvSpPr>
          <p:nvPr>
            <p:ph type="title" hasCustomPrompt="1"/>
          </p:nvPr>
        </p:nvSpPr>
        <p:spPr>
          <a:xfrm>
            <a:off x="268224" y="296865"/>
            <a:ext cx="11253216" cy="482549"/>
          </a:xfrm>
          <a:prstGeom prst="rect">
            <a:avLst/>
          </a:prstGeom>
        </p:spPr>
        <p:txBody>
          <a:bodyPr anchor="t">
            <a:noAutofit/>
          </a:bodyPr>
          <a:lstStyle>
            <a:lvl1pPr>
              <a:defRPr sz="2800">
                <a:solidFill>
                  <a:schemeClr val="tx2"/>
                </a:solidFill>
                <a:latin typeface="+mj-lt"/>
              </a:defRPr>
            </a:lvl1pPr>
          </a:lstStyle>
          <a:p>
            <a:r>
              <a:rPr lang="en-GB" noProof="0" dirty="0"/>
              <a:t>Add your title here</a:t>
            </a:r>
          </a:p>
        </p:txBody>
      </p:sp>
      <p:sp>
        <p:nvSpPr>
          <p:cNvPr id="10" name="Text Placeholder 19"/>
          <p:cNvSpPr>
            <a:spLocks noGrp="1"/>
          </p:cNvSpPr>
          <p:nvPr>
            <p:ph type="body" sz="quarter" idx="13" hasCustomPrompt="1"/>
          </p:nvPr>
        </p:nvSpPr>
        <p:spPr>
          <a:xfrm>
            <a:off x="268224" y="795425"/>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22036920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with photo background and shap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ctr">
              <a:buNone/>
              <a:defRPr sz="1800" b="1" baseline="0"/>
            </a:lvl1pPr>
          </a:lstStyle>
          <a:p>
            <a:pPr lvl="0"/>
            <a:r>
              <a:rPr lang="en-GB" noProof="0" dirty="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95" name="Title 1"/>
          <p:cNvSpPr>
            <a:spLocks noGrp="1"/>
          </p:cNvSpPr>
          <p:nvPr>
            <p:ph type="title" hasCustomPrompt="1"/>
          </p:nvPr>
        </p:nvSpPr>
        <p:spPr>
          <a:xfrm>
            <a:off x="576472" y="2090517"/>
            <a:ext cx="4958914" cy="1178168"/>
          </a:xfrm>
        </p:spPr>
        <p:txBody>
          <a:bodyPr anchor="b"/>
          <a:lstStyle>
            <a:lvl1pPr>
              <a:lnSpc>
                <a:spcPct val="100000"/>
              </a:lnSpc>
              <a:defRPr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576265" y="3425413"/>
            <a:ext cx="4602163" cy="498992"/>
          </a:xfrm>
          <a:prstGeom prst="rect">
            <a:avLst/>
          </a:prstGeom>
        </p:spPr>
        <p:txBody>
          <a:bodyPr>
            <a:noAutofit/>
          </a:bodyPr>
          <a:lstStyle>
            <a:lvl1pPr marL="0" indent="0">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36826106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with photo and blu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
        <p:nvSpPr>
          <p:cNvPr id="11" name="Marcador de posición de imagen 17"/>
          <p:cNvSpPr>
            <a:spLocks noGrp="1"/>
          </p:cNvSpPr>
          <p:nvPr>
            <p:ph type="pic" sz="quarter" idx="16" hasCustomPrompt="1"/>
          </p:nvPr>
        </p:nvSpPr>
        <p:spPr>
          <a:xfrm>
            <a:off x="6235700" y="777732"/>
            <a:ext cx="5966653" cy="6096072"/>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20"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21" name="Imagen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1555" y="633583"/>
            <a:ext cx="3830824" cy="1335474"/>
          </a:xfrm>
          <a:prstGeom prst="rect">
            <a:avLst/>
          </a:prstGeom>
        </p:spPr>
      </p:pic>
    </p:spTree>
    <p:extLst>
      <p:ext uri="{BB962C8B-B14F-4D97-AF65-F5344CB8AC3E}">
        <p14:creationId xmlns:p14="http://schemas.microsoft.com/office/powerpoint/2010/main" val="4344282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2" name="Rectángulo 1"/>
          <p:cNvSpPr/>
          <p:nvPr userDrawn="1"/>
        </p:nvSpPr>
        <p:spPr>
          <a:xfrm>
            <a:off x="0" y="5828996"/>
            <a:ext cx="3781425" cy="1029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Content Placeholder 5"/>
          <p:cNvSpPr>
            <a:spLocks noGrp="1"/>
          </p:cNvSpPr>
          <p:nvPr>
            <p:ph sz="quarter" idx="4"/>
          </p:nvPr>
        </p:nvSpPr>
        <p:spPr>
          <a:xfrm>
            <a:off x="304085" y="4034980"/>
            <a:ext cx="3630108" cy="2240292"/>
          </a:xfrm>
          <a:prstGeom prst="rect">
            <a:avLst/>
          </a:prstGeom>
        </p:spPr>
        <p:txBody>
          <a:bodyPr anchor="b">
            <a:noAutofit/>
          </a:bodyPr>
          <a:lstStyle>
            <a:lvl1pPr marL="0" indent="0">
              <a:lnSpc>
                <a:spcPct val="100000"/>
              </a:lnSpc>
              <a:spcAft>
                <a:spcPts val="900"/>
              </a:spcAft>
              <a:buNone/>
              <a:defRPr sz="20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US" noProof="0"/>
              <a:t>Click to edit Master text styles</a:t>
            </a:r>
          </a:p>
        </p:txBody>
      </p:sp>
      <p:sp>
        <p:nvSpPr>
          <p:cNvPr id="36" name="Marcador de número de diapositiva 32"/>
          <p:cNvSpPr>
            <a:spLocks noGrp="1"/>
          </p:cNvSpPr>
          <p:nvPr>
            <p:ph type="sldNum" sz="quarter" idx="31"/>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6" name="Picture Placeholder 59"/>
          <p:cNvSpPr>
            <a:spLocks noGrp="1"/>
          </p:cNvSpPr>
          <p:nvPr>
            <p:ph type="pic" sz="quarter" idx="22" hasCustomPrompt="1"/>
          </p:nvPr>
        </p:nvSpPr>
        <p:spPr>
          <a:xfrm>
            <a:off x="6217528" y="13343"/>
            <a:ext cx="5956887" cy="4900446"/>
          </a:xfrm>
          <a:custGeom>
            <a:avLst/>
            <a:gdLst>
              <a:gd name="connsiteX0" fmla="*/ 1507176 w 7526189"/>
              <a:gd name="connsiteY0" fmla="*/ 0 h 4900446"/>
              <a:gd name="connsiteX1" fmla="*/ 7526189 w 7526189"/>
              <a:gd name="connsiteY1" fmla="*/ 0 h 4900446"/>
              <a:gd name="connsiteX2" fmla="*/ 7526189 w 7526189"/>
              <a:gd name="connsiteY2" fmla="*/ 3753700 h 4900446"/>
              <a:gd name="connsiteX3" fmla="*/ 416883 w 7526189"/>
              <a:gd name="connsiteY3" fmla="*/ 3876833 h 4900446"/>
              <a:gd name="connsiteX4" fmla="*/ 1507176 w 7526189"/>
              <a:gd name="connsiteY4" fmla="*/ 0 h 490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6189" h="4900446">
                <a:moveTo>
                  <a:pt x="1507176" y="0"/>
                </a:moveTo>
                <a:lnTo>
                  <a:pt x="7526189" y="0"/>
                </a:lnTo>
                <a:cubicBezTo>
                  <a:pt x="7526189" y="0"/>
                  <a:pt x="7526189" y="0"/>
                  <a:pt x="7526189" y="3753700"/>
                </a:cubicBezTo>
                <a:cubicBezTo>
                  <a:pt x="6581517" y="4171607"/>
                  <a:pt x="1660265" y="6037263"/>
                  <a:pt x="416883" y="3876833"/>
                </a:cubicBezTo>
                <a:cubicBezTo>
                  <a:pt x="-852636" y="1667897"/>
                  <a:pt x="1148723" y="235073"/>
                  <a:pt x="1507176" y="0"/>
                </a:cubicBezTo>
                <a:close/>
              </a:path>
            </a:pathLst>
          </a:custGeom>
          <a:solidFill>
            <a:srgbClr val="ECECEC"/>
          </a:solidFill>
        </p:spPr>
        <p:txBody>
          <a:bodyPr wrap="square" anchor="ctr">
            <a:noAutofit/>
          </a:bodyPr>
          <a:lstStyle>
            <a:lvl1pPr marL="0" indent="0" algn="ctr">
              <a:buNone/>
              <a:defRPr/>
            </a:lvl1pPr>
          </a:lstStyle>
          <a:p>
            <a:br>
              <a:rPr lang="en-GB" noProof="0" dirty="0"/>
            </a:br>
            <a:br>
              <a:rPr lang="en-GB" noProof="0" dirty="0"/>
            </a:br>
            <a:r>
              <a:rPr lang="en-GB" noProof="0" dirty="0"/>
              <a:t>Insert your picture here</a:t>
            </a:r>
          </a:p>
        </p:txBody>
      </p:sp>
      <p:sp>
        <p:nvSpPr>
          <p:cNvPr id="17" name="Text Placeholder 68"/>
          <p:cNvSpPr>
            <a:spLocks noGrp="1"/>
          </p:cNvSpPr>
          <p:nvPr>
            <p:ph type="body" sz="quarter" idx="23" hasCustomPrompt="1"/>
          </p:nvPr>
        </p:nvSpPr>
        <p:spPr>
          <a:xfrm>
            <a:off x="5759505" y="1091922"/>
            <a:ext cx="1440000" cy="1438317"/>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CE0058"/>
          </a:solidFill>
        </p:spPr>
        <p:txBody>
          <a:bodyPr wrap="square" tIns="864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18" name="Text Placeholder 70"/>
          <p:cNvSpPr>
            <a:spLocks noGrp="1"/>
          </p:cNvSpPr>
          <p:nvPr>
            <p:ph type="body" sz="quarter" idx="24" hasCustomPrompt="1"/>
          </p:nvPr>
        </p:nvSpPr>
        <p:spPr>
          <a:xfrm>
            <a:off x="5883419" y="1517411"/>
            <a:ext cx="1205942" cy="463831"/>
          </a:xfrm>
          <a:prstGeom prst="rect">
            <a:avLst/>
          </a:prstGeom>
        </p:spPr>
        <p:txBody>
          <a:bodyPr>
            <a:noAutofit/>
          </a:bodyPr>
          <a:lstStyle>
            <a:lvl1pPr marL="0" indent="0" algn="ctr">
              <a:buNone/>
              <a:defRPr sz="2700">
                <a:solidFill>
                  <a:schemeClr val="bg1"/>
                </a:solidFill>
              </a:defRPr>
            </a:lvl1pPr>
          </a:lstStyle>
          <a:p>
            <a:pPr lvl="0"/>
            <a:r>
              <a:rPr lang="en-GB" noProof="0" dirty="0"/>
              <a:t>Numb</a:t>
            </a:r>
          </a:p>
        </p:txBody>
      </p:sp>
      <p:sp>
        <p:nvSpPr>
          <p:cNvPr id="19" name="Text Placeholder 71"/>
          <p:cNvSpPr>
            <a:spLocks noGrp="1"/>
          </p:cNvSpPr>
          <p:nvPr>
            <p:ph type="body" sz="quarter" idx="25" hasCustomPrompt="1"/>
          </p:nvPr>
        </p:nvSpPr>
        <p:spPr>
          <a:xfrm>
            <a:off x="6415026" y="3686660"/>
            <a:ext cx="2124000" cy="2124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2"/>
          </a:solidFill>
        </p:spPr>
        <p:txBody>
          <a:bodyPr wrap="square" tIns="1368000">
            <a:noAutofit/>
          </a:bodyPr>
          <a:lstStyle>
            <a:lvl1pPr marL="0" indent="0" algn="ctr">
              <a:lnSpc>
                <a:spcPct val="50000"/>
              </a:lnSpc>
              <a:spcBef>
                <a:spcPts val="450"/>
              </a:spcBef>
              <a:buNone/>
              <a:defRPr sz="1800" baseline="0">
                <a:solidFill>
                  <a:schemeClr val="bg1"/>
                </a:solidFill>
              </a:defRPr>
            </a:lvl1pPr>
            <a:lvl2pPr algn="ctr">
              <a:defRPr/>
            </a:lvl2pPr>
          </a:lstStyle>
          <a:p>
            <a:pPr lvl="0"/>
            <a:r>
              <a:rPr lang="en-GB" noProof="0" dirty="0"/>
              <a:t>Click to edit</a:t>
            </a:r>
          </a:p>
        </p:txBody>
      </p:sp>
      <p:sp>
        <p:nvSpPr>
          <p:cNvPr id="20" name="Text Placeholder 70"/>
          <p:cNvSpPr>
            <a:spLocks noGrp="1"/>
          </p:cNvSpPr>
          <p:nvPr>
            <p:ph type="body" sz="quarter" idx="26" hasCustomPrompt="1"/>
          </p:nvPr>
        </p:nvSpPr>
        <p:spPr>
          <a:xfrm>
            <a:off x="6453877" y="4415153"/>
            <a:ext cx="1939187" cy="615030"/>
          </a:xfrm>
          <a:prstGeom prst="rect">
            <a:avLst/>
          </a:prstGeom>
        </p:spPr>
        <p:txBody>
          <a:bodyPr>
            <a:noAutofit/>
          </a:bodyPr>
          <a:lstStyle>
            <a:lvl1pPr marL="0" indent="0" algn="ctr">
              <a:buNone/>
              <a:defRPr sz="4050">
                <a:solidFill>
                  <a:schemeClr val="bg1"/>
                </a:solidFill>
              </a:defRPr>
            </a:lvl1pPr>
          </a:lstStyle>
          <a:p>
            <a:pPr lvl="0"/>
            <a:r>
              <a:rPr lang="en-GB" noProof="0" dirty="0"/>
              <a:t>Numb</a:t>
            </a:r>
          </a:p>
        </p:txBody>
      </p:sp>
      <p:sp>
        <p:nvSpPr>
          <p:cNvPr id="21" name="Text Placeholder 73"/>
          <p:cNvSpPr>
            <a:spLocks noGrp="1"/>
          </p:cNvSpPr>
          <p:nvPr>
            <p:ph type="body" sz="quarter" idx="27" hasCustomPrompt="1"/>
          </p:nvPr>
        </p:nvSpPr>
        <p:spPr>
          <a:xfrm>
            <a:off x="8897242" y="3748156"/>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1"/>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22" name="Text Placeholder 70"/>
          <p:cNvSpPr>
            <a:spLocks noGrp="1"/>
          </p:cNvSpPr>
          <p:nvPr>
            <p:ph type="body" sz="quarter" idx="28" hasCustomPrompt="1"/>
          </p:nvPr>
        </p:nvSpPr>
        <p:spPr>
          <a:xfrm>
            <a:off x="8950110" y="4216184"/>
            <a:ext cx="1266262" cy="414083"/>
          </a:xfrm>
          <a:prstGeom prst="rect">
            <a:avLst/>
          </a:prstGeom>
        </p:spPr>
        <p:txBody>
          <a:bodyPr>
            <a:noAutofit/>
          </a:bodyPr>
          <a:lstStyle>
            <a:lvl1pPr marL="0" indent="0" algn="ctr">
              <a:buNone/>
              <a:defRPr sz="2700">
                <a:solidFill>
                  <a:schemeClr val="bg1"/>
                </a:solidFill>
              </a:defRPr>
            </a:lvl1pPr>
          </a:lstStyle>
          <a:p>
            <a:pPr lvl="0"/>
            <a:r>
              <a:rPr lang="en-GB" noProof="0" dirty="0"/>
              <a:t>Numb</a:t>
            </a:r>
          </a:p>
        </p:txBody>
      </p:sp>
      <p:sp>
        <p:nvSpPr>
          <p:cNvPr id="26" name="Text Placeholder 75"/>
          <p:cNvSpPr>
            <a:spLocks noGrp="1"/>
          </p:cNvSpPr>
          <p:nvPr>
            <p:ph type="body" sz="quarter" idx="29" hasCustomPrompt="1"/>
          </p:nvPr>
        </p:nvSpPr>
        <p:spPr>
          <a:xfrm>
            <a:off x="10520740" y="4644293"/>
            <a:ext cx="1008000" cy="1008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E95326"/>
          </a:solidFill>
        </p:spPr>
        <p:txBody>
          <a:bodyPr wrap="square" tIns="684000">
            <a:noAutofit/>
          </a:bodyPr>
          <a:lstStyle>
            <a:lvl1pPr marL="0" indent="0" algn="ctr">
              <a:lnSpc>
                <a:spcPct val="50000"/>
              </a:lnSpc>
              <a:spcBef>
                <a:spcPts val="450"/>
              </a:spcBef>
              <a:buNone/>
              <a:defRPr sz="1050" baseline="0">
                <a:solidFill>
                  <a:schemeClr val="bg1"/>
                </a:solidFill>
              </a:defRPr>
            </a:lvl1pPr>
            <a:lvl2pPr algn="ctr">
              <a:defRPr/>
            </a:lvl2pPr>
          </a:lstStyle>
          <a:p>
            <a:pPr lvl="0"/>
            <a:r>
              <a:rPr lang="en-GB" noProof="0" dirty="0"/>
              <a:t>Click to edit</a:t>
            </a:r>
          </a:p>
        </p:txBody>
      </p:sp>
      <p:sp>
        <p:nvSpPr>
          <p:cNvPr id="27" name="Text Placeholder 70"/>
          <p:cNvSpPr>
            <a:spLocks noGrp="1"/>
          </p:cNvSpPr>
          <p:nvPr>
            <p:ph type="body" sz="quarter" idx="30" hasCustomPrompt="1"/>
          </p:nvPr>
        </p:nvSpPr>
        <p:spPr>
          <a:xfrm>
            <a:off x="10551870" y="4923524"/>
            <a:ext cx="967596" cy="300632"/>
          </a:xfrm>
          <a:prstGeom prst="rect">
            <a:avLst/>
          </a:prstGeom>
        </p:spPr>
        <p:txBody>
          <a:bodyPr>
            <a:noAutofit/>
          </a:bodyPr>
          <a:lstStyle>
            <a:lvl1pPr marL="0" indent="0" algn="ctr">
              <a:buNone/>
              <a:defRPr sz="2400">
                <a:solidFill>
                  <a:schemeClr val="bg1"/>
                </a:solidFill>
              </a:defRPr>
            </a:lvl1pPr>
          </a:lstStyle>
          <a:p>
            <a:pPr lvl="0"/>
            <a:r>
              <a:rPr lang="en-GB" noProof="0" dirty="0"/>
              <a:t>Numb</a:t>
            </a:r>
          </a:p>
        </p:txBody>
      </p:sp>
      <p:sp>
        <p:nvSpPr>
          <p:cNvPr id="24" name="Title 1"/>
          <p:cNvSpPr>
            <a:spLocks noGrp="1"/>
          </p:cNvSpPr>
          <p:nvPr>
            <p:ph type="title" hasCustomPrompt="1"/>
          </p:nvPr>
        </p:nvSpPr>
        <p:spPr>
          <a:xfrm>
            <a:off x="268224" y="296865"/>
            <a:ext cx="945997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5" name="Text Placeholder 19"/>
          <p:cNvSpPr>
            <a:spLocks noGrp="1"/>
          </p:cNvSpPr>
          <p:nvPr>
            <p:ph type="body" sz="quarter" idx="13"/>
          </p:nvPr>
        </p:nvSpPr>
        <p:spPr>
          <a:xfrm>
            <a:off x="268224" y="787824"/>
            <a:ext cx="7059676" cy="45151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28" name="Text Placeholder 73"/>
          <p:cNvSpPr>
            <a:spLocks noGrp="1"/>
          </p:cNvSpPr>
          <p:nvPr>
            <p:ph type="body" sz="quarter" idx="32" hasCustomPrompt="1"/>
          </p:nvPr>
        </p:nvSpPr>
        <p:spPr>
          <a:xfrm>
            <a:off x="4701870" y="2796165"/>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F7A827"/>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29" name="Text Placeholder 70"/>
          <p:cNvSpPr>
            <a:spLocks noGrp="1"/>
          </p:cNvSpPr>
          <p:nvPr>
            <p:ph type="body" sz="quarter" idx="33" hasCustomPrompt="1"/>
          </p:nvPr>
        </p:nvSpPr>
        <p:spPr>
          <a:xfrm>
            <a:off x="4754738" y="3264193"/>
            <a:ext cx="1266262" cy="414083"/>
          </a:xfrm>
          <a:prstGeom prst="rect">
            <a:avLst/>
          </a:prstGeom>
        </p:spPr>
        <p:txBody>
          <a:bodyPr>
            <a:noAutofit/>
          </a:bodyPr>
          <a:lstStyle>
            <a:lvl1pPr marL="0" indent="0" algn="ctr">
              <a:buNone/>
              <a:defRPr sz="2700">
                <a:solidFill>
                  <a:schemeClr val="bg1"/>
                </a:solidFill>
              </a:defRPr>
            </a:lvl1pPr>
          </a:lstStyle>
          <a:p>
            <a:pPr lvl="0"/>
            <a:r>
              <a:rPr lang="en-GB" noProof="0" dirty="0"/>
              <a:t>Numb</a:t>
            </a:r>
          </a:p>
        </p:txBody>
      </p:sp>
    </p:spTree>
    <p:extLst>
      <p:ext uri="{BB962C8B-B14F-4D97-AF65-F5344CB8AC3E}">
        <p14:creationId xmlns:p14="http://schemas.microsoft.com/office/powerpoint/2010/main" val="5999177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tx2"/>
                </a:solidFill>
                <a:latin typeface="+mj-lt"/>
              </a:defRPr>
            </a:lvl1pPr>
          </a:lstStyle>
          <a:p>
            <a:r>
              <a:rPr lang="en-GB" noProof="0" dirty="0"/>
              <a:t>Add your divide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pic>
        <p:nvPicPr>
          <p:cNvPr id="21" name="Imagen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5EB8"/>
              </a:solidFill>
            </a:endParaRPr>
          </a:p>
        </p:txBody>
      </p:sp>
    </p:spTree>
    <p:extLst>
      <p:ext uri="{BB962C8B-B14F-4D97-AF65-F5344CB8AC3E}">
        <p14:creationId xmlns:p14="http://schemas.microsoft.com/office/powerpoint/2010/main" val="190673511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II">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826573" y="3285709"/>
            <a:ext cx="5956600" cy="1325563"/>
          </a:xfrm>
        </p:spPr>
        <p:txBody>
          <a:bodyPr anchor="b"/>
          <a:lstStyle>
            <a:lvl1pPr>
              <a:lnSpc>
                <a:spcPct val="100000"/>
              </a:lnSpc>
              <a:defRPr baseline="0">
                <a:solidFill>
                  <a:schemeClr val="tx2"/>
                </a:solidFill>
                <a:latin typeface="+mj-lt"/>
              </a:defRPr>
            </a:lvl1pPr>
          </a:lstStyle>
          <a:p>
            <a:r>
              <a:rPr lang="en-GB" noProof="0" dirty="0"/>
              <a:t>Add your divider title here</a:t>
            </a:r>
          </a:p>
        </p:txBody>
      </p:sp>
      <p:sp>
        <p:nvSpPr>
          <p:cNvPr id="96" name="Text Placeholder 19"/>
          <p:cNvSpPr>
            <a:spLocks noGrp="1"/>
          </p:cNvSpPr>
          <p:nvPr>
            <p:ph type="body" sz="quarter" idx="13" hasCustomPrompt="1"/>
          </p:nvPr>
        </p:nvSpPr>
        <p:spPr>
          <a:xfrm>
            <a:off x="5826366" y="4729493"/>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
        <p:nvSpPr>
          <p:cNvPr id="11" name="Marcador de posición de imagen 17"/>
          <p:cNvSpPr>
            <a:spLocks noGrp="1"/>
          </p:cNvSpPr>
          <p:nvPr>
            <p:ph type="pic" sz="quarter" idx="16" hasCustomPrompt="1"/>
          </p:nvPr>
        </p:nvSpPr>
        <p:spPr>
          <a:xfrm flipH="1">
            <a:off x="-6348"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pic>
        <p:nvPicPr>
          <p:cNvPr id="21" name="Imagen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5EB8"/>
              </a:solidFill>
            </a:endParaRPr>
          </a:p>
        </p:txBody>
      </p:sp>
      <p:sp>
        <p:nvSpPr>
          <p:cNvPr id="16" name="Freeform 5"/>
          <p:cNvSpPr>
            <a:spLocks noEditPoints="1"/>
          </p:cNvSpPr>
          <p:nvPr userDrawn="1"/>
        </p:nvSpPr>
        <p:spPr bwMode="auto">
          <a:xfrm>
            <a:off x="10985917" y="6483102"/>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422838105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ndex pag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68225" y="310463"/>
            <a:ext cx="11252793" cy="596766"/>
          </a:xfrm>
        </p:spPr>
        <p:txBody>
          <a:bodyPr tIns="0" anchor="b"/>
          <a:lstStyle>
            <a:lvl1pPr>
              <a:lnSpc>
                <a:spcPct val="100000"/>
              </a:lnSpc>
              <a:defRPr sz="2400">
                <a:solidFill>
                  <a:schemeClr val="tx2"/>
                </a:solidFill>
                <a:latin typeface="+mj-lt"/>
              </a:defRPr>
            </a:lvl1pPr>
          </a:lstStyle>
          <a:p>
            <a:r>
              <a:rPr lang="en-GB" noProof="0" dirty="0"/>
              <a:t>Agenda</a:t>
            </a:r>
          </a:p>
        </p:txBody>
      </p:sp>
      <p:sp>
        <p:nvSpPr>
          <p:cNvPr id="5" name="Marcador de texto 4"/>
          <p:cNvSpPr>
            <a:spLocks noGrp="1"/>
          </p:cNvSpPr>
          <p:nvPr>
            <p:ph type="body" sz="quarter" idx="14" hasCustomPrompt="1"/>
          </p:nvPr>
        </p:nvSpPr>
        <p:spPr>
          <a:xfrm>
            <a:off x="302728" y="1155701"/>
            <a:ext cx="11252792"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Tree>
    <p:extLst>
      <p:ext uri="{BB962C8B-B14F-4D97-AF65-F5344CB8AC3E}">
        <p14:creationId xmlns:p14="http://schemas.microsoft.com/office/powerpoint/2010/main" val="410403774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ndex with photo">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5EB8"/>
              </a:solidFill>
            </a:endParaRPr>
          </a:p>
        </p:txBody>
      </p:sp>
      <p:sp>
        <p:nvSpPr>
          <p:cNvPr id="16" name="Title 1"/>
          <p:cNvSpPr>
            <a:spLocks noGrp="1"/>
          </p:cNvSpPr>
          <p:nvPr>
            <p:ph type="title" hasCustomPrompt="1"/>
          </p:nvPr>
        </p:nvSpPr>
        <p:spPr>
          <a:xfrm>
            <a:off x="268225" y="310463"/>
            <a:ext cx="6286759" cy="596766"/>
          </a:xfrm>
        </p:spPr>
        <p:txBody>
          <a:bodyPr tIns="0" anchor="b"/>
          <a:lstStyle>
            <a:lvl1pPr>
              <a:lnSpc>
                <a:spcPct val="100000"/>
              </a:lnSpc>
              <a:defRPr sz="2400">
                <a:solidFill>
                  <a:schemeClr val="tx2"/>
                </a:solidFill>
                <a:latin typeface="+mj-lt"/>
              </a:defRPr>
            </a:lvl1pPr>
          </a:lstStyle>
          <a:p>
            <a:r>
              <a:rPr lang="en-GB" noProof="0" dirty="0"/>
              <a:t>Agenda</a:t>
            </a:r>
          </a:p>
        </p:txBody>
      </p:sp>
      <p:sp>
        <p:nvSpPr>
          <p:cNvPr id="17" name="Marcador de texto 4"/>
          <p:cNvSpPr>
            <a:spLocks noGrp="1"/>
          </p:cNvSpPr>
          <p:nvPr>
            <p:ph type="body" sz="quarter" idx="14" hasCustomPrompt="1"/>
          </p:nvPr>
        </p:nvSpPr>
        <p:spPr>
          <a:xfrm>
            <a:off x="302728" y="1155701"/>
            <a:ext cx="6286758"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Tree>
    <p:extLst>
      <p:ext uri="{BB962C8B-B14F-4D97-AF65-F5344CB8AC3E}">
        <p14:creationId xmlns:p14="http://schemas.microsoft.com/office/powerpoint/2010/main" val="155203755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09" y="1480159"/>
            <a:ext cx="11228409" cy="444268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9086015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292608" y="1480173"/>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7"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8"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8" name="Marcador de texto 2"/>
          <p:cNvSpPr>
            <a:spLocks noGrp="1"/>
          </p:cNvSpPr>
          <p:nvPr>
            <p:ph type="body" sz="quarter" idx="19" hasCustomPrompt="1"/>
          </p:nvPr>
        </p:nvSpPr>
        <p:spPr>
          <a:xfrm>
            <a:off x="6063308" y="1472789"/>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Tree>
    <p:extLst>
      <p:ext uri="{BB962C8B-B14F-4D97-AF65-F5344CB8AC3E}">
        <p14:creationId xmlns:p14="http://schemas.microsoft.com/office/powerpoint/2010/main" val="354233804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268224" y="1480159"/>
            <a:ext cx="5218176" cy="1349538"/>
          </a:xfrm>
          <a:prstGeom prst="rect">
            <a:avLst/>
          </a:prstGeom>
        </p:spPr>
        <p:txBody>
          <a:bodyPr>
            <a:noAutofit/>
          </a:bodyPr>
          <a:lstStyle>
            <a:lvl1pPr marL="0" indent="0">
              <a:lnSpc>
                <a:spcPct val="100000"/>
              </a:lnSpc>
              <a:buNone/>
              <a:defRPr sz="2000" kern="0" baseline="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lang="en-US" smtClean="0"/>
            </a:lvl1pPr>
          </a:lstStyle>
          <a:p>
            <a:r>
              <a:rPr lang="en-GB" dirty="0">
                <a:solidFill>
                  <a:srgbClr val="FFFFFF">
                    <a:lumMod val="65000"/>
                  </a:srgbClr>
                </a:solidFill>
              </a:rPr>
              <a:t>© Amadeus IT Group and its affiliates and subsidiaries</a:t>
            </a:r>
          </a:p>
        </p:txBody>
      </p:sp>
      <p:sp>
        <p:nvSpPr>
          <p:cNvPr id="13"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20"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Picture Placeholder 30"/>
          <p:cNvSpPr>
            <a:spLocks noGrp="1"/>
          </p:cNvSpPr>
          <p:nvPr>
            <p:ph type="pic" sz="quarter" idx="14" hasCustomPrompt="1"/>
          </p:nvPr>
        </p:nvSpPr>
        <p:spPr>
          <a:xfrm>
            <a:off x="6" y="2979036"/>
            <a:ext cx="4002685" cy="3878978"/>
          </a:xfrm>
          <a:custGeom>
            <a:avLst/>
            <a:gdLst>
              <a:gd name="connsiteX0" fmla="*/ 2435667 w 3352801"/>
              <a:gd name="connsiteY0" fmla="*/ 0 h 2652713"/>
              <a:gd name="connsiteX1" fmla="*/ 2441681 w 3352801"/>
              <a:gd name="connsiteY1" fmla="*/ 0 h 2652713"/>
              <a:gd name="connsiteX2" fmla="*/ 2467241 w 3352801"/>
              <a:gd name="connsiteY2" fmla="*/ 0 h 2652713"/>
              <a:gd name="connsiteX3" fmla="*/ 3352801 w 3352801"/>
              <a:gd name="connsiteY3" fmla="*/ 884739 h 2652713"/>
              <a:gd name="connsiteX4" fmla="*/ 3300179 w 3352801"/>
              <a:gd name="connsiteY4" fmla="*/ 1183657 h 2652713"/>
              <a:gd name="connsiteX5" fmla="*/ 3301682 w 3352801"/>
              <a:gd name="connsiteY5" fmla="*/ 1183657 h 2652713"/>
              <a:gd name="connsiteX6" fmla="*/ 2837101 w 3352801"/>
              <a:gd name="connsiteY6" fmla="*/ 2652713 h 2652713"/>
              <a:gd name="connsiteX7" fmla="*/ 4511 w 3352801"/>
              <a:gd name="connsiteY7" fmla="*/ 2652713 h 2652713"/>
              <a:gd name="connsiteX8" fmla="*/ 0 w 3352801"/>
              <a:gd name="connsiteY8" fmla="*/ 268876 h 2652713"/>
              <a:gd name="connsiteX9" fmla="*/ 2301856 w 3352801"/>
              <a:gd name="connsiteY9" fmla="*/ 15021 h 2652713"/>
              <a:gd name="connsiteX10" fmla="*/ 2435667 w 3352801"/>
              <a:gd name="connsiteY10" fmla="*/ 0 h 265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01" h="2652713">
                <a:moveTo>
                  <a:pt x="2435667" y="0"/>
                </a:moveTo>
                <a:cubicBezTo>
                  <a:pt x="2435667" y="0"/>
                  <a:pt x="2435667" y="0"/>
                  <a:pt x="2441681" y="0"/>
                </a:cubicBezTo>
                <a:cubicBezTo>
                  <a:pt x="2449199" y="0"/>
                  <a:pt x="2458220" y="0"/>
                  <a:pt x="2467241" y="0"/>
                </a:cubicBezTo>
                <a:cubicBezTo>
                  <a:pt x="2955878" y="0"/>
                  <a:pt x="3352801" y="395053"/>
                  <a:pt x="3352801" y="884739"/>
                </a:cubicBezTo>
                <a:cubicBezTo>
                  <a:pt x="3352801" y="989886"/>
                  <a:pt x="3334759" y="1090527"/>
                  <a:pt x="3300179" y="1183657"/>
                </a:cubicBezTo>
                <a:cubicBezTo>
                  <a:pt x="3300179" y="1183657"/>
                  <a:pt x="3300179" y="1183657"/>
                  <a:pt x="3301682" y="1183657"/>
                </a:cubicBezTo>
                <a:cubicBezTo>
                  <a:pt x="3301682" y="1183657"/>
                  <a:pt x="3301682" y="1183657"/>
                  <a:pt x="2837101" y="2652713"/>
                </a:cubicBezTo>
                <a:cubicBezTo>
                  <a:pt x="2837101" y="2652713"/>
                  <a:pt x="2837101" y="2652713"/>
                  <a:pt x="4511" y="2652713"/>
                </a:cubicBezTo>
                <a:cubicBezTo>
                  <a:pt x="4511" y="2652713"/>
                  <a:pt x="4511" y="2652713"/>
                  <a:pt x="0" y="268876"/>
                </a:cubicBezTo>
                <a:cubicBezTo>
                  <a:pt x="0" y="268876"/>
                  <a:pt x="0" y="268876"/>
                  <a:pt x="2301856" y="15021"/>
                </a:cubicBezTo>
                <a:cubicBezTo>
                  <a:pt x="2345457" y="6008"/>
                  <a:pt x="2390562" y="1502"/>
                  <a:pt x="2435667" y="0"/>
                </a:cubicBezTo>
                <a:close/>
              </a:path>
            </a:pathLst>
          </a:custGeom>
          <a:solidFill>
            <a:schemeClr val="bg1">
              <a:lumMod val="95000"/>
            </a:schemeClr>
          </a:solidFill>
        </p:spPr>
        <p:txBody>
          <a:bodyPr wrap="square" anchor="ctr">
            <a:noAutofit/>
          </a:bodyPr>
          <a:lstStyle>
            <a:lvl1pPr marL="0" indent="0" algn="ctr">
              <a:buNone/>
              <a:defRPr/>
            </a:lvl1pPr>
          </a:lstStyle>
          <a:p>
            <a:br>
              <a:rPr lang="en-GB" noProof="0" dirty="0"/>
            </a:br>
            <a:br>
              <a:rPr lang="en-GB" noProof="0" dirty="0"/>
            </a:br>
            <a:r>
              <a:rPr lang="en-GB" noProof="0" dirty="0"/>
              <a:t>Insert your picture here</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Tree>
    <p:extLst>
      <p:ext uri="{BB962C8B-B14F-4D97-AF65-F5344CB8AC3E}">
        <p14:creationId xmlns:p14="http://schemas.microsoft.com/office/powerpoint/2010/main" val="229343717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p:cNvSpPr>
            <a:spLocks noGrp="1"/>
          </p:cNvSpPr>
          <p:nvPr>
            <p:ph type="pic" sz="quarter" idx="15" hasCustomPrompt="1"/>
          </p:nvPr>
        </p:nvSpPr>
        <p:spPr>
          <a:xfrm>
            <a:off x="6050347" y="3747118"/>
            <a:ext cx="5470141" cy="1790083"/>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4" name="Text Placeholder 4"/>
          <p:cNvSpPr>
            <a:spLocks noGrp="1"/>
          </p:cNvSpPr>
          <p:nvPr>
            <p:ph type="body" sz="quarter" idx="17"/>
          </p:nvPr>
        </p:nvSpPr>
        <p:spPr>
          <a:xfrm>
            <a:off x="6060571" y="5581458"/>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p:cNvSpPr>
            <a:spLocks noGrp="1"/>
          </p:cNvSpPr>
          <p:nvPr>
            <p:ph type="pic" sz="quarter" idx="20" hasCustomPrompt="1"/>
          </p:nvPr>
        </p:nvSpPr>
        <p:spPr>
          <a:xfrm>
            <a:off x="6050084" y="1330841"/>
            <a:ext cx="5470141" cy="1790206"/>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6" name="Title 1"/>
          <p:cNvSpPr>
            <a:spLocks noGrp="1"/>
          </p:cNvSpPr>
          <p:nvPr>
            <p:ph type="title" hasCustomPrompt="1"/>
          </p:nvPr>
        </p:nvSpPr>
        <p:spPr>
          <a:xfrm>
            <a:off x="268225" y="296865"/>
            <a:ext cx="9378888"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8" name="Text Placeholder 19"/>
          <p:cNvSpPr>
            <a:spLocks noGrp="1"/>
          </p:cNvSpPr>
          <p:nvPr>
            <p:ph type="body" sz="quarter" idx="13" hasCustomPrompt="1"/>
          </p:nvPr>
        </p:nvSpPr>
        <p:spPr>
          <a:xfrm>
            <a:off x="268225" y="779412"/>
            <a:ext cx="9378888"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1" name="Marcador de texto 2"/>
          <p:cNvSpPr>
            <a:spLocks noGrp="1"/>
          </p:cNvSpPr>
          <p:nvPr>
            <p:ph type="body" sz="quarter" idx="19" hasCustomPrompt="1"/>
          </p:nvPr>
        </p:nvSpPr>
        <p:spPr>
          <a:xfrm>
            <a:off x="268225" y="1302027"/>
            <a:ext cx="5492496" cy="4438374"/>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3" name="Text Placeholder 4"/>
          <p:cNvSpPr>
            <a:spLocks noGrp="1"/>
          </p:cNvSpPr>
          <p:nvPr>
            <p:ph type="body" sz="quarter" idx="21"/>
          </p:nvPr>
        </p:nvSpPr>
        <p:spPr>
          <a:xfrm>
            <a:off x="6050085" y="3202642"/>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264521570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83873" y="899886"/>
            <a:ext cx="11022863" cy="4267200"/>
          </a:xfrm>
        </p:spPr>
        <p:txBody>
          <a:bodyPr anchor="b">
            <a:normAutofit/>
          </a:bodyPr>
          <a:lstStyle>
            <a:lvl1pPr>
              <a:lnSpc>
                <a:spcPct val="100000"/>
              </a:lnSpc>
              <a:defRPr sz="3200" baseline="0">
                <a:solidFill>
                  <a:schemeClr val="tx2"/>
                </a:solidFill>
                <a:latin typeface="+mj-lt"/>
              </a:defRPr>
            </a:lvl1pPr>
          </a:lstStyle>
          <a:p>
            <a:r>
              <a:rPr lang="en-GB" noProof="0" dirty="0"/>
              <a:t>“Click to insert your quote”</a:t>
            </a:r>
          </a:p>
        </p:txBody>
      </p:sp>
      <p:sp>
        <p:nvSpPr>
          <p:cNvPr id="6" name="Text Placeholder 19"/>
          <p:cNvSpPr>
            <a:spLocks noGrp="1"/>
          </p:cNvSpPr>
          <p:nvPr>
            <p:ph type="body" sz="quarter" idx="13"/>
          </p:nvPr>
        </p:nvSpPr>
        <p:spPr>
          <a:xfrm>
            <a:off x="283657" y="5240908"/>
            <a:ext cx="4602163" cy="498992"/>
          </a:xfrm>
          <a:prstGeom prst="rect">
            <a:avLst/>
          </a:prstGeom>
        </p:spPr>
        <p:txBody>
          <a:bodyPr>
            <a:noAutofit/>
          </a:bodyPr>
          <a:lstStyle>
            <a:lvl1pPr marL="0" indent="0">
              <a:lnSpc>
                <a:spcPts val="1425"/>
              </a:lnSpc>
              <a:buNone/>
              <a:defRPr sz="135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Tree>
    <p:extLst>
      <p:ext uri="{BB962C8B-B14F-4D97-AF65-F5344CB8AC3E}">
        <p14:creationId xmlns:p14="http://schemas.microsoft.com/office/powerpoint/2010/main" val="386327333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2" name="Rectángulo 1"/>
          <p:cNvSpPr/>
          <p:nvPr userDrawn="1"/>
        </p:nvSpPr>
        <p:spPr>
          <a:xfrm>
            <a:off x="0" y="5828996"/>
            <a:ext cx="3781425" cy="1029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43" name="Content Placeholder 5"/>
          <p:cNvSpPr>
            <a:spLocks noGrp="1"/>
          </p:cNvSpPr>
          <p:nvPr>
            <p:ph sz="quarter" idx="4"/>
          </p:nvPr>
        </p:nvSpPr>
        <p:spPr>
          <a:xfrm>
            <a:off x="304085" y="4034980"/>
            <a:ext cx="3630108" cy="2240292"/>
          </a:xfrm>
          <a:prstGeom prst="rect">
            <a:avLst/>
          </a:prstGeom>
        </p:spPr>
        <p:txBody>
          <a:bodyPr anchor="b">
            <a:noAutofit/>
          </a:bodyPr>
          <a:lstStyle>
            <a:lvl1pPr marL="0" indent="0">
              <a:lnSpc>
                <a:spcPct val="100000"/>
              </a:lnSpc>
              <a:spcAft>
                <a:spcPts val="900"/>
              </a:spcAft>
              <a:buNone/>
              <a:defRPr sz="20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US" noProof="0"/>
              <a:t>Click to edit Master text styles</a:t>
            </a:r>
          </a:p>
        </p:txBody>
      </p:sp>
      <p:sp>
        <p:nvSpPr>
          <p:cNvPr id="36" name="Marcador de número de diapositiva 32"/>
          <p:cNvSpPr>
            <a:spLocks noGrp="1"/>
          </p:cNvSpPr>
          <p:nvPr>
            <p:ph type="sldNum" sz="quarter" idx="31"/>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6" name="Picture Placeholder 59"/>
          <p:cNvSpPr>
            <a:spLocks noGrp="1"/>
          </p:cNvSpPr>
          <p:nvPr>
            <p:ph type="pic" sz="quarter" idx="22" hasCustomPrompt="1"/>
          </p:nvPr>
        </p:nvSpPr>
        <p:spPr>
          <a:xfrm>
            <a:off x="6217528" y="13343"/>
            <a:ext cx="5956887" cy="4900446"/>
          </a:xfrm>
          <a:custGeom>
            <a:avLst/>
            <a:gdLst>
              <a:gd name="connsiteX0" fmla="*/ 1507176 w 7526189"/>
              <a:gd name="connsiteY0" fmla="*/ 0 h 4900446"/>
              <a:gd name="connsiteX1" fmla="*/ 7526189 w 7526189"/>
              <a:gd name="connsiteY1" fmla="*/ 0 h 4900446"/>
              <a:gd name="connsiteX2" fmla="*/ 7526189 w 7526189"/>
              <a:gd name="connsiteY2" fmla="*/ 3753700 h 4900446"/>
              <a:gd name="connsiteX3" fmla="*/ 416883 w 7526189"/>
              <a:gd name="connsiteY3" fmla="*/ 3876833 h 4900446"/>
              <a:gd name="connsiteX4" fmla="*/ 1507176 w 7526189"/>
              <a:gd name="connsiteY4" fmla="*/ 0 h 490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6189" h="4900446">
                <a:moveTo>
                  <a:pt x="1507176" y="0"/>
                </a:moveTo>
                <a:lnTo>
                  <a:pt x="7526189" y="0"/>
                </a:lnTo>
                <a:cubicBezTo>
                  <a:pt x="7526189" y="0"/>
                  <a:pt x="7526189" y="0"/>
                  <a:pt x="7526189" y="3753700"/>
                </a:cubicBezTo>
                <a:cubicBezTo>
                  <a:pt x="6581517" y="4171607"/>
                  <a:pt x="1660265" y="6037263"/>
                  <a:pt x="416883" y="3876833"/>
                </a:cubicBezTo>
                <a:cubicBezTo>
                  <a:pt x="-852636" y="1667897"/>
                  <a:pt x="1148723" y="235073"/>
                  <a:pt x="1507176" y="0"/>
                </a:cubicBezTo>
                <a:close/>
              </a:path>
            </a:pathLst>
          </a:custGeom>
          <a:solidFill>
            <a:srgbClr val="ECECEC"/>
          </a:solidFill>
        </p:spPr>
        <p:txBody>
          <a:bodyPr wrap="square" anchor="ctr">
            <a:noAutofit/>
          </a:bodyPr>
          <a:lstStyle>
            <a:lvl1pPr marL="0" indent="0" algn="ctr">
              <a:buNone/>
              <a:defRPr/>
            </a:lvl1pPr>
          </a:lstStyle>
          <a:p>
            <a:br>
              <a:rPr lang="en-GB" noProof="0" dirty="0"/>
            </a:br>
            <a:br>
              <a:rPr lang="en-GB" noProof="0" dirty="0"/>
            </a:br>
            <a:r>
              <a:rPr lang="en-GB" noProof="0" dirty="0"/>
              <a:t>Insert your picture here</a:t>
            </a:r>
          </a:p>
        </p:txBody>
      </p:sp>
      <p:sp>
        <p:nvSpPr>
          <p:cNvPr id="17" name="Text Placeholder 68"/>
          <p:cNvSpPr>
            <a:spLocks noGrp="1"/>
          </p:cNvSpPr>
          <p:nvPr>
            <p:ph type="body" sz="quarter" idx="23" hasCustomPrompt="1"/>
          </p:nvPr>
        </p:nvSpPr>
        <p:spPr>
          <a:xfrm>
            <a:off x="5759505" y="1091922"/>
            <a:ext cx="1440000" cy="1438317"/>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CE0058"/>
          </a:solidFill>
        </p:spPr>
        <p:txBody>
          <a:bodyPr wrap="square" tIns="864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18" name="Text Placeholder 70"/>
          <p:cNvSpPr>
            <a:spLocks noGrp="1"/>
          </p:cNvSpPr>
          <p:nvPr>
            <p:ph type="body" sz="quarter" idx="24" hasCustomPrompt="1"/>
          </p:nvPr>
        </p:nvSpPr>
        <p:spPr>
          <a:xfrm>
            <a:off x="5883419" y="1517411"/>
            <a:ext cx="1205942" cy="463831"/>
          </a:xfrm>
          <a:prstGeom prst="rect">
            <a:avLst/>
          </a:prstGeom>
        </p:spPr>
        <p:txBody>
          <a:bodyPr>
            <a:noAutofit/>
          </a:bodyPr>
          <a:lstStyle>
            <a:lvl1pPr marL="0" indent="0" algn="ctr">
              <a:buNone/>
              <a:defRPr sz="2700">
                <a:solidFill>
                  <a:schemeClr val="bg1"/>
                </a:solidFill>
              </a:defRPr>
            </a:lvl1pPr>
          </a:lstStyle>
          <a:p>
            <a:pPr lvl="0"/>
            <a:r>
              <a:rPr lang="en-GB" noProof="0" dirty="0"/>
              <a:t>Numb</a:t>
            </a:r>
          </a:p>
        </p:txBody>
      </p:sp>
      <p:sp>
        <p:nvSpPr>
          <p:cNvPr id="19" name="Text Placeholder 71"/>
          <p:cNvSpPr>
            <a:spLocks noGrp="1"/>
          </p:cNvSpPr>
          <p:nvPr>
            <p:ph type="body" sz="quarter" idx="25" hasCustomPrompt="1"/>
          </p:nvPr>
        </p:nvSpPr>
        <p:spPr>
          <a:xfrm>
            <a:off x="6415026" y="3686660"/>
            <a:ext cx="2124000" cy="2124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2"/>
          </a:solidFill>
        </p:spPr>
        <p:txBody>
          <a:bodyPr wrap="square" tIns="1368000">
            <a:noAutofit/>
          </a:bodyPr>
          <a:lstStyle>
            <a:lvl1pPr marL="0" indent="0" algn="ctr">
              <a:lnSpc>
                <a:spcPct val="50000"/>
              </a:lnSpc>
              <a:spcBef>
                <a:spcPts val="450"/>
              </a:spcBef>
              <a:buNone/>
              <a:defRPr sz="1800" baseline="0">
                <a:solidFill>
                  <a:schemeClr val="bg1"/>
                </a:solidFill>
              </a:defRPr>
            </a:lvl1pPr>
            <a:lvl2pPr algn="ctr">
              <a:defRPr/>
            </a:lvl2pPr>
          </a:lstStyle>
          <a:p>
            <a:pPr lvl="0"/>
            <a:r>
              <a:rPr lang="en-GB" noProof="0" dirty="0"/>
              <a:t>Click to edit</a:t>
            </a:r>
          </a:p>
        </p:txBody>
      </p:sp>
      <p:sp>
        <p:nvSpPr>
          <p:cNvPr id="20" name="Text Placeholder 70"/>
          <p:cNvSpPr>
            <a:spLocks noGrp="1"/>
          </p:cNvSpPr>
          <p:nvPr>
            <p:ph type="body" sz="quarter" idx="26" hasCustomPrompt="1"/>
          </p:nvPr>
        </p:nvSpPr>
        <p:spPr>
          <a:xfrm>
            <a:off x="6453877" y="4415153"/>
            <a:ext cx="1939187" cy="615030"/>
          </a:xfrm>
          <a:prstGeom prst="rect">
            <a:avLst/>
          </a:prstGeom>
        </p:spPr>
        <p:txBody>
          <a:bodyPr>
            <a:noAutofit/>
          </a:bodyPr>
          <a:lstStyle>
            <a:lvl1pPr marL="0" indent="0" algn="ctr">
              <a:buNone/>
              <a:defRPr sz="4050">
                <a:solidFill>
                  <a:schemeClr val="bg1"/>
                </a:solidFill>
              </a:defRPr>
            </a:lvl1pPr>
          </a:lstStyle>
          <a:p>
            <a:pPr lvl="0"/>
            <a:r>
              <a:rPr lang="en-GB" noProof="0" dirty="0"/>
              <a:t>Numb</a:t>
            </a:r>
          </a:p>
        </p:txBody>
      </p:sp>
      <p:sp>
        <p:nvSpPr>
          <p:cNvPr id="21" name="Text Placeholder 73"/>
          <p:cNvSpPr>
            <a:spLocks noGrp="1"/>
          </p:cNvSpPr>
          <p:nvPr>
            <p:ph type="body" sz="quarter" idx="27" hasCustomPrompt="1"/>
          </p:nvPr>
        </p:nvSpPr>
        <p:spPr>
          <a:xfrm>
            <a:off x="8897242" y="3748156"/>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1"/>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22" name="Text Placeholder 70"/>
          <p:cNvSpPr>
            <a:spLocks noGrp="1"/>
          </p:cNvSpPr>
          <p:nvPr>
            <p:ph type="body" sz="quarter" idx="28" hasCustomPrompt="1"/>
          </p:nvPr>
        </p:nvSpPr>
        <p:spPr>
          <a:xfrm>
            <a:off x="8950110" y="4216184"/>
            <a:ext cx="1266262" cy="414083"/>
          </a:xfrm>
          <a:prstGeom prst="rect">
            <a:avLst/>
          </a:prstGeom>
        </p:spPr>
        <p:txBody>
          <a:bodyPr>
            <a:noAutofit/>
          </a:bodyPr>
          <a:lstStyle>
            <a:lvl1pPr marL="0" indent="0" algn="ctr">
              <a:buNone/>
              <a:defRPr sz="2700">
                <a:solidFill>
                  <a:schemeClr val="bg1"/>
                </a:solidFill>
              </a:defRPr>
            </a:lvl1pPr>
          </a:lstStyle>
          <a:p>
            <a:pPr lvl="0"/>
            <a:r>
              <a:rPr lang="en-GB" noProof="0" dirty="0"/>
              <a:t>Numb</a:t>
            </a:r>
          </a:p>
        </p:txBody>
      </p:sp>
      <p:sp>
        <p:nvSpPr>
          <p:cNvPr id="26" name="Text Placeholder 75"/>
          <p:cNvSpPr>
            <a:spLocks noGrp="1"/>
          </p:cNvSpPr>
          <p:nvPr>
            <p:ph type="body" sz="quarter" idx="29" hasCustomPrompt="1"/>
          </p:nvPr>
        </p:nvSpPr>
        <p:spPr>
          <a:xfrm>
            <a:off x="10520740" y="4644293"/>
            <a:ext cx="1008000" cy="1008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E95326"/>
          </a:solidFill>
        </p:spPr>
        <p:txBody>
          <a:bodyPr wrap="square" tIns="684000">
            <a:noAutofit/>
          </a:bodyPr>
          <a:lstStyle>
            <a:lvl1pPr marL="0" indent="0" algn="ctr">
              <a:lnSpc>
                <a:spcPct val="50000"/>
              </a:lnSpc>
              <a:spcBef>
                <a:spcPts val="450"/>
              </a:spcBef>
              <a:buNone/>
              <a:defRPr sz="1050" baseline="0">
                <a:solidFill>
                  <a:schemeClr val="bg1"/>
                </a:solidFill>
              </a:defRPr>
            </a:lvl1pPr>
            <a:lvl2pPr algn="ctr">
              <a:defRPr/>
            </a:lvl2pPr>
          </a:lstStyle>
          <a:p>
            <a:pPr lvl="0"/>
            <a:r>
              <a:rPr lang="en-GB" noProof="0" dirty="0"/>
              <a:t>Click to edit</a:t>
            </a:r>
          </a:p>
        </p:txBody>
      </p:sp>
      <p:sp>
        <p:nvSpPr>
          <p:cNvPr id="27" name="Text Placeholder 70"/>
          <p:cNvSpPr>
            <a:spLocks noGrp="1"/>
          </p:cNvSpPr>
          <p:nvPr>
            <p:ph type="body" sz="quarter" idx="30" hasCustomPrompt="1"/>
          </p:nvPr>
        </p:nvSpPr>
        <p:spPr>
          <a:xfrm>
            <a:off x="10551870" y="4923524"/>
            <a:ext cx="967596" cy="300632"/>
          </a:xfrm>
          <a:prstGeom prst="rect">
            <a:avLst/>
          </a:prstGeom>
        </p:spPr>
        <p:txBody>
          <a:bodyPr>
            <a:noAutofit/>
          </a:bodyPr>
          <a:lstStyle>
            <a:lvl1pPr marL="0" indent="0" algn="ctr">
              <a:buNone/>
              <a:defRPr sz="2400">
                <a:solidFill>
                  <a:schemeClr val="bg1"/>
                </a:solidFill>
              </a:defRPr>
            </a:lvl1pPr>
          </a:lstStyle>
          <a:p>
            <a:pPr lvl="0"/>
            <a:r>
              <a:rPr lang="en-GB" noProof="0" dirty="0"/>
              <a:t>Numb</a:t>
            </a:r>
          </a:p>
        </p:txBody>
      </p:sp>
      <p:sp>
        <p:nvSpPr>
          <p:cNvPr id="24" name="Title 1"/>
          <p:cNvSpPr>
            <a:spLocks noGrp="1"/>
          </p:cNvSpPr>
          <p:nvPr>
            <p:ph type="title" hasCustomPrompt="1"/>
          </p:nvPr>
        </p:nvSpPr>
        <p:spPr>
          <a:xfrm>
            <a:off x="268224" y="296865"/>
            <a:ext cx="945997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5" name="Text Placeholder 19"/>
          <p:cNvSpPr>
            <a:spLocks noGrp="1"/>
          </p:cNvSpPr>
          <p:nvPr>
            <p:ph type="body" sz="quarter" idx="13"/>
          </p:nvPr>
        </p:nvSpPr>
        <p:spPr>
          <a:xfrm>
            <a:off x="268224" y="787824"/>
            <a:ext cx="7059676" cy="45151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28" name="Text Placeholder 73"/>
          <p:cNvSpPr>
            <a:spLocks noGrp="1"/>
          </p:cNvSpPr>
          <p:nvPr>
            <p:ph type="body" sz="quarter" idx="32" hasCustomPrompt="1"/>
          </p:nvPr>
        </p:nvSpPr>
        <p:spPr>
          <a:xfrm>
            <a:off x="4701870" y="2796165"/>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F7A827"/>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29" name="Text Placeholder 70"/>
          <p:cNvSpPr>
            <a:spLocks noGrp="1"/>
          </p:cNvSpPr>
          <p:nvPr>
            <p:ph type="body" sz="quarter" idx="33" hasCustomPrompt="1"/>
          </p:nvPr>
        </p:nvSpPr>
        <p:spPr>
          <a:xfrm>
            <a:off x="4754738" y="3264193"/>
            <a:ext cx="1266262" cy="414083"/>
          </a:xfrm>
          <a:prstGeom prst="rect">
            <a:avLst/>
          </a:prstGeom>
        </p:spPr>
        <p:txBody>
          <a:bodyPr>
            <a:noAutofit/>
          </a:bodyPr>
          <a:lstStyle>
            <a:lvl1pPr marL="0" indent="0" algn="ctr">
              <a:buNone/>
              <a:defRPr sz="2700">
                <a:solidFill>
                  <a:schemeClr val="bg1"/>
                </a:solidFill>
              </a:defRPr>
            </a:lvl1pPr>
          </a:lstStyle>
          <a:p>
            <a:pPr lvl="0"/>
            <a:r>
              <a:rPr lang="en-GB" noProof="0" dirty="0"/>
              <a:t>Numb</a:t>
            </a:r>
          </a:p>
        </p:txBody>
      </p:sp>
    </p:spTree>
    <p:extLst>
      <p:ext uri="{BB962C8B-B14F-4D97-AF65-F5344CB8AC3E}">
        <p14:creationId xmlns:p14="http://schemas.microsoft.com/office/powerpoint/2010/main" val="34649895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268225" y="2117672"/>
            <a:ext cx="4909841"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1" name="Content Placeholder 5"/>
          <p:cNvSpPr>
            <a:spLocks noGrp="1"/>
          </p:cNvSpPr>
          <p:nvPr>
            <p:ph sz="quarter" idx="14" hasCustomPrompt="1"/>
          </p:nvPr>
        </p:nvSpPr>
        <p:spPr>
          <a:xfrm>
            <a:off x="268225" y="2854989"/>
            <a:ext cx="4909840"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2" name="Content Placeholder 5"/>
          <p:cNvSpPr>
            <a:spLocks noGrp="1"/>
          </p:cNvSpPr>
          <p:nvPr>
            <p:ph sz="quarter" idx="15" hasCustomPrompt="1"/>
          </p:nvPr>
        </p:nvSpPr>
        <p:spPr>
          <a:xfrm>
            <a:off x="268227" y="3592306"/>
            <a:ext cx="491020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5" name="Content Placeholder 5"/>
          <p:cNvSpPr>
            <a:spLocks noGrp="1"/>
          </p:cNvSpPr>
          <p:nvPr>
            <p:ph sz="quarter" idx="16" hasCustomPrompt="1"/>
          </p:nvPr>
        </p:nvSpPr>
        <p:spPr>
          <a:xfrm>
            <a:off x="268227" y="4322886"/>
            <a:ext cx="4909836"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16"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1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5" name="Title 1"/>
          <p:cNvSpPr>
            <a:spLocks noGrp="1"/>
          </p:cNvSpPr>
          <p:nvPr>
            <p:ph type="title" hasCustomPrompt="1"/>
          </p:nvPr>
        </p:nvSpPr>
        <p:spPr>
          <a:xfrm>
            <a:off x="268223" y="296865"/>
            <a:ext cx="9510777"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7" name="Text Placeholder 19"/>
          <p:cNvSpPr>
            <a:spLocks noGrp="1"/>
          </p:cNvSpPr>
          <p:nvPr>
            <p:ph type="body" sz="quarter" idx="13"/>
          </p:nvPr>
        </p:nvSpPr>
        <p:spPr>
          <a:xfrm>
            <a:off x="268223" y="779414"/>
            <a:ext cx="9510777" cy="376146"/>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7440128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268225" y="2117672"/>
            <a:ext cx="4909841"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1" name="Content Placeholder 5"/>
          <p:cNvSpPr>
            <a:spLocks noGrp="1"/>
          </p:cNvSpPr>
          <p:nvPr>
            <p:ph sz="quarter" idx="14" hasCustomPrompt="1"/>
          </p:nvPr>
        </p:nvSpPr>
        <p:spPr>
          <a:xfrm>
            <a:off x="268225" y="2854989"/>
            <a:ext cx="4909840"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2" name="Content Placeholder 5"/>
          <p:cNvSpPr>
            <a:spLocks noGrp="1"/>
          </p:cNvSpPr>
          <p:nvPr>
            <p:ph sz="quarter" idx="15" hasCustomPrompt="1"/>
          </p:nvPr>
        </p:nvSpPr>
        <p:spPr>
          <a:xfrm>
            <a:off x="268227" y="3592306"/>
            <a:ext cx="491020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5" name="Content Placeholder 5"/>
          <p:cNvSpPr>
            <a:spLocks noGrp="1"/>
          </p:cNvSpPr>
          <p:nvPr>
            <p:ph sz="quarter" idx="16" hasCustomPrompt="1"/>
          </p:nvPr>
        </p:nvSpPr>
        <p:spPr>
          <a:xfrm>
            <a:off x="268227" y="4322886"/>
            <a:ext cx="4909836"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16"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5" name="Title 1"/>
          <p:cNvSpPr>
            <a:spLocks noGrp="1"/>
          </p:cNvSpPr>
          <p:nvPr>
            <p:ph type="title" hasCustomPrompt="1"/>
          </p:nvPr>
        </p:nvSpPr>
        <p:spPr>
          <a:xfrm>
            <a:off x="268223" y="296865"/>
            <a:ext cx="9510777"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7" name="Text Placeholder 19"/>
          <p:cNvSpPr>
            <a:spLocks noGrp="1"/>
          </p:cNvSpPr>
          <p:nvPr>
            <p:ph type="body" sz="quarter" idx="13"/>
          </p:nvPr>
        </p:nvSpPr>
        <p:spPr>
          <a:xfrm>
            <a:off x="268223" y="779414"/>
            <a:ext cx="9510777" cy="376146"/>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149046141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6"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8" name="Content Placeholder 2"/>
          <p:cNvSpPr>
            <a:spLocks noGrp="1"/>
          </p:cNvSpPr>
          <p:nvPr>
            <p:ph idx="1" hasCustomPrompt="1"/>
          </p:nvPr>
        </p:nvSpPr>
        <p:spPr>
          <a:xfrm>
            <a:off x="287556" y="1640190"/>
            <a:ext cx="4271650" cy="447261"/>
          </a:xfrm>
          <a:prstGeom prst="rect">
            <a:avLst/>
          </a:prstGeom>
        </p:spPr>
        <p:txBody>
          <a:bodyPr>
            <a:noAutofit/>
          </a:bodyPr>
          <a:lstStyle>
            <a:lvl1pPr marL="0" indent="0" algn="l">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19" name="Text Placeholder 23"/>
          <p:cNvSpPr>
            <a:spLocks noGrp="1"/>
          </p:cNvSpPr>
          <p:nvPr>
            <p:ph type="body" sz="quarter" idx="21"/>
          </p:nvPr>
        </p:nvSpPr>
        <p:spPr>
          <a:xfrm>
            <a:off x="287347" y="2193951"/>
            <a:ext cx="4271953" cy="1312239"/>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30" hasCustomPrompt="1"/>
          </p:nvPr>
        </p:nvSpPr>
        <p:spPr>
          <a:xfrm>
            <a:off x="287338" y="3941158"/>
            <a:ext cx="4271954" cy="447261"/>
          </a:xfrm>
          <a:prstGeom prst="rect">
            <a:avLst/>
          </a:prstGeom>
        </p:spPr>
        <p:txBody>
          <a:bodyPr>
            <a:noAutofit/>
          </a:bodyPr>
          <a:lstStyle>
            <a:lvl1pPr marL="0" indent="0" algn="l">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3" name="Text Placeholder 23"/>
          <p:cNvSpPr>
            <a:spLocks noGrp="1"/>
          </p:cNvSpPr>
          <p:nvPr>
            <p:ph type="body" sz="quarter" idx="31"/>
          </p:nvPr>
        </p:nvSpPr>
        <p:spPr>
          <a:xfrm>
            <a:off x="287338" y="4494905"/>
            <a:ext cx="4271954" cy="126007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5" name="Content Placeholder 2"/>
          <p:cNvSpPr>
            <a:spLocks noGrp="1"/>
          </p:cNvSpPr>
          <p:nvPr>
            <p:ph idx="32" hasCustomPrompt="1"/>
          </p:nvPr>
        </p:nvSpPr>
        <p:spPr>
          <a:xfrm>
            <a:off x="6032638" y="1648609"/>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6" name="Text Placeholder 23"/>
          <p:cNvSpPr>
            <a:spLocks noGrp="1"/>
          </p:cNvSpPr>
          <p:nvPr>
            <p:ph type="body" sz="quarter" idx="33"/>
          </p:nvPr>
        </p:nvSpPr>
        <p:spPr>
          <a:xfrm>
            <a:off x="6032430" y="2193951"/>
            <a:ext cx="4131418" cy="1312239"/>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p:cNvSpPr>
            <a:spLocks noGrp="1"/>
          </p:cNvSpPr>
          <p:nvPr>
            <p:ph idx="34" hasCustomPrompt="1"/>
          </p:nvPr>
        </p:nvSpPr>
        <p:spPr>
          <a:xfrm>
            <a:off x="6032638" y="3941157"/>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9" name="Text Placeholder 23"/>
          <p:cNvSpPr>
            <a:spLocks noGrp="1"/>
          </p:cNvSpPr>
          <p:nvPr>
            <p:ph type="body" sz="quarter" idx="35"/>
          </p:nvPr>
        </p:nvSpPr>
        <p:spPr>
          <a:xfrm>
            <a:off x="6032638" y="4494905"/>
            <a:ext cx="4131418" cy="1260072"/>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7" name="Title 1"/>
          <p:cNvSpPr>
            <a:spLocks noGrp="1"/>
          </p:cNvSpPr>
          <p:nvPr>
            <p:ph type="title" hasCustomPrompt="1"/>
          </p:nvPr>
        </p:nvSpPr>
        <p:spPr>
          <a:xfrm>
            <a:off x="268224" y="296865"/>
            <a:ext cx="9378889"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1" name="Text Placeholder 19"/>
          <p:cNvSpPr>
            <a:spLocks noGrp="1"/>
          </p:cNvSpPr>
          <p:nvPr>
            <p:ph type="body" sz="quarter" idx="13" hasCustomPrompt="1"/>
          </p:nvPr>
        </p:nvSpPr>
        <p:spPr>
          <a:xfrm>
            <a:off x="268224" y="779413"/>
            <a:ext cx="9378889" cy="434229"/>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97455860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1951686"/>
            <a:ext cx="3713163" cy="998708"/>
          </a:xfrm>
          <a:prstGeom prst="rect">
            <a:avLst/>
          </a:prstGeom>
          <a:solidFill>
            <a:schemeClr val="bg1"/>
          </a:solidFill>
        </p:spPr>
        <p:txBody>
          <a:bodyPr anchor="ctr">
            <a:normAutofit/>
          </a:bodyPr>
          <a:lstStyle>
            <a:lvl1pPr marL="0" indent="0" algn="ctr">
              <a:buNone/>
              <a:defRPr sz="3300" b="0">
                <a:solidFill>
                  <a:schemeClr val="accent2"/>
                </a:solidFill>
              </a:defRPr>
            </a:lvl1pPr>
          </a:lstStyle>
          <a:p>
            <a:pPr lvl="0"/>
            <a:r>
              <a:rPr lang="en-GB" noProof="0" dirty="0"/>
              <a:t>Title </a:t>
            </a:r>
          </a:p>
        </p:txBody>
      </p:sp>
      <p:sp>
        <p:nvSpPr>
          <p:cNvPr id="18" name="Content Placeholder 2"/>
          <p:cNvSpPr>
            <a:spLocks noGrp="1"/>
          </p:cNvSpPr>
          <p:nvPr>
            <p:ph idx="24" hasCustomPrompt="1"/>
          </p:nvPr>
        </p:nvSpPr>
        <p:spPr>
          <a:xfrm>
            <a:off x="8505017" y="3601205"/>
            <a:ext cx="2963793"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1" name="Text Placeholder 23"/>
          <p:cNvSpPr>
            <a:spLocks noGrp="1"/>
          </p:cNvSpPr>
          <p:nvPr>
            <p:ph type="body" sz="quarter" idx="25"/>
          </p:nvPr>
        </p:nvSpPr>
        <p:spPr>
          <a:xfrm>
            <a:off x="8502762" y="4122667"/>
            <a:ext cx="2994075" cy="1611665"/>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26" hasCustomPrompt="1"/>
          </p:nvPr>
        </p:nvSpPr>
        <p:spPr>
          <a:xfrm>
            <a:off x="4306799"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7"/>
          </p:nvPr>
        </p:nvSpPr>
        <p:spPr>
          <a:xfrm>
            <a:off x="4304551"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p:cNvSpPr>
            <a:spLocks noGrp="1"/>
          </p:cNvSpPr>
          <p:nvPr>
            <p:ph idx="28" hasCustomPrompt="1"/>
          </p:nvPr>
        </p:nvSpPr>
        <p:spPr>
          <a:xfrm>
            <a:off x="320948"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5" name="Text Placeholder 23"/>
          <p:cNvSpPr>
            <a:spLocks noGrp="1"/>
          </p:cNvSpPr>
          <p:nvPr>
            <p:ph type="body" sz="quarter" idx="29"/>
          </p:nvPr>
        </p:nvSpPr>
        <p:spPr>
          <a:xfrm>
            <a:off x="318700"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6"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9" name="Text Placeholder 19"/>
          <p:cNvSpPr>
            <a:spLocks noGrp="1"/>
          </p:cNvSpPr>
          <p:nvPr>
            <p:ph type="body" sz="quarter" idx="13" hasCustomPrompt="1"/>
          </p:nvPr>
        </p:nvSpPr>
        <p:spPr>
          <a:xfrm>
            <a:off x="268224" y="779413"/>
            <a:ext cx="11228613" cy="582662"/>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3"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57414243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21"/>
          </p:nvPr>
        </p:nvSpPr>
        <p:spPr>
          <a:xfrm>
            <a:off x="58402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Marcador de texto 4"/>
          <p:cNvSpPr>
            <a:spLocks noGrp="1"/>
          </p:cNvSpPr>
          <p:nvPr>
            <p:ph type="body" sz="quarter" idx="36" hasCustomPrompt="1"/>
          </p:nvPr>
        </p:nvSpPr>
        <p:spPr>
          <a:xfrm>
            <a:off x="1307634" y="2249487"/>
            <a:ext cx="1255923" cy="973138"/>
          </a:xfrm>
          <a:prstGeom prst="rect">
            <a:avLst/>
          </a:prstGeom>
        </p:spPr>
        <p:txBody>
          <a:bodyPr>
            <a:normAutofit/>
          </a:bodyPr>
          <a:lstStyle>
            <a:lvl1pPr marL="0" indent="0" algn="ctr">
              <a:buNone/>
              <a:defRPr sz="4500">
                <a:solidFill>
                  <a:schemeClr val="tx2"/>
                </a:solidFill>
              </a:defRPr>
            </a:lvl1pPr>
          </a:lstStyle>
          <a:p>
            <a:pPr lvl="0"/>
            <a:r>
              <a:rPr lang="en-GB" noProof="0" dirty="0"/>
              <a:t>1</a:t>
            </a:r>
          </a:p>
        </p:txBody>
      </p:sp>
      <p:sp>
        <p:nvSpPr>
          <p:cNvPr id="30" name="Content Placeholder 2"/>
          <p:cNvSpPr>
            <a:spLocks noGrp="1"/>
          </p:cNvSpPr>
          <p:nvPr>
            <p:ph idx="37" hasCustomPrompt="1"/>
          </p:nvPr>
        </p:nvSpPr>
        <p:spPr>
          <a:xfrm>
            <a:off x="340917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1" name="Text Placeholder 23"/>
          <p:cNvSpPr>
            <a:spLocks noGrp="1"/>
          </p:cNvSpPr>
          <p:nvPr>
            <p:ph type="body" sz="quarter" idx="38"/>
          </p:nvPr>
        </p:nvSpPr>
        <p:spPr>
          <a:xfrm>
            <a:off x="340896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4117730"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dirty="0"/>
              <a:t>2</a:t>
            </a:r>
          </a:p>
        </p:txBody>
      </p:sp>
      <p:sp>
        <p:nvSpPr>
          <p:cNvPr id="33" name="Content Placeholder 2"/>
          <p:cNvSpPr>
            <a:spLocks noGrp="1"/>
          </p:cNvSpPr>
          <p:nvPr>
            <p:ph idx="40" hasCustomPrompt="1"/>
          </p:nvPr>
        </p:nvSpPr>
        <p:spPr>
          <a:xfrm>
            <a:off x="6201823"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0161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911748"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dirty="0"/>
              <a:t>3</a:t>
            </a:r>
          </a:p>
        </p:txBody>
      </p:sp>
      <p:sp>
        <p:nvSpPr>
          <p:cNvPr id="36" name="Content Placeholder 2"/>
          <p:cNvSpPr>
            <a:spLocks noGrp="1"/>
          </p:cNvSpPr>
          <p:nvPr>
            <p:ph idx="43" hasCustomPrompt="1"/>
          </p:nvPr>
        </p:nvSpPr>
        <p:spPr>
          <a:xfrm>
            <a:off x="9026759"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02655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736687"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dirty="0"/>
              <a:t>4</a:t>
            </a:r>
          </a:p>
        </p:txBody>
      </p:sp>
      <p:sp>
        <p:nvSpPr>
          <p:cNvPr id="4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23"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4" name="Text Placeholder 19"/>
          <p:cNvSpPr>
            <a:spLocks noGrp="1"/>
          </p:cNvSpPr>
          <p:nvPr>
            <p:ph type="body" sz="quarter" idx="13" hasCustomPrompt="1"/>
          </p:nvPr>
        </p:nvSpPr>
        <p:spPr>
          <a:xfrm>
            <a:off x="268224" y="779413"/>
            <a:ext cx="11228613" cy="611237"/>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8"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201937275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0"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1"/>
          </p:nvPr>
        </p:nvSpPr>
        <p:spPr>
          <a:xfrm>
            <a:off x="755215"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38"/>
          </p:nvPr>
        </p:nvSpPr>
        <p:spPr>
          <a:xfrm>
            <a:off x="3543679"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94324"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133392"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4</a:t>
            </a:r>
          </a:p>
        </p:txBody>
      </p:sp>
      <p:sp>
        <p:nvSpPr>
          <p:cNvPr id="4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25"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9"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208564712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2"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s-ES" smtClean="0">
                <a:solidFill>
                  <a:srgbClr val="FFFFFF">
                    <a:lumMod val="50000"/>
                  </a:srgbClr>
                </a:solidFill>
              </a:rPr>
              <a:pPr/>
              <a:t>‹#›</a:t>
            </a:fld>
            <a:endParaRPr lang="es-ES" dirty="0">
              <a:solidFill>
                <a:srgbClr val="FFFFFF">
                  <a:lumMod val="50000"/>
                </a:srgbClr>
              </a:solidFill>
            </a:endParaRPr>
          </a:p>
        </p:txBody>
      </p:sp>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0" name="Marcador de texto 4"/>
          <p:cNvSpPr>
            <a:spLocks noGrp="1"/>
          </p:cNvSpPr>
          <p:nvPr>
            <p:ph type="body" sz="quarter" idx="36" hasCustomPrompt="1"/>
          </p:nvPr>
        </p:nvSpPr>
        <p:spPr>
          <a:xfrm>
            <a:off x="628190" y="2291032"/>
            <a:ext cx="956105" cy="663649"/>
          </a:xfrm>
          <a:prstGeom prst="rect">
            <a:avLst/>
          </a:prstGeom>
        </p:spPr>
        <p:txBody>
          <a:bodyPr>
            <a:noAutofit/>
          </a:bodyPr>
          <a:lstStyle>
            <a:lvl1pPr marL="0" indent="0" algn="ctr">
              <a:buNone/>
              <a:defRPr sz="4500">
                <a:solidFill>
                  <a:schemeClr val="tx1"/>
                </a:solidFill>
              </a:defRPr>
            </a:lvl1pPr>
          </a:lstStyle>
          <a:p>
            <a:pPr lvl="0"/>
            <a:r>
              <a:rPr lang="en-GB" noProof="0" dirty="0"/>
              <a:t>1.</a:t>
            </a:r>
          </a:p>
        </p:txBody>
      </p:sp>
      <p:sp>
        <p:nvSpPr>
          <p:cNvPr id="24" name="Marcador de texto 4"/>
          <p:cNvSpPr>
            <a:spLocks noGrp="1"/>
          </p:cNvSpPr>
          <p:nvPr>
            <p:ph type="body" sz="quarter" idx="38" hasCustomPrompt="1"/>
          </p:nvPr>
        </p:nvSpPr>
        <p:spPr>
          <a:xfrm>
            <a:off x="628190" y="3380951"/>
            <a:ext cx="956105" cy="663649"/>
          </a:xfrm>
          <a:prstGeom prst="rect">
            <a:avLst/>
          </a:prstGeom>
        </p:spPr>
        <p:txBody>
          <a:bodyPr>
            <a:noAutofit/>
          </a:bodyPr>
          <a:lstStyle>
            <a:lvl1pPr marL="0" indent="0" algn="ctr">
              <a:buNone/>
              <a:defRPr sz="4500">
                <a:solidFill>
                  <a:schemeClr val="tx1"/>
                </a:solidFill>
              </a:defRPr>
            </a:lvl1pPr>
          </a:lstStyle>
          <a:p>
            <a:pPr lvl="0"/>
            <a:r>
              <a:rPr lang="en-GB" noProof="0" dirty="0"/>
              <a:t>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7" name="Marcador de texto 4"/>
          <p:cNvSpPr>
            <a:spLocks noGrp="1"/>
          </p:cNvSpPr>
          <p:nvPr>
            <p:ph type="body" sz="quarter" idx="42" hasCustomPrompt="1"/>
          </p:nvPr>
        </p:nvSpPr>
        <p:spPr>
          <a:xfrm>
            <a:off x="628190" y="4459850"/>
            <a:ext cx="956105" cy="663649"/>
          </a:xfrm>
          <a:prstGeom prst="rect">
            <a:avLst/>
          </a:prstGeom>
        </p:spPr>
        <p:txBody>
          <a:bodyPr>
            <a:noAutofit/>
          </a:bodyPr>
          <a:lstStyle>
            <a:lvl1pPr marL="0" indent="0" algn="ctr">
              <a:buNone/>
              <a:defRPr sz="4500">
                <a:solidFill>
                  <a:schemeClr val="tx1"/>
                </a:solidFill>
              </a:defRPr>
            </a:lvl1pPr>
          </a:lstStyle>
          <a:p>
            <a:pPr lvl="0"/>
            <a:r>
              <a:rPr lang="en-GB" noProof="0" dirty="0"/>
              <a:t>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5"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3" name="Marcador de posición de imagen 28"/>
          <p:cNvSpPr>
            <a:spLocks noGrp="1"/>
          </p:cNvSpPr>
          <p:nvPr>
            <p:ph type="pic" sz="quarter" idx="44" hasCustomPrompt="1"/>
          </p:nvPr>
        </p:nvSpPr>
        <p:spPr>
          <a:xfrm>
            <a:off x="7695959" y="2218004"/>
            <a:ext cx="3359735" cy="3256492"/>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95000"/>
            </a:schemeClr>
          </a:solidFill>
        </p:spPr>
        <p:txBody>
          <a:bodyPr wrap="square" anchor="ctr">
            <a:noAutofit/>
          </a:bodyPr>
          <a:lstStyle>
            <a:lvl1pPr marL="0" indent="0" algn="l">
              <a:buNone/>
              <a:defRPr/>
            </a:lvl1pPr>
          </a:lstStyle>
          <a:p>
            <a:r>
              <a:rPr lang="en-GB" noProof="0" dirty="0"/>
              <a:t>     </a:t>
            </a:r>
            <a:br>
              <a:rPr lang="en-GB" noProof="0" dirty="0"/>
            </a:br>
            <a:br>
              <a:rPr lang="en-GB" noProof="0" dirty="0"/>
            </a:br>
            <a:r>
              <a:rPr lang="en-GB" noProof="0" dirty="0"/>
              <a:t> Insert your picture here</a:t>
            </a:r>
          </a:p>
        </p:txBody>
      </p:sp>
    </p:spTree>
    <p:extLst>
      <p:ext uri="{BB962C8B-B14F-4D97-AF65-F5344CB8AC3E}">
        <p14:creationId xmlns:p14="http://schemas.microsoft.com/office/powerpoint/2010/main" val="40471269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8"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000" baseline="0">
                <a:solidFill>
                  <a:schemeClr val="accent2"/>
                </a:solidFill>
              </a:defRPr>
            </a:lvl1pPr>
          </a:lstStyle>
          <a:p>
            <a:pPr lvl="0"/>
            <a:r>
              <a:rPr lang="en-GB" noProof="0" dirty="0"/>
              <a:t>Title here</a:t>
            </a:r>
          </a:p>
        </p:txBody>
      </p:sp>
      <p:sp>
        <p:nvSpPr>
          <p:cNvPr id="19" name="Marcador de texto 33"/>
          <p:cNvSpPr>
            <a:spLocks noGrp="1"/>
          </p:cNvSpPr>
          <p:nvPr>
            <p:ph type="body" sz="quarter" idx="16" hasCustomPrompt="1"/>
          </p:nvPr>
        </p:nvSpPr>
        <p:spPr>
          <a:xfrm>
            <a:off x="576481" y="4420860"/>
            <a:ext cx="2942647" cy="431800"/>
          </a:xfrm>
          <a:prstGeom prst="rect">
            <a:avLst/>
          </a:prstGeom>
        </p:spPr>
        <p:txBody>
          <a:bodyPr>
            <a:noAutofit/>
          </a:bodyPr>
          <a:lstStyle>
            <a:lvl1pPr marL="0" indent="0">
              <a:buNone/>
              <a:defRPr sz="2400" baseline="0">
                <a:solidFill>
                  <a:schemeClr val="accent2"/>
                </a:solidFill>
              </a:defRPr>
            </a:lvl1pPr>
          </a:lstStyle>
          <a:p>
            <a:pPr lvl="0"/>
            <a:r>
              <a:rPr lang="en-GB" noProof="0" dirty="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2800" baseline="0">
                <a:solidFill>
                  <a:schemeClr val="accent2"/>
                </a:solidFill>
              </a:defRPr>
            </a:lvl1pPr>
          </a:lstStyle>
          <a:p>
            <a:pPr lvl="0"/>
            <a:r>
              <a:rPr lang="en-GB" noProof="0" dirty="0"/>
              <a:t>Highlight here</a:t>
            </a:r>
          </a:p>
        </p:txBody>
      </p:sp>
      <p:sp>
        <p:nvSpPr>
          <p:cNvPr id="22" name="Marcador de texto 2"/>
          <p:cNvSpPr>
            <a:spLocks noGrp="1"/>
          </p:cNvSpPr>
          <p:nvPr>
            <p:ph type="body" sz="quarter" idx="18" hasCustomPrompt="1"/>
          </p:nvPr>
        </p:nvSpPr>
        <p:spPr>
          <a:xfrm>
            <a:off x="576481" y="4875698"/>
            <a:ext cx="2929143" cy="1307738"/>
          </a:xfrm>
          <a:prstGeom prst="rect">
            <a:avLst/>
          </a:prstGeom>
        </p:spPr>
        <p:txBody>
          <a:bodyPr>
            <a:normAutofit/>
          </a:bodyPr>
          <a:lstStyle>
            <a:lvl1pPr marL="130960" indent="-130960">
              <a:lnSpc>
                <a:spcPct val="100000"/>
              </a:lnSpc>
              <a:defRPr sz="2000">
                <a:solidFill>
                  <a:srgbClr val="323232"/>
                </a:solidFill>
              </a:defRPr>
            </a:lvl1pPr>
            <a:lvl2pPr marL="538163" indent="-139700">
              <a:lnSpc>
                <a:spcPct val="100000"/>
              </a:lnSpc>
              <a:defRPr sz="2000">
                <a:solidFill>
                  <a:srgbClr val="323232"/>
                </a:solidFill>
              </a:defRPr>
            </a:lvl2pPr>
            <a:lvl3pPr marL="985838" indent="-138113">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2000">
                <a:solidFill>
                  <a:srgbClr val="323232"/>
                </a:solidFill>
              </a:defRPr>
            </a:lvl2pPr>
            <a:lvl3pPr marL="1076325" indent="-161925">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1800">
                <a:solidFill>
                  <a:srgbClr val="323232"/>
                </a:solidFill>
              </a:defRPr>
            </a:lvl2pPr>
            <a:lvl3pPr marL="1076325" indent="-228600">
              <a:lnSpc>
                <a:spcPct val="100000"/>
              </a:lnSpc>
              <a:defRPr sz="1400">
                <a:solidFill>
                  <a:srgbClr val="323232"/>
                </a:solidFill>
              </a:defRPr>
            </a:lvl3pPr>
            <a:lvl4pPr marL="1371600" indent="0">
              <a:lnSpc>
                <a:spcPct val="100000"/>
              </a:lnSpc>
              <a:buNone/>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	</a:t>
            </a:r>
          </a:p>
        </p:txBody>
      </p:sp>
      <p:sp>
        <p:nvSpPr>
          <p:cNvPr id="27"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4"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3379814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17"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3" name="Text Placeholder 23"/>
          <p:cNvSpPr>
            <a:spLocks noGrp="1"/>
          </p:cNvSpPr>
          <p:nvPr>
            <p:ph type="body" sz="quarter" idx="21"/>
          </p:nvPr>
        </p:nvSpPr>
        <p:spPr>
          <a:xfrm>
            <a:off x="768777"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5" name="Text Placeholder 23"/>
          <p:cNvSpPr>
            <a:spLocks noGrp="1"/>
          </p:cNvSpPr>
          <p:nvPr>
            <p:ph type="body" sz="quarter" idx="31"/>
          </p:nvPr>
        </p:nvSpPr>
        <p:spPr>
          <a:xfrm>
            <a:off x="3563913"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3" name="Text Placeholder 23"/>
          <p:cNvSpPr>
            <a:spLocks noGrp="1"/>
          </p:cNvSpPr>
          <p:nvPr>
            <p:ph type="body" sz="quarter" idx="33"/>
          </p:nvPr>
        </p:nvSpPr>
        <p:spPr>
          <a:xfrm>
            <a:off x="6364567" y="4332130"/>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5" name="Text Placeholder 23"/>
          <p:cNvSpPr>
            <a:spLocks noGrp="1"/>
          </p:cNvSpPr>
          <p:nvPr>
            <p:ph type="body" sz="quarter" idx="35"/>
          </p:nvPr>
        </p:nvSpPr>
        <p:spPr>
          <a:xfrm>
            <a:off x="9135814"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9" name="Title 1"/>
          <p:cNvSpPr>
            <a:spLocks noGrp="1"/>
          </p:cNvSpPr>
          <p:nvPr>
            <p:ph type="title" hasCustomPrompt="1"/>
          </p:nvPr>
        </p:nvSpPr>
        <p:spPr>
          <a:xfrm>
            <a:off x="268224" y="296865"/>
            <a:ext cx="10915493" cy="482549"/>
          </a:xfrm>
        </p:spPr>
        <p:txBody>
          <a:bodyPr anchor="t">
            <a:noAutofit/>
          </a:bodyPr>
          <a:lstStyle>
            <a:lvl1pPr>
              <a:defRPr sz="2400">
                <a:solidFill>
                  <a:schemeClr val="tx2"/>
                </a:solidFill>
                <a:latin typeface="+mj-lt"/>
              </a:defRPr>
            </a:lvl1pPr>
          </a:lstStyle>
          <a:p>
            <a:r>
              <a:rPr lang="en-GB" noProof="0" dirty="0"/>
              <a:t>Add your title here</a:t>
            </a:r>
          </a:p>
        </p:txBody>
      </p:sp>
      <p:sp>
        <p:nvSpPr>
          <p:cNvPr id="20" name="Text Placeholder 19"/>
          <p:cNvSpPr>
            <a:spLocks noGrp="1"/>
          </p:cNvSpPr>
          <p:nvPr>
            <p:ph type="body" sz="quarter" idx="13"/>
          </p:nvPr>
        </p:nvSpPr>
        <p:spPr>
          <a:xfrm>
            <a:off x="268224" y="779412"/>
            <a:ext cx="10891629" cy="468000"/>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81551127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0" y="5905500"/>
            <a:ext cx="8715375" cy="952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dirty="0">
              <a:solidFill>
                <a:srgbClr val="005EB8"/>
              </a:solidFill>
            </a:endParaRPr>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55" name="Text Placeholder 23"/>
          <p:cNvSpPr>
            <a:spLocks noGrp="1"/>
          </p:cNvSpPr>
          <p:nvPr>
            <p:ph type="body" sz="quarter" idx="38" hasCustomPrompt="1"/>
          </p:nvPr>
        </p:nvSpPr>
        <p:spPr>
          <a:xfrm>
            <a:off x="389804" y="6323083"/>
            <a:ext cx="1764284"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Tree>
    <p:extLst>
      <p:ext uri="{BB962C8B-B14F-4D97-AF65-F5344CB8AC3E}">
        <p14:creationId xmlns:p14="http://schemas.microsoft.com/office/powerpoint/2010/main" val="80625080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hape 1">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4377712"/>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92608" y="779416"/>
            <a:ext cx="11228613" cy="411209"/>
          </a:xfrm>
          <a:prstGeom prst="rect">
            <a:avLst/>
          </a:prstGeom>
        </p:spPr>
        <p:txBody>
          <a:bodyPr>
            <a:noAutofit/>
          </a:bodyPr>
          <a:lstStyle>
            <a:lvl1pPr marL="0" indent="0">
              <a:lnSpc>
                <a:spcPct val="100000"/>
              </a:lnSpc>
              <a:buNone/>
              <a:defRPr sz="16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9" name="Picture Placeholder 18"/>
          <p:cNvSpPr>
            <a:spLocks noGrp="1"/>
          </p:cNvSpPr>
          <p:nvPr>
            <p:ph type="pic" sz="quarter" idx="19" hasCustomPrompt="1"/>
          </p:nvPr>
        </p:nvSpPr>
        <p:spPr>
          <a:xfrm>
            <a:off x="6434720" y="1753456"/>
            <a:ext cx="4556125" cy="3886200"/>
          </a:xfrm>
          <a:custGeom>
            <a:avLst/>
            <a:gdLst>
              <a:gd name="connsiteX0" fmla="*/ 3764756 w 4556125"/>
              <a:gd name="connsiteY0" fmla="*/ 0 h 3886200"/>
              <a:gd name="connsiteX1" fmla="*/ 3778647 w 4556125"/>
              <a:gd name="connsiteY1" fmla="*/ 0 h 3886200"/>
              <a:gd name="connsiteX2" fmla="*/ 3792538 w 4556125"/>
              <a:gd name="connsiteY2" fmla="*/ 397 h 3886200"/>
              <a:gd name="connsiteX3" fmla="*/ 3806031 w 4556125"/>
              <a:gd name="connsiteY3" fmla="*/ 1191 h 3886200"/>
              <a:gd name="connsiteX4" fmla="*/ 3819922 w 4556125"/>
              <a:gd name="connsiteY4" fmla="*/ 2381 h 3886200"/>
              <a:gd name="connsiteX5" fmla="*/ 3833019 w 4556125"/>
              <a:gd name="connsiteY5" fmla="*/ 3969 h 3886200"/>
              <a:gd name="connsiteX6" fmla="*/ 3846512 w 4556125"/>
              <a:gd name="connsiteY6" fmla="*/ 5953 h 3886200"/>
              <a:gd name="connsiteX7" fmla="*/ 3859610 w 4556125"/>
              <a:gd name="connsiteY7" fmla="*/ 8731 h 3886200"/>
              <a:gd name="connsiteX8" fmla="*/ 3871912 w 4556125"/>
              <a:gd name="connsiteY8" fmla="*/ 11510 h 3886200"/>
              <a:gd name="connsiteX9" fmla="*/ 3885010 w 4556125"/>
              <a:gd name="connsiteY9" fmla="*/ 14685 h 3886200"/>
              <a:gd name="connsiteX10" fmla="*/ 3897710 w 4556125"/>
              <a:gd name="connsiteY10" fmla="*/ 18256 h 3886200"/>
              <a:gd name="connsiteX11" fmla="*/ 3910410 w 4556125"/>
              <a:gd name="connsiteY11" fmla="*/ 22622 h 3886200"/>
              <a:gd name="connsiteX12" fmla="*/ 3923110 w 4556125"/>
              <a:gd name="connsiteY12" fmla="*/ 26591 h 3886200"/>
              <a:gd name="connsiteX13" fmla="*/ 3935016 w 4556125"/>
              <a:gd name="connsiteY13" fmla="*/ 31750 h 3886200"/>
              <a:gd name="connsiteX14" fmla="*/ 3947716 w 4556125"/>
              <a:gd name="connsiteY14" fmla="*/ 36910 h 3886200"/>
              <a:gd name="connsiteX15" fmla="*/ 3959622 w 4556125"/>
              <a:gd name="connsiteY15" fmla="*/ 42863 h 3886200"/>
              <a:gd name="connsiteX16" fmla="*/ 3971131 w 4556125"/>
              <a:gd name="connsiteY16" fmla="*/ 48419 h 3886200"/>
              <a:gd name="connsiteX17" fmla="*/ 3983434 w 4556125"/>
              <a:gd name="connsiteY17" fmla="*/ 54769 h 3886200"/>
              <a:gd name="connsiteX18" fmla="*/ 3994944 w 4556125"/>
              <a:gd name="connsiteY18" fmla="*/ 61516 h 3886200"/>
              <a:gd name="connsiteX19" fmla="*/ 4006453 w 4556125"/>
              <a:gd name="connsiteY19" fmla="*/ 68660 h 3886200"/>
              <a:gd name="connsiteX20" fmla="*/ 4017962 w 4556125"/>
              <a:gd name="connsiteY20" fmla="*/ 76200 h 3886200"/>
              <a:gd name="connsiteX21" fmla="*/ 4029075 w 4556125"/>
              <a:gd name="connsiteY21" fmla="*/ 83741 h 3886200"/>
              <a:gd name="connsiteX22" fmla="*/ 4040188 w 4556125"/>
              <a:gd name="connsiteY22" fmla="*/ 91678 h 3886200"/>
              <a:gd name="connsiteX23" fmla="*/ 4051300 w 4556125"/>
              <a:gd name="connsiteY23" fmla="*/ 100013 h 3886200"/>
              <a:gd name="connsiteX24" fmla="*/ 4062412 w 4556125"/>
              <a:gd name="connsiteY24" fmla="*/ 108744 h 3886200"/>
              <a:gd name="connsiteX25" fmla="*/ 4073128 w 4556125"/>
              <a:gd name="connsiteY25" fmla="*/ 117872 h 3886200"/>
              <a:gd name="connsiteX26" fmla="*/ 4083844 w 4556125"/>
              <a:gd name="connsiteY26" fmla="*/ 127000 h 3886200"/>
              <a:gd name="connsiteX27" fmla="*/ 4094560 w 4556125"/>
              <a:gd name="connsiteY27" fmla="*/ 136525 h 3886200"/>
              <a:gd name="connsiteX28" fmla="*/ 4104481 w 4556125"/>
              <a:gd name="connsiteY28" fmla="*/ 146447 h 3886200"/>
              <a:gd name="connsiteX29" fmla="*/ 4125119 w 4556125"/>
              <a:gd name="connsiteY29" fmla="*/ 167084 h 3886200"/>
              <a:gd name="connsiteX30" fmla="*/ 4145360 w 4556125"/>
              <a:gd name="connsiteY30" fmla="*/ 188913 h 3886200"/>
              <a:gd name="connsiteX31" fmla="*/ 4164410 w 4556125"/>
              <a:gd name="connsiteY31" fmla="*/ 211931 h 3886200"/>
              <a:gd name="connsiteX32" fmla="*/ 4183856 w 4556125"/>
              <a:gd name="connsiteY32" fmla="*/ 235744 h 3886200"/>
              <a:gd name="connsiteX33" fmla="*/ 4202112 w 4556125"/>
              <a:gd name="connsiteY33" fmla="*/ 260350 h 3886200"/>
              <a:gd name="connsiteX34" fmla="*/ 4219972 w 4556125"/>
              <a:gd name="connsiteY34" fmla="*/ 286544 h 3886200"/>
              <a:gd name="connsiteX35" fmla="*/ 4237434 w 4556125"/>
              <a:gd name="connsiteY35" fmla="*/ 313135 h 3886200"/>
              <a:gd name="connsiteX36" fmla="*/ 4254500 w 4556125"/>
              <a:gd name="connsiteY36" fmla="*/ 340519 h 3886200"/>
              <a:gd name="connsiteX37" fmla="*/ 4271169 w 4556125"/>
              <a:gd name="connsiteY37" fmla="*/ 369094 h 3886200"/>
              <a:gd name="connsiteX38" fmla="*/ 4286647 w 4556125"/>
              <a:gd name="connsiteY38" fmla="*/ 398463 h 3886200"/>
              <a:gd name="connsiteX39" fmla="*/ 4302522 w 4556125"/>
              <a:gd name="connsiteY39" fmla="*/ 427831 h 3886200"/>
              <a:gd name="connsiteX40" fmla="*/ 4317603 w 4556125"/>
              <a:gd name="connsiteY40" fmla="*/ 458391 h 3886200"/>
              <a:gd name="connsiteX41" fmla="*/ 4332288 w 4556125"/>
              <a:gd name="connsiteY41" fmla="*/ 489347 h 3886200"/>
              <a:gd name="connsiteX42" fmla="*/ 4346178 w 4556125"/>
              <a:gd name="connsiteY42" fmla="*/ 521097 h 3886200"/>
              <a:gd name="connsiteX43" fmla="*/ 4359672 w 4556125"/>
              <a:gd name="connsiteY43" fmla="*/ 553244 h 3886200"/>
              <a:gd name="connsiteX44" fmla="*/ 4372769 w 4556125"/>
              <a:gd name="connsiteY44" fmla="*/ 586185 h 3886200"/>
              <a:gd name="connsiteX45" fmla="*/ 4385469 w 4556125"/>
              <a:gd name="connsiteY45" fmla="*/ 619522 h 3886200"/>
              <a:gd name="connsiteX46" fmla="*/ 4398169 w 4556125"/>
              <a:gd name="connsiteY46" fmla="*/ 652463 h 3886200"/>
              <a:gd name="connsiteX47" fmla="*/ 4409678 w 4556125"/>
              <a:gd name="connsiteY47" fmla="*/ 686991 h 3886200"/>
              <a:gd name="connsiteX48" fmla="*/ 4420790 w 4556125"/>
              <a:gd name="connsiteY48" fmla="*/ 721122 h 3886200"/>
              <a:gd name="connsiteX49" fmla="*/ 4431903 w 4556125"/>
              <a:gd name="connsiteY49" fmla="*/ 755253 h 3886200"/>
              <a:gd name="connsiteX50" fmla="*/ 4441825 w 4556125"/>
              <a:gd name="connsiteY50" fmla="*/ 790178 h 3886200"/>
              <a:gd name="connsiteX51" fmla="*/ 4451747 w 4556125"/>
              <a:gd name="connsiteY51" fmla="*/ 824706 h 3886200"/>
              <a:gd name="connsiteX52" fmla="*/ 4461669 w 4556125"/>
              <a:gd name="connsiteY52" fmla="*/ 859631 h 3886200"/>
              <a:gd name="connsiteX53" fmla="*/ 4470003 w 4556125"/>
              <a:gd name="connsiteY53" fmla="*/ 894953 h 3886200"/>
              <a:gd name="connsiteX54" fmla="*/ 4478734 w 4556125"/>
              <a:gd name="connsiteY54" fmla="*/ 929878 h 3886200"/>
              <a:gd name="connsiteX55" fmla="*/ 4486672 w 4556125"/>
              <a:gd name="connsiteY55" fmla="*/ 964803 h 3886200"/>
              <a:gd name="connsiteX56" fmla="*/ 4494212 w 4556125"/>
              <a:gd name="connsiteY56" fmla="*/ 1000125 h 3886200"/>
              <a:gd name="connsiteX57" fmla="*/ 4501753 w 4556125"/>
              <a:gd name="connsiteY57" fmla="*/ 1034653 h 3886200"/>
              <a:gd name="connsiteX58" fmla="*/ 4508500 w 4556125"/>
              <a:gd name="connsiteY58" fmla="*/ 1069578 h 3886200"/>
              <a:gd name="connsiteX59" fmla="*/ 4514453 w 4556125"/>
              <a:gd name="connsiteY59" fmla="*/ 1104106 h 3886200"/>
              <a:gd name="connsiteX60" fmla="*/ 4520406 w 4556125"/>
              <a:gd name="connsiteY60" fmla="*/ 1138635 h 3886200"/>
              <a:gd name="connsiteX61" fmla="*/ 4525566 w 4556125"/>
              <a:gd name="connsiteY61" fmla="*/ 1172369 h 3886200"/>
              <a:gd name="connsiteX62" fmla="*/ 4530328 w 4556125"/>
              <a:gd name="connsiteY62" fmla="*/ 1206103 h 3886200"/>
              <a:gd name="connsiteX63" fmla="*/ 4535090 w 4556125"/>
              <a:gd name="connsiteY63" fmla="*/ 1239044 h 3886200"/>
              <a:gd name="connsiteX64" fmla="*/ 4539060 w 4556125"/>
              <a:gd name="connsiteY64" fmla="*/ 1271985 h 3886200"/>
              <a:gd name="connsiteX65" fmla="*/ 4542631 w 4556125"/>
              <a:gd name="connsiteY65" fmla="*/ 1304528 h 3886200"/>
              <a:gd name="connsiteX66" fmla="*/ 4546203 w 4556125"/>
              <a:gd name="connsiteY66" fmla="*/ 1336278 h 3886200"/>
              <a:gd name="connsiteX67" fmla="*/ 4548584 w 4556125"/>
              <a:gd name="connsiteY67" fmla="*/ 1367631 h 3886200"/>
              <a:gd name="connsiteX68" fmla="*/ 4550966 w 4556125"/>
              <a:gd name="connsiteY68" fmla="*/ 1398191 h 3886200"/>
              <a:gd name="connsiteX69" fmla="*/ 4552950 w 4556125"/>
              <a:gd name="connsiteY69" fmla="*/ 1428353 h 3886200"/>
              <a:gd name="connsiteX70" fmla="*/ 4554538 w 4556125"/>
              <a:gd name="connsiteY70" fmla="*/ 1458119 h 3886200"/>
              <a:gd name="connsiteX71" fmla="*/ 4555728 w 4556125"/>
              <a:gd name="connsiteY71" fmla="*/ 1486297 h 3886200"/>
              <a:gd name="connsiteX72" fmla="*/ 4556125 w 4556125"/>
              <a:gd name="connsiteY72" fmla="*/ 1514475 h 3886200"/>
              <a:gd name="connsiteX73" fmla="*/ 4556125 w 4556125"/>
              <a:gd name="connsiteY73" fmla="*/ 1541463 h 3886200"/>
              <a:gd name="connsiteX74" fmla="*/ 4556125 w 4556125"/>
              <a:gd name="connsiteY74" fmla="*/ 1572022 h 3886200"/>
              <a:gd name="connsiteX75" fmla="*/ 4555728 w 4556125"/>
              <a:gd name="connsiteY75" fmla="*/ 1602185 h 3886200"/>
              <a:gd name="connsiteX76" fmla="*/ 4554538 w 4556125"/>
              <a:gd name="connsiteY76" fmla="*/ 1631950 h 3886200"/>
              <a:gd name="connsiteX77" fmla="*/ 4552950 w 4556125"/>
              <a:gd name="connsiteY77" fmla="*/ 1662113 h 3886200"/>
              <a:gd name="connsiteX78" fmla="*/ 4551760 w 4556125"/>
              <a:gd name="connsiteY78" fmla="*/ 1692275 h 3886200"/>
              <a:gd name="connsiteX79" fmla="*/ 4549775 w 4556125"/>
              <a:gd name="connsiteY79" fmla="*/ 1722041 h 3886200"/>
              <a:gd name="connsiteX80" fmla="*/ 4546997 w 4556125"/>
              <a:gd name="connsiteY80" fmla="*/ 1751806 h 3886200"/>
              <a:gd name="connsiteX81" fmla="*/ 4544219 w 4556125"/>
              <a:gd name="connsiteY81" fmla="*/ 1781572 h 3886200"/>
              <a:gd name="connsiteX82" fmla="*/ 4541044 w 4556125"/>
              <a:gd name="connsiteY82" fmla="*/ 1810544 h 3886200"/>
              <a:gd name="connsiteX83" fmla="*/ 4537472 w 4556125"/>
              <a:gd name="connsiteY83" fmla="*/ 1840310 h 3886200"/>
              <a:gd name="connsiteX84" fmla="*/ 4533503 w 4556125"/>
              <a:gd name="connsiteY84" fmla="*/ 1869678 h 3886200"/>
              <a:gd name="connsiteX85" fmla="*/ 4529534 w 4556125"/>
              <a:gd name="connsiteY85" fmla="*/ 1898650 h 3886200"/>
              <a:gd name="connsiteX86" fmla="*/ 4524375 w 4556125"/>
              <a:gd name="connsiteY86" fmla="*/ 1927622 h 3886200"/>
              <a:gd name="connsiteX87" fmla="*/ 4520010 w 4556125"/>
              <a:gd name="connsiteY87" fmla="*/ 1956594 h 3886200"/>
              <a:gd name="connsiteX88" fmla="*/ 4514453 w 4556125"/>
              <a:gd name="connsiteY88" fmla="*/ 1985566 h 3886200"/>
              <a:gd name="connsiteX89" fmla="*/ 4508897 w 4556125"/>
              <a:gd name="connsiteY89" fmla="*/ 2014141 h 3886200"/>
              <a:gd name="connsiteX90" fmla="*/ 4502944 w 4556125"/>
              <a:gd name="connsiteY90" fmla="*/ 2042716 h 3886200"/>
              <a:gd name="connsiteX91" fmla="*/ 4496197 w 4556125"/>
              <a:gd name="connsiteY91" fmla="*/ 2070894 h 3886200"/>
              <a:gd name="connsiteX92" fmla="*/ 4489847 w 4556125"/>
              <a:gd name="connsiteY92" fmla="*/ 2099072 h 3886200"/>
              <a:gd name="connsiteX93" fmla="*/ 4482703 w 4556125"/>
              <a:gd name="connsiteY93" fmla="*/ 2127250 h 3886200"/>
              <a:gd name="connsiteX94" fmla="*/ 4475162 w 4556125"/>
              <a:gd name="connsiteY94" fmla="*/ 2155428 h 3886200"/>
              <a:gd name="connsiteX95" fmla="*/ 4467622 w 4556125"/>
              <a:gd name="connsiteY95" fmla="*/ 2183210 h 3886200"/>
              <a:gd name="connsiteX96" fmla="*/ 4459684 w 4556125"/>
              <a:gd name="connsiteY96" fmla="*/ 2210991 h 3886200"/>
              <a:gd name="connsiteX97" fmla="*/ 4450953 w 4556125"/>
              <a:gd name="connsiteY97" fmla="*/ 2238772 h 3886200"/>
              <a:gd name="connsiteX98" fmla="*/ 4442222 w 4556125"/>
              <a:gd name="connsiteY98" fmla="*/ 2266553 h 3886200"/>
              <a:gd name="connsiteX99" fmla="*/ 4433490 w 4556125"/>
              <a:gd name="connsiteY99" fmla="*/ 2293541 h 3886200"/>
              <a:gd name="connsiteX100" fmla="*/ 4423569 w 4556125"/>
              <a:gd name="connsiteY100" fmla="*/ 2320925 h 3886200"/>
              <a:gd name="connsiteX101" fmla="*/ 4414044 w 4556125"/>
              <a:gd name="connsiteY101" fmla="*/ 2347913 h 3886200"/>
              <a:gd name="connsiteX102" fmla="*/ 4404122 w 4556125"/>
              <a:gd name="connsiteY102" fmla="*/ 2374503 h 3886200"/>
              <a:gd name="connsiteX103" fmla="*/ 4393406 w 4556125"/>
              <a:gd name="connsiteY103" fmla="*/ 2401491 h 3886200"/>
              <a:gd name="connsiteX104" fmla="*/ 4383088 w 4556125"/>
              <a:gd name="connsiteY104" fmla="*/ 2428081 h 3886200"/>
              <a:gd name="connsiteX105" fmla="*/ 4371975 w 4556125"/>
              <a:gd name="connsiteY105" fmla="*/ 2454275 h 3886200"/>
              <a:gd name="connsiteX106" fmla="*/ 4360862 w 4556125"/>
              <a:gd name="connsiteY106" fmla="*/ 2480469 h 3886200"/>
              <a:gd name="connsiteX107" fmla="*/ 4349353 w 4556125"/>
              <a:gd name="connsiteY107" fmla="*/ 2506663 h 3886200"/>
              <a:gd name="connsiteX108" fmla="*/ 4337050 w 4556125"/>
              <a:gd name="connsiteY108" fmla="*/ 2532063 h 3886200"/>
              <a:gd name="connsiteX109" fmla="*/ 4325144 w 4556125"/>
              <a:gd name="connsiteY109" fmla="*/ 2557860 h 3886200"/>
              <a:gd name="connsiteX110" fmla="*/ 4312444 w 4556125"/>
              <a:gd name="connsiteY110" fmla="*/ 2583656 h 3886200"/>
              <a:gd name="connsiteX111" fmla="*/ 4299744 w 4556125"/>
              <a:gd name="connsiteY111" fmla="*/ 2608660 h 3886200"/>
              <a:gd name="connsiteX112" fmla="*/ 4286647 w 4556125"/>
              <a:gd name="connsiteY112" fmla="*/ 2634060 h 3886200"/>
              <a:gd name="connsiteX113" fmla="*/ 4273153 w 4556125"/>
              <a:gd name="connsiteY113" fmla="*/ 2659063 h 3886200"/>
              <a:gd name="connsiteX114" fmla="*/ 4259660 w 4556125"/>
              <a:gd name="connsiteY114" fmla="*/ 2683669 h 3886200"/>
              <a:gd name="connsiteX115" fmla="*/ 4245769 w 4556125"/>
              <a:gd name="connsiteY115" fmla="*/ 2708275 h 3886200"/>
              <a:gd name="connsiteX116" fmla="*/ 4231481 w 4556125"/>
              <a:gd name="connsiteY116" fmla="*/ 2733278 h 3886200"/>
              <a:gd name="connsiteX117" fmla="*/ 4216797 w 4556125"/>
              <a:gd name="connsiteY117" fmla="*/ 2757488 h 3886200"/>
              <a:gd name="connsiteX118" fmla="*/ 4202112 w 4556125"/>
              <a:gd name="connsiteY118" fmla="*/ 2781300 h 3886200"/>
              <a:gd name="connsiteX119" fmla="*/ 4187031 w 4556125"/>
              <a:gd name="connsiteY119" fmla="*/ 2805113 h 3886200"/>
              <a:gd name="connsiteX120" fmla="*/ 4171553 w 4556125"/>
              <a:gd name="connsiteY120" fmla="*/ 2828925 h 3886200"/>
              <a:gd name="connsiteX121" fmla="*/ 4156075 w 4556125"/>
              <a:gd name="connsiteY121" fmla="*/ 2852341 h 3886200"/>
              <a:gd name="connsiteX122" fmla="*/ 4139803 w 4556125"/>
              <a:gd name="connsiteY122" fmla="*/ 2875756 h 3886200"/>
              <a:gd name="connsiteX123" fmla="*/ 4123928 w 4556125"/>
              <a:gd name="connsiteY123" fmla="*/ 2898775 h 3886200"/>
              <a:gd name="connsiteX124" fmla="*/ 4107260 w 4556125"/>
              <a:gd name="connsiteY124" fmla="*/ 2921794 h 3886200"/>
              <a:gd name="connsiteX125" fmla="*/ 4090590 w 4556125"/>
              <a:gd name="connsiteY125" fmla="*/ 2944416 h 3886200"/>
              <a:gd name="connsiteX126" fmla="*/ 4073525 w 4556125"/>
              <a:gd name="connsiteY126" fmla="*/ 2966641 h 3886200"/>
              <a:gd name="connsiteX127" fmla="*/ 4056460 w 4556125"/>
              <a:gd name="connsiteY127" fmla="*/ 2988866 h 3886200"/>
              <a:gd name="connsiteX128" fmla="*/ 4038600 w 4556125"/>
              <a:gd name="connsiteY128" fmla="*/ 3011091 h 3886200"/>
              <a:gd name="connsiteX129" fmla="*/ 4021138 w 4556125"/>
              <a:gd name="connsiteY129" fmla="*/ 3033316 h 3886200"/>
              <a:gd name="connsiteX130" fmla="*/ 4002881 w 4556125"/>
              <a:gd name="connsiteY130" fmla="*/ 3054350 h 3886200"/>
              <a:gd name="connsiteX131" fmla="*/ 3985022 w 4556125"/>
              <a:gd name="connsiteY131" fmla="*/ 3076178 h 3886200"/>
              <a:gd name="connsiteX132" fmla="*/ 3966369 w 4556125"/>
              <a:gd name="connsiteY132" fmla="*/ 3097213 h 3886200"/>
              <a:gd name="connsiteX133" fmla="*/ 3947716 w 4556125"/>
              <a:gd name="connsiteY133" fmla="*/ 3117850 h 3886200"/>
              <a:gd name="connsiteX134" fmla="*/ 3928666 w 4556125"/>
              <a:gd name="connsiteY134" fmla="*/ 3138885 h 3886200"/>
              <a:gd name="connsiteX135" fmla="*/ 3908822 w 4556125"/>
              <a:gd name="connsiteY135" fmla="*/ 3159125 h 3886200"/>
              <a:gd name="connsiteX136" fmla="*/ 3889772 w 4556125"/>
              <a:gd name="connsiteY136" fmla="*/ 3179366 h 3886200"/>
              <a:gd name="connsiteX137" fmla="*/ 3869531 w 4556125"/>
              <a:gd name="connsiteY137" fmla="*/ 3199210 h 3886200"/>
              <a:gd name="connsiteX138" fmla="*/ 3850084 w 4556125"/>
              <a:gd name="connsiteY138" fmla="*/ 3219053 h 3886200"/>
              <a:gd name="connsiteX139" fmla="*/ 3829447 w 4556125"/>
              <a:gd name="connsiteY139" fmla="*/ 3238500 h 3886200"/>
              <a:gd name="connsiteX140" fmla="*/ 3809206 w 4556125"/>
              <a:gd name="connsiteY140" fmla="*/ 3258344 h 3886200"/>
              <a:gd name="connsiteX141" fmla="*/ 3788569 w 4556125"/>
              <a:gd name="connsiteY141" fmla="*/ 3276997 h 3886200"/>
              <a:gd name="connsiteX142" fmla="*/ 3767534 w 4556125"/>
              <a:gd name="connsiteY142" fmla="*/ 3296047 h 3886200"/>
              <a:gd name="connsiteX143" fmla="*/ 3746103 w 4556125"/>
              <a:gd name="connsiteY143" fmla="*/ 3314700 h 3886200"/>
              <a:gd name="connsiteX144" fmla="*/ 3725069 w 4556125"/>
              <a:gd name="connsiteY144" fmla="*/ 3332956 h 3886200"/>
              <a:gd name="connsiteX145" fmla="*/ 3703638 w 4556125"/>
              <a:gd name="connsiteY145" fmla="*/ 3350816 h 3886200"/>
              <a:gd name="connsiteX146" fmla="*/ 3681412 w 4556125"/>
              <a:gd name="connsiteY146" fmla="*/ 3368675 h 3886200"/>
              <a:gd name="connsiteX147" fmla="*/ 3659584 w 4556125"/>
              <a:gd name="connsiteY147" fmla="*/ 3386138 h 3886200"/>
              <a:gd name="connsiteX148" fmla="*/ 3636962 w 4556125"/>
              <a:gd name="connsiteY148" fmla="*/ 3403203 h 3886200"/>
              <a:gd name="connsiteX149" fmla="*/ 3614738 w 4556125"/>
              <a:gd name="connsiteY149" fmla="*/ 3420269 h 3886200"/>
              <a:gd name="connsiteX150" fmla="*/ 3592116 w 4556125"/>
              <a:gd name="connsiteY150" fmla="*/ 3436938 h 3886200"/>
              <a:gd name="connsiteX151" fmla="*/ 3569097 w 4556125"/>
              <a:gd name="connsiteY151" fmla="*/ 3453606 h 3886200"/>
              <a:gd name="connsiteX152" fmla="*/ 3546078 w 4556125"/>
              <a:gd name="connsiteY152" fmla="*/ 3469878 h 3886200"/>
              <a:gd name="connsiteX153" fmla="*/ 3522662 w 4556125"/>
              <a:gd name="connsiteY153" fmla="*/ 3485753 h 3886200"/>
              <a:gd name="connsiteX154" fmla="*/ 3499644 w 4556125"/>
              <a:gd name="connsiteY154" fmla="*/ 3501628 h 3886200"/>
              <a:gd name="connsiteX155" fmla="*/ 3475831 w 4556125"/>
              <a:gd name="connsiteY155" fmla="*/ 3517106 h 3886200"/>
              <a:gd name="connsiteX156" fmla="*/ 3452019 w 4556125"/>
              <a:gd name="connsiteY156" fmla="*/ 3532188 h 3886200"/>
              <a:gd name="connsiteX157" fmla="*/ 3427810 w 4556125"/>
              <a:gd name="connsiteY157" fmla="*/ 3546872 h 3886200"/>
              <a:gd name="connsiteX158" fmla="*/ 3403600 w 4556125"/>
              <a:gd name="connsiteY158" fmla="*/ 3561556 h 3886200"/>
              <a:gd name="connsiteX159" fmla="*/ 3379390 w 4556125"/>
              <a:gd name="connsiteY159" fmla="*/ 3575447 h 3886200"/>
              <a:gd name="connsiteX160" fmla="*/ 3354784 w 4556125"/>
              <a:gd name="connsiteY160" fmla="*/ 3589735 h 3886200"/>
              <a:gd name="connsiteX161" fmla="*/ 3329384 w 4556125"/>
              <a:gd name="connsiteY161" fmla="*/ 3603228 h 3886200"/>
              <a:gd name="connsiteX162" fmla="*/ 3304778 w 4556125"/>
              <a:gd name="connsiteY162" fmla="*/ 3616722 h 3886200"/>
              <a:gd name="connsiteX163" fmla="*/ 3279775 w 4556125"/>
              <a:gd name="connsiteY163" fmla="*/ 3629819 h 3886200"/>
              <a:gd name="connsiteX164" fmla="*/ 3253978 w 4556125"/>
              <a:gd name="connsiteY164" fmla="*/ 3642519 h 3886200"/>
              <a:gd name="connsiteX165" fmla="*/ 3228975 w 4556125"/>
              <a:gd name="connsiteY165" fmla="*/ 3655219 h 3886200"/>
              <a:gd name="connsiteX166" fmla="*/ 3202781 w 4556125"/>
              <a:gd name="connsiteY166" fmla="*/ 3667125 h 3886200"/>
              <a:gd name="connsiteX167" fmla="*/ 3176984 w 4556125"/>
              <a:gd name="connsiteY167" fmla="*/ 3679428 h 3886200"/>
              <a:gd name="connsiteX168" fmla="*/ 3150790 w 4556125"/>
              <a:gd name="connsiteY168" fmla="*/ 3690938 h 3886200"/>
              <a:gd name="connsiteX169" fmla="*/ 3124597 w 4556125"/>
              <a:gd name="connsiteY169" fmla="*/ 3702050 h 3886200"/>
              <a:gd name="connsiteX170" fmla="*/ 3098403 w 4556125"/>
              <a:gd name="connsiteY170" fmla="*/ 3713163 h 3886200"/>
              <a:gd name="connsiteX171" fmla="*/ 3071812 w 4556125"/>
              <a:gd name="connsiteY171" fmla="*/ 3723481 h 3886200"/>
              <a:gd name="connsiteX172" fmla="*/ 3045222 w 4556125"/>
              <a:gd name="connsiteY172" fmla="*/ 3734197 h 3886200"/>
              <a:gd name="connsiteX173" fmla="*/ 3018631 w 4556125"/>
              <a:gd name="connsiteY173" fmla="*/ 3744119 h 3886200"/>
              <a:gd name="connsiteX174" fmla="*/ 2991247 w 4556125"/>
              <a:gd name="connsiteY174" fmla="*/ 3753644 h 3886200"/>
              <a:gd name="connsiteX175" fmla="*/ 2964260 w 4556125"/>
              <a:gd name="connsiteY175" fmla="*/ 3763169 h 3886200"/>
              <a:gd name="connsiteX176" fmla="*/ 2936875 w 4556125"/>
              <a:gd name="connsiteY176" fmla="*/ 3771900 h 3886200"/>
              <a:gd name="connsiteX177" fmla="*/ 2909094 w 4556125"/>
              <a:gd name="connsiteY177" fmla="*/ 3781028 h 3886200"/>
              <a:gd name="connsiteX178" fmla="*/ 2882106 w 4556125"/>
              <a:gd name="connsiteY178" fmla="*/ 3789363 h 3886200"/>
              <a:gd name="connsiteX179" fmla="*/ 2853928 w 4556125"/>
              <a:gd name="connsiteY179" fmla="*/ 3797697 h 3886200"/>
              <a:gd name="connsiteX180" fmla="*/ 2826147 w 4556125"/>
              <a:gd name="connsiteY180" fmla="*/ 3805238 h 3886200"/>
              <a:gd name="connsiteX181" fmla="*/ 2797969 w 4556125"/>
              <a:gd name="connsiteY181" fmla="*/ 3812778 h 3886200"/>
              <a:gd name="connsiteX182" fmla="*/ 2770188 w 4556125"/>
              <a:gd name="connsiteY182" fmla="*/ 3819922 h 3886200"/>
              <a:gd name="connsiteX183" fmla="*/ 2741612 w 4556125"/>
              <a:gd name="connsiteY183" fmla="*/ 3826272 h 3886200"/>
              <a:gd name="connsiteX184" fmla="*/ 2713434 w 4556125"/>
              <a:gd name="connsiteY184" fmla="*/ 3833019 h 3886200"/>
              <a:gd name="connsiteX185" fmla="*/ 2684860 w 4556125"/>
              <a:gd name="connsiteY185" fmla="*/ 3838972 h 3886200"/>
              <a:gd name="connsiteX186" fmla="*/ 2655888 w 4556125"/>
              <a:gd name="connsiteY186" fmla="*/ 3844528 h 3886200"/>
              <a:gd name="connsiteX187" fmla="*/ 2627312 w 4556125"/>
              <a:gd name="connsiteY187" fmla="*/ 3849291 h 3886200"/>
              <a:gd name="connsiteX188" fmla="*/ 2598738 w 4556125"/>
              <a:gd name="connsiteY188" fmla="*/ 3854450 h 3886200"/>
              <a:gd name="connsiteX189" fmla="*/ 2569369 w 4556125"/>
              <a:gd name="connsiteY189" fmla="*/ 3859610 h 3886200"/>
              <a:gd name="connsiteX190" fmla="*/ 2540397 w 4556125"/>
              <a:gd name="connsiteY190" fmla="*/ 3863578 h 3886200"/>
              <a:gd name="connsiteX191" fmla="*/ 2511028 w 4556125"/>
              <a:gd name="connsiteY191" fmla="*/ 3867547 h 3886200"/>
              <a:gd name="connsiteX192" fmla="*/ 2481262 w 4556125"/>
              <a:gd name="connsiteY192" fmla="*/ 3871119 h 3886200"/>
              <a:gd name="connsiteX193" fmla="*/ 2452290 w 4556125"/>
              <a:gd name="connsiteY193" fmla="*/ 3874294 h 3886200"/>
              <a:gd name="connsiteX194" fmla="*/ 2422525 w 4556125"/>
              <a:gd name="connsiteY194" fmla="*/ 3877072 h 3886200"/>
              <a:gd name="connsiteX195" fmla="*/ 2392760 w 4556125"/>
              <a:gd name="connsiteY195" fmla="*/ 3879850 h 3886200"/>
              <a:gd name="connsiteX196" fmla="*/ 2362994 w 4556125"/>
              <a:gd name="connsiteY196" fmla="*/ 3881835 h 3886200"/>
              <a:gd name="connsiteX197" fmla="*/ 2332831 w 4556125"/>
              <a:gd name="connsiteY197" fmla="*/ 3883025 h 3886200"/>
              <a:gd name="connsiteX198" fmla="*/ 2303066 w 4556125"/>
              <a:gd name="connsiteY198" fmla="*/ 3884613 h 3886200"/>
              <a:gd name="connsiteX199" fmla="*/ 2272903 w 4556125"/>
              <a:gd name="connsiteY199" fmla="*/ 3885803 h 3886200"/>
              <a:gd name="connsiteX200" fmla="*/ 2242740 w 4556125"/>
              <a:gd name="connsiteY200" fmla="*/ 3886200 h 3886200"/>
              <a:gd name="connsiteX201" fmla="*/ 2212578 w 4556125"/>
              <a:gd name="connsiteY201" fmla="*/ 3886200 h 3886200"/>
              <a:gd name="connsiteX202" fmla="*/ 2169716 w 4556125"/>
              <a:gd name="connsiteY202" fmla="*/ 3885803 h 3886200"/>
              <a:gd name="connsiteX203" fmla="*/ 2127647 w 4556125"/>
              <a:gd name="connsiteY203" fmla="*/ 3884613 h 3886200"/>
              <a:gd name="connsiteX204" fmla="*/ 2085975 w 4556125"/>
              <a:gd name="connsiteY204" fmla="*/ 3883025 h 3886200"/>
              <a:gd name="connsiteX205" fmla="*/ 2043906 w 4556125"/>
              <a:gd name="connsiteY205" fmla="*/ 3880247 h 3886200"/>
              <a:gd name="connsiteX206" fmla="*/ 2002234 w 4556125"/>
              <a:gd name="connsiteY206" fmla="*/ 3877072 h 3886200"/>
              <a:gd name="connsiteX207" fmla="*/ 1960960 w 4556125"/>
              <a:gd name="connsiteY207" fmla="*/ 3873103 h 3886200"/>
              <a:gd name="connsiteX208" fmla="*/ 1919685 w 4556125"/>
              <a:gd name="connsiteY208" fmla="*/ 3867944 h 3886200"/>
              <a:gd name="connsiteX209" fmla="*/ 1878410 w 4556125"/>
              <a:gd name="connsiteY209" fmla="*/ 3862388 h 3886200"/>
              <a:gd name="connsiteX210" fmla="*/ 1837531 w 4556125"/>
              <a:gd name="connsiteY210" fmla="*/ 3856435 h 3886200"/>
              <a:gd name="connsiteX211" fmla="*/ 1797050 w 4556125"/>
              <a:gd name="connsiteY211" fmla="*/ 3849291 h 3886200"/>
              <a:gd name="connsiteX212" fmla="*/ 1756569 w 4556125"/>
              <a:gd name="connsiteY212" fmla="*/ 3841750 h 3886200"/>
              <a:gd name="connsiteX213" fmla="*/ 1716881 w 4556125"/>
              <a:gd name="connsiteY213" fmla="*/ 3833813 h 3886200"/>
              <a:gd name="connsiteX214" fmla="*/ 1677194 w 4556125"/>
              <a:gd name="connsiteY214" fmla="*/ 3824685 h 3886200"/>
              <a:gd name="connsiteX215" fmla="*/ 1637506 w 4556125"/>
              <a:gd name="connsiteY215" fmla="*/ 3815160 h 3886200"/>
              <a:gd name="connsiteX216" fmla="*/ 1598216 w 4556125"/>
              <a:gd name="connsiteY216" fmla="*/ 3804444 h 3886200"/>
              <a:gd name="connsiteX217" fmla="*/ 1558925 w 4556125"/>
              <a:gd name="connsiteY217" fmla="*/ 3794125 h 3886200"/>
              <a:gd name="connsiteX218" fmla="*/ 1520031 w 4556125"/>
              <a:gd name="connsiteY218" fmla="*/ 3782616 h 3886200"/>
              <a:gd name="connsiteX219" fmla="*/ 1481931 w 4556125"/>
              <a:gd name="connsiteY219" fmla="*/ 3769916 h 3886200"/>
              <a:gd name="connsiteX220" fmla="*/ 1443435 w 4556125"/>
              <a:gd name="connsiteY220" fmla="*/ 3757216 h 3886200"/>
              <a:gd name="connsiteX221" fmla="*/ 1405731 w 4556125"/>
              <a:gd name="connsiteY221" fmla="*/ 3743722 h 3886200"/>
              <a:gd name="connsiteX222" fmla="*/ 1368028 w 4556125"/>
              <a:gd name="connsiteY222" fmla="*/ 3729435 h 3886200"/>
              <a:gd name="connsiteX223" fmla="*/ 1330722 w 4556125"/>
              <a:gd name="connsiteY223" fmla="*/ 3714353 h 3886200"/>
              <a:gd name="connsiteX224" fmla="*/ 1294210 w 4556125"/>
              <a:gd name="connsiteY224" fmla="*/ 3699272 h 3886200"/>
              <a:gd name="connsiteX225" fmla="*/ 1257300 w 4556125"/>
              <a:gd name="connsiteY225" fmla="*/ 3683397 h 3886200"/>
              <a:gd name="connsiteX226" fmla="*/ 1221185 w 4556125"/>
              <a:gd name="connsiteY226" fmla="*/ 3666728 h 3886200"/>
              <a:gd name="connsiteX227" fmla="*/ 1184672 w 4556125"/>
              <a:gd name="connsiteY227" fmla="*/ 3649663 h 3886200"/>
              <a:gd name="connsiteX228" fmla="*/ 1148953 w 4556125"/>
              <a:gd name="connsiteY228" fmla="*/ 3631803 h 3886200"/>
              <a:gd name="connsiteX229" fmla="*/ 1114028 w 4556125"/>
              <a:gd name="connsiteY229" fmla="*/ 3613150 h 3886200"/>
              <a:gd name="connsiteX230" fmla="*/ 1079103 w 4556125"/>
              <a:gd name="connsiteY230" fmla="*/ 3594100 h 3886200"/>
              <a:gd name="connsiteX231" fmla="*/ 1044575 w 4556125"/>
              <a:gd name="connsiteY231" fmla="*/ 3575050 h 3886200"/>
              <a:gd name="connsiteX232" fmla="*/ 1010047 w 4556125"/>
              <a:gd name="connsiteY232" fmla="*/ 3554810 h 3886200"/>
              <a:gd name="connsiteX233" fmla="*/ 976313 w 4556125"/>
              <a:gd name="connsiteY233" fmla="*/ 3534172 h 3886200"/>
              <a:gd name="connsiteX234" fmla="*/ 943372 w 4556125"/>
              <a:gd name="connsiteY234" fmla="*/ 3513138 h 3886200"/>
              <a:gd name="connsiteX235" fmla="*/ 910035 w 4556125"/>
              <a:gd name="connsiteY235" fmla="*/ 3490913 h 3886200"/>
              <a:gd name="connsiteX236" fmla="*/ 877491 w 4556125"/>
              <a:gd name="connsiteY236" fmla="*/ 3468688 h 3886200"/>
              <a:gd name="connsiteX237" fmla="*/ 844947 w 4556125"/>
              <a:gd name="connsiteY237" fmla="*/ 3446066 h 3886200"/>
              <a:gd name="connsiteX238" fmla="*/ 813197 w 4556125"/>
              <a:gd name="connsiteY238" fmla="*/ 3422650 h 3886200"/>
              <a:gd name="connsiteX239" fmla="*/ 781844 w 4556125"/>
              <a:gd name="connsiteY239" fmla="*/ 3398838 h 3886200"/>
              <a:gd name="connsiteX240" fmla="*/ 750888 w 4556125"/>
              <a:gd name="connsiteY240" fmla="*/ 3374231 h 3886200"/>
              <a:gd name="connsiteX241" fmla="*/ 720328 w 4556125"/>
              <a:gd name="connsiteY241" fmla="*/ 3349625 h 3886200"/>
              <a:gd name="connsiteX242" fmla="*/ 690166 w 4556125"/>
              <a:gd name="connsiteY242" fmla="*/ 3324225 h 3886200"/>
              <a:gd name="connsiteX243" fmla="*/ 660400 w 4556125"/>
              <a:gd name="connsiteY243" fmla="*/ 3298031 h 3886200"/>
              <a:gd name="connsiteX244" fmla="*/ 630635 w 4556125"/>
              <a:gd name="connsiteY244" fmla="*/ 3271838 h 3886200"/>
              <a:gd name="connsiteX245" fmla="*/ 602060 w 4556125"/>
              <a:gd name="connsiteY245" fmla="*/ 3244850 h 3886200"/>
              <a:gd name="connsiteX246" fmla="*/ 573881 w 4556125"/>
              <a:gd name="connsiteY246" fmla="*/ 3217466 h 3886200"/>
              <a:gd name="connsiteX247" fmla="*/ 545703 w 4556125"/>
              <a:gd name="connsiteY247" fmla="*/ 3189685 h 3886200"/>
              <a:gd name="connsiteX248" fmla="*/ 518319 w 4556125"/>
              <a:gd name="connsiteY248" fmla="*/ 3161506 h 3886200"/>
              <a:gd name="connsiteX249" fmla="*/ 491331 w 4556125"/>
              <a:gd name="connsiteY249" fmla="*/ 3132931 h 3886200"/>
              <a:gd name="connsiteX250" fmla="*/ 464741 w 4556125"/>
              <a:gd name="connsiteY250" fmla="*/ 3103563 h 3886200"/>
              <a:gd name="connsiteX251" fmla="*/ 438944 w 4556125"/>
              <a:gd name="connsiteY251" fmla="*/ 3074194 h 3886200"/>
              <a:gd name="connsiteX252" fmla="*/ 413147 w 4556125"/>
              <a:gd name="connsiteY252" fmla="*/ 3043635 h 3886200"/>
              <a:gd name="connsiteX253" fmla="*/ 388144 w 4556125"/>
              <a:gd name="connsiteY253" fmla="*/ 3013472 h 3886200"/>
              <a:gd name="connsiteX254" fmla="*/ 363538 w 4556125"/>
              <a:gd name="connsiteY254" fmla="*/ 2982516 h 3886200"/>
              <a:gd name="connsiteX255" fmla="*/ 339725 w 4556125"/>
              <a:gd name="connsiteY255" fmla="*/ 2951163 h 3886200"/>
              <a:gd name="connsiteX256" fmla="*/ 315913 w 4556125"/>
              <a:gd name="connsiteY256" fmla="*/ 2919413 h 3886200"/>
              <a:gd name="connsiteX257" fmla="*/ 292894 w 4556125"/>
              <a:gd name="connsiteY257" fmla="*/ 2887266 h 3886200"/>
              <a:gd name="connsiteX258" fmla="*/ 270669 w 4556125"/>
              <a:gd name="connsiteY258" fmla="*/ 2854325 h 3886200"/>
              <a:gd name="connsiteX259" fmla="*/ 248841 w 4556125"/>
              <a:gd name="connsiteY259" fmla="*/ 2821781 h 3886200"/>
              <a:gd name="connsiteX260" fmla="*/ 227410 w 4556125"/>
              <a:gd name="connsiteY260" fmla="*/ 2788444 h 3886200"/>
              <a:gd name="connsiteX261" fmla="*/ 206375 w 4556125"/>
              <a:gd name="connsiteY261" fmla="*/ 2754710 h 3886200"/>
              <a:gd name="connsiteX262" fmla="*/ 186135 w 4556125"/>
              <a:gd name="connsiteY262" fmla="*/ 2720578 h 3886200"/>
              <a:gd name="connsiteX263" fmla="*/ 166688 w 4556125"/>
              <a:gd name="connsiteY263" fmla="*/ 2685653 h 3886200"/>
              <a:gd name="connsiteX264" fmla="*/ 147638 w 4556125"/>
              <a:gd name="connsiteY264" fmla="*/ 2651125 h 3886200"/>
              <a:gd name="connsiteX265" fmla="*/ 128985 w 4556125"/>
              <a:gd name="connsiteY265" fmla="*/ 2615803 h 3886200"/>
              <a:gd name="connsiteX266" fmla="*/ 114697 w 4556125"/>
              <a:gd name="connsiteY266" fmla="*/ 2589213 h 3886200"/>
              <a:gd name="connsiteX267" fmla="*/ 101600 w 4556125"/>
              <a:gd name="connsiteY267" fmla="*/ 2561828 h 3886200"/>
              <a:gd name="connsiteX268" fmla="*/ 89694 w 4556125"/>
              <a:gd name="connsiteY268" fmla="*/ 2534841 h 3886200"/>
              <a:gd name="connsiteX269" fmla="*/ 78185 w 4556125"/>
              <a:gd name="connsiteY269" fmla="*/ 2507060 h 3886200"/>
              <a:gd name="connsiteX270" fmla="*/ 67072 w 4556125"/>
              <a:gd name="connsiteY270" fmla="*/ 2479278 h 3886200"/>
              <a:gd name="connsiteX271" fmla="*/ 57547 w 4556125"/>
              <a:gd name="connsiteY271" fmla="*/ 2451100 h 3886200"/>
              <a:gd name="connsiteX272" fmla="*/ 47625 w 4556125"/>
              <a:gd name="connsiteY272" fmla="*/ 2422922 h 3886200"/>
              <a:gd name="connsiteX273" fmla="*/ 39688 w 4556125"/>
              <a:gd name="connsiteY273" fmla="*/ 2394347 h 3886200"/>
              <a:gd name="connsiteX274" fmla="*/ 32147 w 4556125"/>
              <a:gd name="connsiteY274" fmla="*/ 2365375 h 3886200"/>
              <a:gd name="connsiteX275" fmla="*/ 25797 w 4556125"/>
              <a:gd name="connsiteY275" fmla="*/ 2336800 h 3886200"/>
              <a:gd name="connsiteX276" fmla="*/ 19447 w 4556125"/>
              <a:gd name="connsiteY276" fmla="*/ 2308225 h 3886200"/>
              <a:gd name="connsiteX277" fmla="*/ 14685 w 4556125"/>
              <a:gd name="connsiteY277" fmla="*/ 2278856 h 3886200"/>
              <a:gd name="connsiteX278" fmla="*/ 9922 w 4556125"/>
              <a:gd name="connsiteY278" fmla="*/ 2250281 h 3886200"/>
              <a:gd name="connsiteX279" fmla="*/ 6350 w 4556125"/>
              <a:gd name="connsiteY279" fmla="*/ 2220913 h 3886200"/>
              <a:gd name="connsiteX280" fmla="*/ 3572 w 4556125"/>
              <a:gd name="connsiteY280" fmla="*/ 2191941 h 3886200"/>
              <a:gd name="connsiteX281" fmla="*/ 1588 w 4556125"/>
              <a:gd name="connsiteY281" fmla="*/ 2162175 h 3886200"/>
              <a:gd name="connsiteX282" fmla="*/ 397 w 4556125"/>
              <a:gd name="connsiteY282" fmla="*/ 2132806 h 3886200"/>
              <a:gd name="connsiteX283" fmla="*/ 0 w 4556125"/>
              <a:gd name="connsiteY283" fmla="*/ 2103835 h 3886200"/>
              <a:gd name="connsiteX284" fmla="*/ 0 w 4556125"/>
              <a:gd name="connsiteY284" fmla="*/ 2074466 h 3886200"/>
              <a:gd name="connsiteX285" fmla="*/ 1588 w 4556125"/>
              <a:gd name="connsiteY285" fmla="*/ 2044700 h 3886200"/>
              <a:gd name="connsiteX286" fmla="*/ 3175 w 4556125"/>
              <a:gd name="connsiteY286" fmla="*/ 2015728 h 3886200"/>
              <a:gd name="connsiteX287" fmla="*/ 5556 w 4556125"/>
              <a:gd name="connsiteY287" fmla="*/ 1986360 h 3886200"/>
              <a:gd name="connsiteX288" fmla="*/ 9128 w 4556125"/>
              <a:gd name="connsiteY288" fmla="*/ 1957388 h 3886200"/>
              <a:gd name="connsiteX289" fmla="*/ 13097 w 4556125"/>
              <a:gd name="connsiteY289" fmla="*/ 1928019 h 3886200"/>
              <a:gd name="connsiteX290" fmla="*/ 18256 w 4556125"/>
              <a:gd name="connsiteY290" fmla="*/ 1898650 h 3886200"/>
              <a:gd name="connsiteX291" fmla="*/ 23813 w 4556125"/>
              <a:gd name="connsiteY291" fmla="*/ 1870075 h 3886200"/>
              <a:gd name="connsiteX292" fmla="*/ 29766 w 4556125"/>
              <a:gd name="connsiteY292" fmla="*/ 1841500 h 3886200"/>
              <a:gd name="connsiteX293" fmla="*/ 36910 w 4556125"/>
              <a:gd name="connsiteY293" fmla="*/ 1812528 h 3886200"/>
              <a:gd name="connsiteX294" fmla="*/ 44847 w 4556125"/>
              <a:gd name="connsiteY294" fmla="*/ 1783953 h 3886200"/>
              <a:gd name="connsiteX295" fmla="*/ 53181 w 4556125"/>
              <a:gd name="connsiteY295" fmla="*/ 1755775 h 3886200"/>
              <a:gd name="connsiteX296" fmla="*/ 62310 w 4556125"/>
              <a:gd name="connsiteY296" fmla="*/ 1727597 h 3886200"/>
              <a:gd name="connsiteX297" fmla="*/ 72628 w 4556125"/>
              <a:gd name="connsiteY297" fmla="*/ 1699419 h 3886200"/>
              <a:gd name="connsiteX298" fmla="*/ 83741 w 4556125"/>
              <a:gd name="connsiteY298" fmla="*/ 1671638 h 3886200"/>
              <a:gd name="connsiteX299" fmla="*/ 94456 w 4556125"/>
              <a:gd name="connsiteY299" fmla="*/ 1644650 h 3886200"/>
              <a:gd name="connsiteX300" fmla="*/ 106760 w 4556125"/>
              <a:gd name="connsiteY300" fmla="*/ 1617266 h 3886200"/>
              <a:gd name="connsiteX301" fmla="*/ 119856 w 4556125"/>
              <a:gd name="connsiteY301" fmla="*/ 1590278 h 3886200"/>
              <a:gd name="connsiteX302" fmla="*/ 133350 w 4556125"/>
              <a:gd name="connsiteY302" fmla="*/ 1563291 h 3886200"/>
              <a:gd name="connsiteX303" fmla="*/ 148035 w 4556125"/>
              <a:gd name="connsiteY303" fmla="*/ 1537097 h 3886200"/>
              <a:gd name="connsiteX304" fmla="*/ 162719 w 4556125"/>
              <a:gd name="connsiteY304" fmla="*/ 1510903 h 3886200"/>
              <a:gd name="connsiteX305" fmla="*/ 178594 w 4556125"/>
              <a:gd name="connsiteY305" fmla="*/ 1485503 h 3886200"/>
              <a:gd name="connsiteX306" fmla="*/ 194866 w 4556125"/>
              <a:gd name="connsiteY306" fmla="*/ 1460103 h 3886200"/>
              <a:gd name="connsiteX307" fmla="*/ 211931 w 4556125"/>
              <a:gd name="connsiteY307" fmla="*/ 1435100 h 3886200"/>
              <a:gd name="connsiteX308" fmla="*/ 230188 w 4556125"/>
              <a:gd name="connsiteY308" fmla="*/ 1410494 h 3886200"/>
              <a:gd name="connsiteX309" fmla="*/ 248047 w 4556125"/>
              <a:gd name="connsiteY309" fmla="*/ 1386285 h 3886200"/>
              <a:gd name="connsiteX310" fmla="*/ 267891 w 4556125"/>
              <a:gd name="connsiteY310" fmla="*/ 1362472 h 3886200"/>
              <a:gd name="connsiteX311" fmla="*/ 287338 w 4556125"/>
              <a:gd name="connsiteY311" fmla="*/ 1339056 h 3886200"/>
              <a:gd name="connsiteX312" fmla="*/ 307975 w 4556125"/>
              <a:gd name="connsiteY312" fmla="*/ 1316038 h 3886200"/>
              <a:gd name="connsiteX313" fmla="*/ 329010 w 4556125"/>
              <a:gd name="connsiteY313" fmla="*/ 1293416 h 3886200"/>
              <a:gd name="connsiteX314" fmla="*/ 351235 w 4556125"/>
              <a:gd name="connsiteY314" fmla="*/ 1271588 h 3886200"/>
              <a:gd name="connsiteX315" fmla="*/ 373856 w 4556125"/>
              <a:gd name="connsiteY315" fmla="*/ 1249760 h 3886200"/>
              <a:gd name="connsiteX316" fmla="*/ 397272 w 4556125"/>
              <a:gd name="connsiteY316" fmla="*/ 1229122 h 3886200"/>
              <a:gd name="connsiteX317" fmla="*/ 421481 w 4556125"/>
              <a:gd name="connsiteY317" fmla="*/ 1208485 h 3886200"/>
              <a:gd name="connsiteX318" fmla="*/ 445294 w 4556125"/>
              <a:gd name="connsiteY318" fmla="*/ 1188641 h 3886200"/>
              <a:gd name="connsiteX319" fmla="*/ 471091 w 4556125"/>
              <a:gd name="connsiteY319" fmla="*/ 1169194 h 3886200"/>
              <a:gd name="connsiteX320" fmla="*/ 496888 w 4556125"/>
              <a:gd name="connsiteY320" fmla="*/ 1150541 h 3886200"/>
              <a:gd name="connsiteX321" fmla="*/ 523478 w 4556125"/>
              <a:gd name="connsiteY321" fmla="*/ 1132285 h 3886200"/>
              <a:gd name="connsiteX322" fmla="*/ 550466 w 4556125"/>
              <a:gd name="connsiteY322" fmla="*/ 1114822 h 3886200"/>
              <a:gd name="connsiteX323" fmla="*/ 578644 w 4556125"/>
              <a:gd name="connsiteY323" fmla="*/ 1097756 h 3886200"/>
              <a:gd name="connsiteX324" fmla="*/ 606822 w 4556125"/>
              <a:gd name="connsiteY324" fmla="*/ 1081088 h 3886200"/>
              <a:gd name="connsiteX325" fmla="*/ 636191 w 4556125"/>
              <a:gd name="connsiteY325" fmla="*/ 1065610 h 3886200"/>
              <a:gd name="connsiteX326" fmla="*/ 666353 w 4556125"/>
              <a:gd name="connsiteY326" fmla="*/ 1050528 h 3886200"/>
              <a:gd name="connsiteX327" fmla="*/ 696516 w 4556125"/>
              <a:gd name="connsiteY327" fmla="*/ 1036241 h 3886200"/>
              <a:gd name="connsiteX328" fmla="*/ 727869 w 4556125"/>
              <a:gd name="connsiteY328" fmla="*/ 1022747 h 3886200"/>
              <a:gd name="connsiteX329" fmla="*/ 759619 w 4556125"/>
              <a:gd name="connsiteY329" fmla="*/ 1009650 h 3886200"/>
              <a:gd name="connsiteX330" fmla="*/ 3618310 w 4556125"/>
              <a:gd name="connsiteY330" fmla="*/ 26591 h 3886200"/>
              <a:gd name="connsiteX331" fmla="*/ 3633390 w 4556125"/>
              <a:gd name="connsiteY331" fmla="*/ 22225 h 3886200"/>
              <a:gd name="connsiteX332" fmla="*/ 3648472 w 4556125"/>
              <a:gd name="connsiteY332" fmla="*/ 17463 h 3886200"/>
              <a:gd name="connsiteX333" fmla="*/ 3663553 w 4556125"/>
              <a:gd name="connsiteY333" fmla="*/ 13494 h 3886200"/>
              <a:gd name="connsiteX334" fmla="*/ 3678634 w 4556125"/>
              <a:gd name="connsiteY334" fmla="*/ 10716 h 3886200"/>
              <a:gd name="connsiteX335" fmla="*/ 3693319 w 4556125"/>
              <a:gd name="connsiteY335" fmla="*/ 7541 h 3886200"/>
              <a:gd name="connsiteX336" fmla="*/ 3708003 w 4556125"/>
              <a:gd name="connsiteY336" fmla="*/ 5159 h 3886200"/>
              <a:gd name="connsiteX337" fmla="*/ 3722290 w 4556125"/>
              <a:gd name="connsiteY337" fmla="*/ 3175 h 3886200"/>
              <a:gd name="connsiteX338" fmla="*/ 3736578 w 4556125"/>
              <a:gd name="connsiteY338" fmla="*/ 1588 h 3886200"/>
              <a:gd name="connsiteX339" fmla="*/ 3750866 w 4556125"/>
              <a:gd name="connsiteY339" fmla="*/ 397 h 38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4556125" h="3886200">
                <a:moveTo>
                  <a:pt x="3764756" y="0"/>
                </a:moveTo>
                <a:lnTo>
                  <a:pt x="3778647" y="0"/>
                </a:lnTo>
                <a:lnTo>
                  <a:pt x="3792538" y="397"/>
                </a:lnTo>
                <a:lnTo>
                  <a:pt x="3806031" y="1191"/>
                </a:lnTo>
                <a:lnTo>
                  <a:pt x="3819922" y="2381"/>
                </a:lnTo>
                <a:lnTo>
                  <a:pt x="3833019" y="3969"/>
                </a:lnTo>
                <a:lnTo>
                  <a:pt x="3846512" y="5953"/>
                </a:lnTo>
                <a:lnTo>
                  <a:pt x="3859610" y="8731"/>
                </a:lnTo>
                <a:lnTo>
                  <a:pt x="3871912" y="11510"/>
                </a:lnTo>
                <a:lnTo>
                  <a:pt x="3885010" y="14685"/>
                </a:lnTo>
                <a:lnTo>
                  <a:pt x="3897710" y="18256"/>
                </a:lnTo>
                <a:lnTo>
                  <a:pt x="3910410" y="22622"/>
                </a:lnTo>
                <a:lnTo>
                  <a:pt x="3923110" y="26591"/>
                </a:lnTo>
                <a:lnTo>
                  <a:pt x="3935016" y="31750"/>
                </a:lnTo>
                <a:lnTo>
                  <a:pt x="3947716" y="36910"/>
                </a:lnTo>
                <a:lnTo>
                  <a:pt x="3959622" y="42863"/>
                </a:lnTo>
                <a:lnTo>
                  <a:pt x="3971131" y="48419"/>
                </a:lnTo>
                <a:lnTo>
                  <a:pt x="3983434" y="54769"/>
                </a:lnTo>
                <a:lnTo>
                  <a:pt x="3994944" y="61516"/>
                </a:lnTo>
                <a:lnTo>
                  <a:pt x="4006453" y="68660"/>
                </a:lnTo>
                <a:lnTo>
                  <a:pt x="4017962" y="76200"/>
                </a:lnTo>
                <a:lnTo>
                  <a:pt x="4029075" y="83741"/>
                </a:lnTo>
                <a:lnTo>
                  <a:pt x="4040188" y="91678"/>
                </a:lnTo>
                <a:lnTo>
                  <a:pt x="4051300" y="100013"/>
                </a:lnTo>
                <a:lnTo>
                  <a:pt x="4062412" y="108744"/>
                </a:lnTo>
                <a:lnTo>
                  <a:pt x="4073128" y="117872"/>
                </a:lnTo>
                <a:lnTo>
                  <a:pt x="4083844" y="127000"/>
                </a:lnTo>
                <a:lnTo>
                  <a:pt x="4094560" y="136525"/>
                </a:lnTo>
                <a:lnTo>
                  <a:pt x="4104481" y="146447"/>
                </a:lnTo>
                <a:lnTo>
                  <a:pt x="4125119" y="167084"/>
                </a:lnTo>
                <a:lnTo>
                  <a:pt x="4145360" y="188913"/>
                </a:lnTo>
                <a:lnTo>
                  <a:pt x="4164410" y="211931"/>
                </a:lnTo>
                <a:lnTo>
                  <a:pt x="4183856" y="235744"/>
                </a:lnTo>
                <a:lnTo>
                  <a:pt x="4202112" y="260350"/>
                </a:lnTo>
                <a:lnTo>
                  <a:pt x="4219972" y="286544"/>
                </a:lnTo>
                <a:lnTo>
                  <a:pt x="4237434" y="313135"/>
                </a:lnTo>
                <a:lnTo>
                  <a:pt x="4254500" y="340519"/>
                </a:lnTo>
                <a:lnTo>
                  <a:pt x="4271169" y="369094"/>
                </a:lnTo>
                <a:lnTo>
                  <a:pt x="4286647" y="398463"/>
                </a:lnTo>
                <a:lnTo>
                  <a:pt x="4302522" y="427831"/>
                </a:lnTo>
                <a:lnTo>
                  <a:pt x="4317603" y="458391"/>
                </a:lnTo>
                <a:lnTo>
                  <a:pt x="4332288" y="489347"/>
                </a:lnTo>
                <a:lnTo>
                  <a:pt x="4346178" y="521097"/>
                </a:lnTo>
                <a:lnTo>
                  <a:pt x="4359672" y="553244"/>
                </a:lnTo>
                <a:lnTo>
                  <a:pt x="4372769" y="586185"/>
                </a:lnTo>
                <a:lnTo>
                  <a:pt x="4385469" y="619522"/>
                </a:lnTo>
                <a:lnTo>
                  <a:pt x="4398169" y="652463"/>
                </a:lnTo>
                <a:lnTo>
                  <a:pt x="4409678" y="686991"/>
                </a:lnTo>
                <a:lnTo>
                  <a:pt x="4420790" y="721122"/>
                </a:lnTo>
                <a:lnTo>
                  <a:pt x="4431903" y="755253"/>
                </a:lnTo>
                <a:lnTo>
                  <a:pt x="4441825" y="790178"/>
                </a:lnTo>
                <a:lnTo>
                  <a:pt x="4451747" y="824706"/>
                </a:lnTo>
                <a:lnTo>
                  <a:pt x="4461669" y="859631"/>
                </a:lnTo>
                <a:lnTo>
                  <a:pt x="4470003" y="894953"/>
                </a:lnTo>
                <a:lnTo>
                  <a:pt x="4478734" y="929878"/>
                </a:lnTo>
                <a:lnTo>
                  <a:pt x="4486672" y="964803"/>
                </a:lnTo>
                <a:lnTo>
                  <a:pt x="4494212" y="1000125"/>
                </a:lnTo>
                <a:lnTo>
                  <a:pt x="4501753" y="1034653"/>
                </a:lnTo>
                <a:lnTo>
                  <a:pt x="4508500" y="1069578"/>
                </a:lnTo>
                <a:lnTo>
                  <a:pt x="4514453" y="1104106"/>
                </a:lnTo>
                <a:lnTo>
                  <a:pt x="4520406" y="1138635"/>
                </a:lnTo>
                <a:lnTo>
                  <a:pt x="4525566" y="1172369"/>
                </a:lnTo>
                <a:lnTo>
                  <a:pt x="4530328" y="1206103"/>
                </a:lnTo>
                <a:lnTo>
                  <a:pt x="4535090" y="1239044"/>
                </a:lnTo>
                <a:lnTo>
                  <a:pt x="4539060" y="1271985"/>
                </a:lnTo>
                <a:lnTo>
                  <a:pt x="4542631" y="1304528"/>
                </a:lnTo>
                <a:lnTo>
                  <a:pt x="4546203" y="1336278"/>
                </a:lnTo>
                <a:lnTo>
                  <a:pt x="4548584" y="1367631"/>
                </a:lnTo>
                <a:lnTo>
                  <a:pt x="4550966" y="1398191"/>
                </a:lnTo>
                <a:lnTo>
                  <a:pt x="4552950" y="1428353"/>
                </a:lnTo>
                <a:lnTo>
                  <a:pt x="4554538" y="1458119"/>
                </a:lnTo>
                <a:lnTo>
                  <a:pt x="4555728" y="1486297"/>
                </a:lnTo>
                <a:lnTo>
                  <a:pt x="4556125" y="1514475"/>
                </a:lnTo>
                <a:lnTo>
                  <a:pt x="4556125" y="1541463"/>
                </a:lnTo>
                <a:lnTo>
                  <a:pt x="4556125" y="1572022"/>
                </a:lnTo>
                <a:lnTo>
                  <a:pt x="4555728" y="1602185"/>
                </a:lnTo>
                <a:lnTo>
                  <a:pt x="4554538" y="1631950"/>
                </a:lnTo>
                <a:lnTo>
                  <a:pt x="4552950" y="1662113"/>
                </a:lnTo>
                <a:lnTo>
                  <a:pt x="4551760" y="1692275"/>
                </a:lnTo>
                <a:lnTo>
                  <a:pt x="4549775" y="1722041"/>
                </a:lnTo>
                <a:lnTo>
                  <a:pt x="4546997" y="1751806"/>
                </a:lnTo>
                <a:lnTo>
                  <a:pt x="4544219" y="1781572"/>
                </a:lnTo>
                <a:lnTo>
                  <a:pt x="4541044" y="1810544"/>
                </a:lnTo>
                <a:lnTo>
                  <a:pt x="4537472" y="1840310"/>
                </a:lnTo>
                <a:lnTo>
                  <a:pt x="4533503" y="1869678"/>
                </a:lnTo>
                <a:lnTo>
                  <a:pt x="4529534" y="1898650"/>
                </a:lnTo>
                <a:lnTo>
                  <a:pt x="4524375" y="1927622"/>
                </a:lnTo>
                <a:lnTo>
                  <a:pt x="4520010" y="1956594"/>
                </a:lnTo>
                <a:lnTo>
                  <a:pt x="4514453" y="1985566"/>
                </a:lnTo>
                <a:lnTo>
                  <a:pt x="4508897" y="2014141"/>
                </a:lnTo>
                <a:lnTo>
                  <a:pt x="4502944" y="2042716"/>
                </a:lnTo>
                <a:lnTo>
                  <a:pt x="4496197" y="2070894"/>
                </a:lnTo>
                <a:lnTo>
                  <a:pt x="4489847" y="2099072"/>
                </a:lnTo>
                <a:lnTo>
                  <a:pt x="4482703" y="2127250"/>
                </a:lnTo>
                <a:lnTo>
                  <a:pt x="4475162" y="2155428"/>
                </a:lnTo>
                <a:lnTo>
                  <a:pt x="4467622" y="2183210"/>
                </a:lnTo>
                <a:lnTo>
                  <a:pt x="4459684" y="2210991"/>
                </a:lnTo>
                <a:lnTo>
                  <a:pt x="4450953" y="2238772"/>
                </a:lnTo>
                <a:lnTo>
                  <a:pt x="4442222" y="2266553"/>
                </a:lnTo>
                <a:lnTo>
                  <a:pt x="4433490" y="2293541"/>
                </a:lnTo>
                <a:lnTo>
                  <a:pt x="4423569" y="2320925"/>
                </a:lnTo>
                <a:lnTo>
                  <a:pt x="4414044" y="2347913"/>
                </a:lnTo>
                <a:lnTo>
                  <a:pt x="4404122" y="2374503"/>
                </a:lnTo>
                <a:lnTo>
                  <a:pt x="4393406" y="2401491"/>
                </a:lnTo>
                <a:lnTo>
                  <a:pt x="4383088" y="2428081"/>
                </a:lnTo>
                <a:lnTo>
                  <a:pt x="4371975" y="2454275"/>
                </a:lnTo>
                <a:lnTo>
                  <a:pt x="4360862" y="2480469"/>
                </a:lnTo>
                <a:lnTo>
                  <a:pt x="4349353" y="2506663"/>
                </a:lnTo>
                <a:lnTo>
                  <a:pt x="4337050" y="2532063"/>
                </a:lnTo>
                <a:lnTo>
                  <a:pt x="4325144" y="2557860"/>
                </a:lnTo>
                <a:lnTo>
                  <a:pt x="4312444" y="2583656"/>
                </a:lnTo>
                <a:lnTo>
                  <a:pt x="4299744" y="2608660"/>
                </a:lnTo>
                <a:lnTo>
                  <a:pt x="4286647" y="2634060"/>
                </a:lnTo>
                <a:lnTo>
                  <a:pt x="4273153" y="2659063"/>
                </a:lnTo>
                <a:lnTo>
                  <a:pt x="4259660" y="2683669"/>
                </a:lnTo>
                <a:lnTo>
                  <a:pt x="4245769" y="2708275"/>
                </a:lnTo>
                <a:lnTo>
                  <a:pt x="4231481" y="2733278"/>
                </a:lnTo>
                <a:lnTo>
                  <a:pt x="4216797" y="2757488"/>
                </a:lnTo>
                <a:lnTo>
                  <a:pt x="4202112" y="2781300"/>
                </a:lnTo>
                <a:lnTo>
                  <a:pt x="4187031" y="2805113"/>
                </a:lnTo>
                <a:lnTo>
                  <a:pt x="4171553" y="2828925"/>
                </a:lnTo>
                <a:lnTo>
                  <a:pt x="4156075" y="2852341"/>
                </a:lnTo>
                <a:lnTo>
                  <a:pt x="4139803" y="2875756"/>
                </a:lnTo>
                <a:lnTo>
                  <a:pt x="4123928" y="2898775"/>
                </a:lnTo>
                <a:lnTo>
                  <a:pt x="4107260" y="2921794"/>
                </a:lnTo>
                <a:lnTo>
                  <a:pt x="4090590" y="2944416"/>
                </a:lnTo>
                <a:lnTo>
                  <a:pt x="4073525" y="2966641"/>
                </a:lnTo>
                <a:lnTo>
                  <a:pt x="4056460" y="2988866"/>
                </a:lnTo>
                <a:lnTo>
                  <a:pt x="4038600" y="3011091"/>
                </a:lnTo>
                <a:lnTo>
                  <a:pt x="4021138" y="3033316"/>
                </a:lnTo>
                <a:lnTo>
                  <a:pt x="4002881" y="3054350"/>
                </a:lnTo>
                <a:lnTo>
                  <a:pt x="3985022" y="3076178"/>
                </a:lnTo>
                <a:lnTo>
                  <a:pt x="3966369" y="3097213"/>
                </a:lnTo>
                <a:lnTo>
                  <a:pt x="3947716" y="3117850"/>
                </a:lnTo>
                <a:lnTo>
                  <a:pt x="3928666" y="3138885"/>
                </a:lnTo>
                <a:lnTo>
                  <a:pt x="3908822" y="3159125"/>
                </a:lnTo>
                <a:lnTo>
                  <a:pt x="3889772" y="3179366"/>
                </a:lnTo>
                <a:lnTo>
                  <a:pt x="3869531" y="3199210"/>
                </a:lnTo>
                <a:lnTo>
                  <a:pt x="3850084" y="3219053"/>
                </a:lnTo>
                <a:lnTo>
                  <a:pt x="3829447" y="3238500"/>
                </a:lnTo>
                <a:lnTo>
                  <a:pt x="3809206" y="3258344"/>
                </a:lnTo>
                <a:lnTo>
                  <a:pt x="3788569" y="3276997"/>
                </a:lnTo>
                <a:lnTo>
                  <a:pt x="3767534" y="3296047"/>
                </a:lnTo>
                <a:lnTo>
                  <a:pt x="3746103" y="3314700"/>
                </a:lnTo>
                <a:lnTo>
                  <a:pt x="3725069" y="3332956"/>
                </a:lnTo>
                <a:lnTo>
                  <a:pt x="3703638" y="3350816"/>
                </a:lnTo>
                <a:lnTo>
                  <a:pt x="3681412" y="3368675"/>
                </a:lnTo>
                <a:lnTo>
                  <a:pt x="3659584" y="3386138"/>
                </a:lnTo>
                <a:lnTo>
                  <a:pt x="3636962" y="3403203"/>
                </a:lnTo>
                <a:lnTo>
                  <a:pt x="3614738" y="3420269"/>
                </a:lnTo>
                <a:lnTo>
                  <a:pt x="3592116" y="3436938"/>
                </a:lnTo>
                <a:lnTo>
                  <a:pt x="3569097" y="3453606"/>
                </a:lnTo>
                <a:lnTo>
                  <a:pt x="3546078" y="3469878"/>
                </a:lnTo>
                <a:lnTo>
                  <a:pt x="3522662" y="3485753"/>
                </a:lnTo>
                <a:lnTo>
                  <a:pt x="3499644" y="3501628"/>
                </a:lnTo>
                <a:lnTo>
                  <a:pt x="3475831" y="3517106"/>
                </a:lnTo>
                <a:lnTo>
                  <a:pt x="3452019" y="3532188"/>
                </a:lnTo>
                <a:lnTo>
                  <a:pt x="3427810" y="3546872"/>
                </a:lnTo>
                <a:lnTo>
                  <a:pt x="3403600" y="3561556"/>
                </a:lnTo>
                <a:lnTo>
                  <a:pt x="3379390" y="3575447"/>
                </a:lnTo>
                <a:lnTo>
                  <a:pt x="3354784" y="3589735"/>
                </a:lnTo>
                <a:lnTo>
                  <a:pt x="3329384" y="3603228"/>
                </a:lnTo>
                <a:lnTo>
                  <a:pt x="3304778" y="3616722"/>
                </a:lnTo>
                <a:lnTo>
                  <a:pt x="3279775" y="3629819"/>
                </a:lnTo>
                <a:lnTo>
                  <a:pt x="3253978" y="3642519"/>
                </a:lnTo>
                <a:lnTo>
                  <a:pt x="3228975" y="3655219"/>
                </a:lnTo>
                <a:lnTo>
                  <a:pt x="3202781" y="3667125"/>
                </a:lnTo>
                <a:lnTo>
                  <a:pt x="3176984" y="3679428"/>
                </a:lnTo>
                <a:lnTo>
                  <a:pt x="3150790" y="3690938"/>
                </a:lnTo>
                <a:lnTo>
                  <a:pt x="3124597" y="3702050"/>
                </a:lnTo>
                <a:lnTo>
                  <a:pt x="3098403" y="3713163"/>
                </a:lnTo>
                <a:lnTo>
                  <a:pt x="3071812" y="3723481"/>
                </a:lnTo>
                <a:lnTo>
                  <a:pt x="3045222" y="3734197"/>
                </a:lnTo>
                <a:lnTo>
                  <a:pt x="3018631" y="3744119"/>
                </a:lnTo>
                <a:lnTo>
                  <a:pt x="2991247" y="3753644"/>
                </a:lnTo>
                <a:lnTo>
                  <a:pt x="2964260" y="3763169"/>
                </a:lnTo>
                <a:lnTo>
                  <a:pt x="2936875" y="3771900"/>
                </a:lnTo>
                <a:lnTo>
                  <a:pt x="2909094" y="3781028"/>
                </a:lnTo>
                <a:lnTo>
                  <a:pt x="2882106" y="3789363"/>
                </a:lnTo>
                <a:lnTo>
                  <a:pt x="2853928" y="3797697"/>
                </a:lnTo>
                <a:lnTo>
                  <a:pt x="2826147" y="3805238"/>
                </a:lnTo>
                <a:lnTo>
                  <a:pt x="2797969" y="3812778"/>
                </a:lnTo>
                <a:lnTo>
                  <a:pt x="2770188" y="3819922"/>
                </a:lnTo>
                <a:lnTo>
                  <a:pt x="2741612" y="3826272"/>
                </a:lnTo>
                <a:lnTo>
                  <a:pt x="2713434" y="3833019"/>
                </a:lnTo>
                <a:lnTo>
                  <a:pt x="2684860" y="3838972"/>
                </a:lnTo>
                <a:lnTo>
                  <a:pt x="2655888" y="3844528"/>
                </a:lnTo>
                <a:lnTo>
                  <a:pt x="2627312" y="3849291"/>
                </a:lnTo>
                <a:lnTo>
                  <a:pt x="2598738" y="3854450"/>
                </a:lnTo>
                <a:lnTo>
                  <a:pt x="2569369" y="3859610"/>
                </a:lnTo>
                <a:lnTo>
                  <a:pt x="2540397" y="3863578"/>
                </a:lnTo>
                <a:lnTo>
                  <a:pt x="2511028" y="3867547"/>
                </a:lnTo>
                <a:lnTo>
                  <a:pt x="2481262" y="3871119"/>
                </a:lnTo>
                <a:lnTo>
                  <a:pt x="2452290" y="3874294"/>
                </a:lnTo>
                <a:lnTo>
                  <a:pt x="2422525" y="3877072"/>
                </a:lnTo>
                <a:lnTo>
                  <a:pt x="2392760" y="3879850"/>
                </a:lnTo>
                <a:lnTo>
                  <a:pt x="2362994" y="3881835"/>
                </a:lnTo>
                <a:lnTo>
                  <a:pt x="2332831" y="3883025"/>
                </a:lnTo>
                <a:lnTo>
                  <a:pt x="2303066" y="3884613"/>
                </a:lnTo>
                <a:lnTo>
                  <a:pt x="2272903" y="3885803"/>
                </a:lnTo>
                <a:lnTo>
                  <a:pt x="2242740" y="3886200"/>
                </a:lnTo>
                <a:lnTo>
                  <a:pt x="2212578" y="3886200"/>
                </a:lnTo>
                <a:lnTo>
                  <a:pt x="2169716" y="3885803"/>
                </a:lnTo>
                <a:lnTo>
                  <a:pt x="2127647" y="3884613"/>
                </a:lnTo>
                <a:lnTo>
                  <a:pt x="2085975" y="3883025"/>
                </a:lnTo>
                <a:lnTo>
                  <a:pt x="2043906" y="3880247"/>
                </a:lnTo>
                <a:lnTo>
                  <a:pt x="2002234" y="3877072"/>
                </a:lnTo>
                <a:lnTo>
                  <a:pt x="1960960" y="3873103"/>
                </a:lnTo>
                <a:lnTo>
                  <a:pt x="1919685" y="3867944"/>
                </a:lnTo>
                <a:lnTo>
                  <a:pt x="1878410" y="3862388"/>
                </a:lnTo>
                <a:lnTo>
                  <a:pt x="1837531" y="3856435"/>
                </a:lnTo>
                <a:lnTo>
                  <a:pt x="1797050" y="3849291"/>
                </a:lnTo>
                <a:lnTo>
                  <a:pt x="1756569" y="3841750"/>
                </a:lnTo>
                <a:lnTo>
                  <a:pt x="1716881" y="3833813"/>
                </a:lnTo>
                <a:lnTo>
                  <a:pt x="1677194" y="3824685"/>
                </a:lnTo>
                <a:lnTo>
                  <a:pt x="1637506" y="3815160"/>
                </a:lnTo>
                <a:lnTo>
                  <a:pt x="1598216" y="3804444"/>
                </a:lnTo>
                <a:lnTo>
                  <a:pt x="1558925" y="3794125"/>
                </a:lnTo>
                <a:lnTo>
                  <a:pt x="1520031" y="3782616"/>
                </a:lnTo>
                <a:lnTo>
                  <a:pt x="1481931" y="3769916"/>
                </a:lnTo>
                <a:lnTo>
                  <a:pt x="1443435" y="3757216"/>
                </a:lnTo>
                <a:lnTo>
                  <a:pt x="1405731" y="3743722"/>
                </a:lnTo>
                <a:lnTo>
                  <a:pt x="1368028" y="3729435"/>
                </a:lnTo>
                <a:lnTo>
                  <a:pt x="1330722" y="3714353"/>
                </a:lnTo>
                <a:lnTo>
                  <a:pt x="1294210" y="3699272"/>
                </a:lnTo>
                <a:lnTo>
                  <a:pt x="1257300" y="3683397"/>
                </a:lnTo>
                <a:lnTo>
                  <a:pt x="1221185" y="3666728"/>
                </a:lnTo>
                <a:lnTo>
                  <a:pt x="1184672" y="3649663"/>
                </a:lnTo>
                <a:lnTo>
                  <a:pt x="1148953" y="3631803"/>
                </a:lnTo>
                <a:lnTo>
                  <a:pt x="1114028" y="3613150"/>
                </a:lnTo>
                <a:lnTo>
                  <a:pt x="1079103" y="3594100"/>
                </a:lnTo>
                <a:lnTo>
                  <a:pt x="1044575" y="3575050"/>
                </a:lnTo>
                <a:lnTo>
                  <a:pt x="1010047" y="3554810"/>
                </a:lnTo>
                <a:lnTo>
                  <a:pt x="976313" y="3534172"/>
                </a:lnTo>
                <a:lnTo>
                  <a:pt x="943372" y="3513138"/>
                </a:lnTo>
                <a:lnTo>
                  <a:pt x="910035" y="3490913"/>
                </a:lnTo>
                <a:lnTo>
                  <a:pt x="877491" y="3468688"/>
                </a:lnTo>
                <a:lnTo>
                  <a:pt x="844947" y="3446066"/>
                </a:lnTo>
                <a:lnTo>
                  <a:pt x="813197" y="3422650"/>
                </a:lnTo>
                <a:lnTo>
                  <a:pt x="781844" y="3398838"/>
                </a:lnTo>
                <a:lnTo>
                  <a:pt x="750888" y="3374231"/>
                </a:lnTo>
                <a:lnTo>
                  <a:pt x="720328" y="3349625"/>
                </a:lnTo>
                <a:lnTo>
                  <a:pt x="690166" y="3324225"/>
                </a:lnTo>
                <a:lnTo>
                  <a:pt x="660400" y="3298031"/>
                </a:lnTo>
                <a:lnTo>
                  <a:pt x="630635" y="3271838"/>
                </a:lnTo>
                <a:lnTo>
                  <a:pt x="602060" y="3244850"/>
                </a:lnTo>
                <a:lnTo>
                  <a:pt x="573881" y="3217466"/>
                </a:lnTo>
                <a:lnTo>
                  <a:pt x="545703" y="3189685"/>
                </a:lnTo>
                <a:lnTo>
                  <a:pt x="518319" y="3161506"/>
                </a:lnTo>
                <a:lnTo>
                  <a:pt x="491331" y="3132931"/>
                </a:lnTo>
                <a:lnTo>
                  <a:pt x="464741" y="3103563"/>
                </a:lnTo>
                <a:lnTo>
                  <a:pt x="438944" y="3074194"/>
                </a:lnTo>
                <a:lnTo>
                  <a:pt x="413147" y="3043635"/>
                </a:lnTo>
                <a:lnTo>
                  <a:pt x="388144" y="3013472"/>
                </a:lnTo>
                <a:lnTo>
                  <a:pt x="363538" y="2982516"/>
                </a:lnTo>
                <a:lnTo>
                  <a:pt x="339725" y="2951163"/>
                </a:lnTo>
                <a:lnTo>
                  <a:pt x="315913" y="2919413"/>
                </a:lnTo>
                <a:lnTo>
                  <a:pt x="292894" y="2887266"/>
                </a:lnTo>
                <a:lnTo>
                  <a:pt x="270669" y="2854325"/>
                </a:lnTo>
                <a:lnTo>
                  <a:pt x="248841" y="2821781"/>
                </a:lnTo>
                <a:lnTo>
                  <a:pt x="227410" y="2788444"/>
                </a:lnTo>
                <a:lnTo>
                  <a:pt x="206375" y="2754710"/>
                </a:lnTo>
                <a:lnTo>
                  <a:pt x="186135" y="2720578"/>
                </a:lnTo>
                <a:lnTo>
                  <a:pt x="166688" y="2685653"/>
                </a:lnTo>
                <a:lnTo>
                  <a:pt x="147638" y="2651125"/>
                </a:lnTo>
                <a:lnTo>
                  <a:pt x="128985" y="2615803"/>
                </a:lnTo>
                <a:lnTo>
                  <a:pt x="114697" y="2589213"/>
                </a:lnTo>
                <a:lnTo>
                  <a:pt x="101600" y="2561828"/>
                </a:lnTo>
                <a:lnTo>
                  <a:pt x="89694" y="2534841"/>
                </a:lnTo>
                <a:lnTo>
                  <a:pt x="78185" y="2507060"/>
                </a:lnTo>
                <a:lnTo>
                  <a:pt x="67072" y="2479278"/>
                </a:lnTo>
                <a:lnTo>
                  <a:pt x="57547" y="2451100"/>
                </a:lnTo>
                <a:lnTo>
                  <a:pt x="47625" y="2422922"/>
                </a:lnTo>
                <a:lnTo>
                  <a:pt x="39688" y="2394347"/>
                </a:lnTo>
                <a:lnTo>
                  <a:pt x="32147" y="2365375"/>
                </a:lnTo>
                <a:lnTo>
                  <a:pt x="25797" y="2336800"/>
                </a:lnTo>
                <a:lnTo>
                  <a:pt x="19447" y="2308225"/>
                </a:lnTo>
                <a:lnTo>
                  <a:pt x="14685" y="2278856"/>
                </a:lnTo>
                <a:lnTo>
                  <a:pt x="9922" y="2250281"/>
                </a:lnTo>
                <a:lnTo>
                  <a:pt x="6350" y="2220913"/>
                </a:lnTo>
                <a:lnTo>
                  <a:pt x="3572" y="2191941"/>
                </a:lnTo>
                <a:lnTo>
                  <a:pt x="1588" y="2162175"/>
                </a:lnTo>
                <a:lnTo>
                  <a:pt x="397" y="2132806"/>
                </a:lnTo>
                <a:lnTo>
                  <a:pt x="0" y="2103835"/>
                </a:lnTo>
                <a:lnTo>
                  <a:pt x="0" y="2074466"/>
                </a:lnTo>
                <a:lnTo>
                  <a:pt x="1588" y="2044700"/>
                </a:lnTo>
                <a:lnTo>
                  <a:pt x="3175" y="2015728"/>
                </a:lnTo>
                <a:lnTo>
                  <a:pt x="5556" y="1986360"/>
                </a:lnTo>
                <a:lnTo>
                  <a:pt x="9128" y="1957388"/>
                </a:lnTo>
                <a:lnTo>
                  <a:pt x="13097" y="1928019"/>
                </a:lnTo>
                <a:lnTo>
                  <a:pt x="18256" y="1898650"/>
                </a:lnTo>
                <a:lnTo>
                  <a:pt x="23813" y="1870075"/>
                </a:lnTo>
                <a:lnTo>
                  <a:pt x="29766" y="1841500"/>
                </a:lnTo>
                <a:lnTo>
                  <a:pt x="36910" y="1812528"/>
                </a:lnTo>
                <a:lnTo>
                  <a:pt x="44847" y="1783953"/>
                </a:lnTo>
                <a:lnTo>
                  <a:pt x="53181" y="1755775"/>
                </a:lnTo>
                <a:lnTo>
                  <a:pt x="62310" y="1727597"/>
                </a:lnTo>
                <a:lnTo>
                  <a:pt x="72628" y="1699419"/>
                </a:lnTo>
                <a:lnTo>
                  <a:pt x="83741" y="1671638"/>
                </a:lnTo>
                <a:lnTo>
                  <a:pt x="94456" y="1644650"/>
                </a:lnTo>
                <a:lnTo>
                  <a:pt x="106760" y="1617266"/>
                </a:lnTo>
                <a:lnTo>
                  <a:pt x="119856" y="1590278"/>
                </a:lnTo>
                <a:lnTo>
                  <a:pt x="133350" y="1563291"/>
                </a:lnTo>
                <a:lnTo>
                  <a:pt x="148035" y="1537097"/>
                </a:lnTo>
                <a:lnTo>
                  <a:pt x="162719" y="1510903"/>
                </a:lnTo>
                <a:lnTo>
                  <a:pt x="178594" y="1485503"/>
                </a:lnTo>
                <a:lnTo>
                  <a:pt x="194866" y="1460103"/>
                </a:lnTo>
                <a:lnTo>
                  <a:pt x="211931" y="1435100"/>
                </a:lnTo>
                <a:lnTo>
                  <a:pt x="230188" y="1410494"/>
                </a:lnTo>
                <a:lnTo>
                  <a:pt x="248047" y="1386285"/>
                </a:lnTo>
                <a:lnTo>
                  <a:pt x="267891" y="1362472"/>
                </a:lnTo>
                <a:lnTo>
                  <a:pt x="287338" y="1339056"/>
                </a:lnTo>
                <a:lnTo>
                  <a:pt x="307975" y="1316038"/>
                </a:lnTo>
                <a:lnTo>
                  <a:pt x="329010" y="1293416"/>
                </a:lnTo>
                <a:lnTo>
                  <a:pt x="351235" y="1271588"/>
                </a:lnTo>
                <a:lnTo>
                  <a:pt x="373856" y="1249760"/>
                </a:lnTo>
                <a:lnTo>
                  <a:pt x="397272" y="1229122"/>
                </a:lnTo>
                <a:lnTo>
                  <a:pt x="421481" y="1208485"/>
                </a:lnTo>
                <a:lnTo>
                  <a:pt x="445294" y="1188641"/>
                </a:lnTo>
                <a:lnTo>
                  <a:pt x="471091" y="1169194"/>
                </a:lnTo>
                <a:lnTo>
                  <a:pt x="496888" y="1150541"/>
                </a:lnTo>
                <a:lnTo>
                  <a:pt x="523478" y="1132285"/>
                </a:lnTo>
                <a:lnTo>
                  <a:pt x="550466" y="1114822"/>
                </a:lnTo>
                <a:lnTo>
                  <a:pt x="578644" y="1097756"/>
                </a:lnTo>
                <a:lnTo>
                  <a:pt x="606822" y="1081088"/>
                </a:lnTo>
                <a:lnTo>
                  <a:pt x="636191" y="1065610"/>
                </a:lnTo>
                <a:lnTo>
                  <a:pt x="666353" y="1050528"/>
                </a:lnTo>
                <a:lnTo>
                  <a:pt x="696516" y="1036241"/>
                </a:lnTo>
                <a:lnTo>
                  <a:pt x="727869" y="1022747"/>
                </a:lnTo>
                <a:lnTo>
                  <a:pt x="759619" y="1009650"/>
                </a:lnTo>
                <a:lnTo>
                  <a:pt x="3618310" y="26591"/>
                </a:lnTo>
                <a:lnTo>
                  <a:pt x="3633390" y="22225"/>
                </a:lnTo>
                <a:lnTo>
                  <a:pt x="3648472" y="17463"/>
                </a:lnTo>
                <a:lnTo>
                  <a:pt x="3663553" y="13494"/>
                </a:lnTo>
                <a:lnTo>
                  <a:pt x="3678634" y="10716"/>
                </a:lnTo>
                <a:lnTo>
                  <a:pt x="3693319" y="7541"/>
                </a:lnTo>
                <a:lnTo>
                  <a:pt x="3708003" y="5159"/>
                </a:lnTo>
                <a:lnTo>
                  <a:pt x="3722290" y="3175"/>
                </a:lnTo>
                <a:lnTo>
                  <a:pt x="3736578" y="1588"/>
                </a:lnTo>
                <a:lnTo>
                  <a:pt x="3750866" y="397"/>
                </a:lnTo>
                <a:close/>
              </a:path>
            </a:pathLst>
          </a:custGeom>
          <a:solidFill>
            <a:schemeClr val="bg1">
              <a:lumMod val="85000"/>
            </a:schemeClr>
          </a:solidFill>
        </p:spPr>
        <p:txBody>
          <a:bodyPr wrap="square" anchor="ctr">
            <a:noAutofit/>
          </a:bodyPr>
          <a:lstStyle>
            <a:lvl1pPr marL="0" indent="0" algn="ctr">
              <a:buNone/>
              <a:defRPr/>
            </a:lvl1pPr>
          </a:lstStyle>
          <a:p>
            <a:r>
              <a:rPr lang="en-GB" dirty="0"/>
              <a:t>Insert your photo</a:t>
            </a:r>
          </a:p>
        </p:txBody>
      </p:sp>
    </p:spTree>
    <p:extLst>
      <p:ext uri="{BB962C8B-B14F-4D97-AF65-F5344CB8AC3E}">
        <p14:creationId xmlns:p14="http://schemas.microsoft.com/office/powerpoint/2010/main" val="19776994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6"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18" name="Content Placeholder 2"/>
          <p:cNvSpPr>
            <a:spLocks noGrp="1"/>
          </p:cNvSpPr>
          <p:nvPr>
            <p:ph idx="1" hasCustomPrompt="1"/>
          </p:nvPr>
        </p:nvSpPr>
        <p:spPr>
          <a:xfrm>
            <a:off x="287556" y="1640190"/>
            <a:ext cx="4271650" cy="447261"/>
          </a:xfrm>
          <a:prstGeom prst="rect">
            <a:avLst/>
          </a:prstGeom>
        </p:spPr>
        <p:txBody>
          <a:bodyPr>
            <a:noAutofit/>
          </a:bodyPr>
          <a:lstStyle>
            <a:lvl1pPr marL="0" indent="0" algn="l">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19" name="Text Placeholder 23"/>
          <p:cNvSpPr>
            <a:spLocks noGrp="1"/>
          </p:cNvSpPr>
          <p:nvPr>
            <p:ph type="body" sz="quarter" idx="21"/>
          </p:nvPr>
        </p:nvSpPr>
        <p:spPr>
          <a:xfrm>
            <a:off x="287347" y="2193951"/>
            <a:ext cx="4271953" cy="1312239"/>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30" hasCustomPrompt="1"/>
          </p:nvPr>
        </p:nvSpPr>
        <p:spPr>
          <a:xfrm>
            <a:off x="287338" y="3941158"/>
            <a:ext cx="4271954" cy="447261"/>
          </a:xfrm>
          <a:prstGeom prst="rect">
            <a:avLst/>
          </a:prstGeom>
        </p:spPr>
        <p:txBody>
          <a:bodyPr>
            <a:noAutofit/>
          </a:bodyPr>
          <a:lstStyle>
            <a:lvl1pPr marL="0" indent="0" algn="l">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3" name="Text Placeholder 23"/>
          <p:cNvSpPr>
            <a:spLocks noGrp="1"/>
          </p:cNvSpPr>
          <p:nvPr>
            <p:ph type="body" sz="quarter" idx="31"/>
          </p:nvPr>
        </p:nvSpPr>
        <p:spPr>
          <a:xfrm>
            <a:off x="287338" y="4494905"/>
            <a:ext cx="4271954" cy="126007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5" name="Content Placeholder 2"/>
          <p:cNvSpPr>
            <a:spLocks noGrp="1"/>
          </p:cNvSpPr>
          <p:nvPr>
            <p:ph idx="32" hasCustomPrompt="1"/>
          </p:nvPr>
        </p:nvSpPr>
        <p:spPr>
          <a:xfrm>
            <a:off x="6032638" y="1648609"/>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6" name="Text Placeholder 23"/>
          <p:cNvSpPr>
            <a:spLocks noGrp="1"/>
          </p:cNvSpPr>
          <p:nvPr>
            <p:ph type="body" sz="quarter" idx="33"/>
          </p:nvPr>
        </p:nvSpPr>
        <p:spPr>
          <a:xfrm>
            <a:off x="6032430" y="2193951"/>
            <a:ext cx="4131418" cy="1312239"/>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p:cNvSpPr>
            <a:spLocks noGrp="1"/>
          </p:cNvSpPr>
          <p:nvPr>
            <p:ph idx="34" hasCustomPrompt="1"/>
          </p:nvPr>
        </p:nvSpPr>
        <p:spPr>
          <a:xfrm>
            <a:off x="6032638" y="3941157"/>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9" name="Text Placeholder 23"/>
          <p:cNvSpPr>
            <a:spLocks noGrp="1"/>
          </p:cNvSpPr>
          <p:nvPr>
            <p:ph type="body" sz="quarter" idx="35"/>
          </p:nvPr>
        </p:nvSpPr>
        <p:spPr>
          <a:xfrm>
            <a:off x="6032638" y="4494905"/>
            <a:ext cx="4131418" cy="1260072"/>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7" name="Title 1"/>
          <p:cNvSpPr>
            <a:spLocks noGrp="1"/>
          </p:cNvSpPr>
          <p:nvPr>
            <p:ph type="title" hasCustomPrompt="1"/>
          </p:nvPr>
        </p:nvSpPr>
        <p:spPr>
          <a:xfrm>
            <a:off x="268224" y="296865"/>
            <a:ext cx="9378889"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1" name="Text Placeholder 19"/>
          <p:cNvSpPr>
            <a:spLocks noGrp="1"/>
          </p:cNvSpPr>
          <p:nvPr>
            <p:ph type="body" sz="quarter" idx="13" hasCustomPrompt="1"/>
          </p:nvPr>
        </p:nvSpPr>
        <p:spPr>
          <a:xfrm>
            <a:off x="268224" y="779413"/>
            <a:ext cx="9378889" cy="434229"/>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36749530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hape 2">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3987186"/>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92608" y="779416"/>
            <a:ext cx="11228613" cy="420734"/>
          </a:xfrm>
          <a:prstGeom prst="rect">
            <a:avLst/>
          </a:prstGeom>
        </p:spPr>
        <p:txBody>
          <a:bodyPr>
            <a:noAutofit/>
          </a:bodyPr>
          <a:lstStyle>
            <a:lvl1pPr marL="0" indent="0">
              <a:lnSpc>
                <a:spcPct val="100000"/>
              </a:lnSpc>
              <a:buNone/>
              <a:defRPr sz="16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8" name="Marcador de posición de imagen 28"/>
          <p:cNvSpPr>
            <a:spLocks noGrp="1"/>
          </p:cNvSpPr>
          <p:nvPr>
            <p:ph type="pic" sz="quarter" idx="16" hasCustomPrompt="1"/>
          </p:nvPr>
        </p:nvSpPr>
        <p:spPr>
          <a:xfrm>
            <a:off x="6632254" y="1903298"/>
            <a:ext cx="4479647" cy="3982295"/>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85000"/>
            </a:schemeClr>
          </a:solidFill>
        </p:spPr>
        <p:txBody>
          <a:bodyPr wrap="square" anchor="ctr">
            <a:noAutofit/>
          </a:bodyPr>
          <a:lstStyle>
            <a:lvl1pPr marL="0" indent="0" algn="ctr">
              <a:buNone/>
              <a:defRPr/>
            </a:lvl1pPr>
          </a:lstStyle>
          <a:p>
            <a:r>
              <a:rPr lang="en-GB" noProof="0" dirty="0"/>
              <a:t>     </a:t>
            </a:r>
            <a:br>
              <a:rPr lang="en-GB" noProof="0" dirty="0"/>
            </a:br>
            <a:br>
              <a:rPr lang="en-GB" noProof="0" dirty="0"/>
            </a:br>
            <a:r>
              <a:rPr lang="en-GB" noProof="0" dirty="0"/>
              <a:t> Insert your picture here</a:t>
            </a:r>
          </a:p>
        </p:txBody>
      </p:sp>
    </p:spTree>
    <p:extLst>
      <p:ext uri="{BB962C8B-B14F-4D97-AF65-F5344CB8AC3E}">
        <p14:creationId xmlns:p14="http://schemas.microsoft.com/office/powerpoint/2010/main" val="257268244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hape 3">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92608" y="779416"/>
            <a:ext cx="11228613" cy="404633"/>
          </a:xfrm>
          <a:prstGeom prst="rect">
            <a:avLst/>
          </a:prstGeom>
        </p:spPr>
        <p:txBody>
          <a:bodyPr>
            <a:noAutofit/>
          </a:bodyPr>
          <a:lstStyle>
            <a:lvl1pPr marL="0" indent="0">
              <a:lnSpc>
                <a:spcPct val="100000"/>
              </a:lnSpc>
              <a:buNone/>
              <a:defRPr sz="16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2" name="Picture Placeholder 11"/>
          <p:cNvSpPr>
            <a:spLocks noGrp="1"/>
          </p:cNvSpPr>
          <p:nvPr>
            <p:ph type="pic" sz="quarter" idx="19" hasCustomPrompt="1"/>
          </p:nvPr>
        </p:nvSpPr>
        <p:spPr>
          <a:xfrm>
            <a:off x="6722269" y="1939925"/>
            <a:ext cx="4443412" cy="3992562"/>
          </a:xfrm>
          <a:custGeom>
            <a:avLst/>
            <a:gdLst>
              <a:gd name="connsiteX0" fmla="*/ 3649988 w 4443412"/>
              <a:gd name="connsiteY0" fmla="*/ 0 h 3992562"/>
              <a:gd name="connsiteX1" fmla="*/ 3667849 w 4443412"/>
              <a:gd name="connsiteY1" fmla="*/ 0 h 3992562"/>
              <a:gd name="connsiteX2" fmla="*/ 3685710 w 4443412"/>
              <a:gd name="connsiteY2" fmla="*/ 397 h 3992562"/>
              <a:gd name="connsiteX3" fmla="*/ 3703174 w 4443412"/>
              <a:gd name="connsiteY3" fmla="*/ 1588 h 3992562"/>
              <a:gd name="connsiteX4" fmla="*/ 3720638 w 4443412"/>
              <a:gd name="connsiteY4" fmla="*/ 2381 h 3992562"/>
              <a:gd name="connsiteX5" fmla="*/ 3737705 w 4443412"/>
              <a:gd name="connsiteY5" fmla="*/ 4366 h 3992562"/>
              <a:gd name="connsiteX6" fmla="*/ 3755169 w 4443412"/>
              <a:gd name="connsiteY6" fmla="*/ 7144 h 3992562"/>
              <a:gd name="connsiteX7" fmla="*/ 3771839 w 4443412"/>
              <a:gd name="connsiteY7" fmla="*/ 9525 h 3992562"/>
              <a:gd name="connsiteX8" fmla="*/ 3788510 w 4443412"/>
              <a:gd name="connsiteY8" fmla="*/ 12303 h 3992562"/>
              <a:gd name="connsiteX9" fmla="*/ 3805180 w 4443412"/>
              <a:gd name="connsiteY9" fmla="*/ 16669 h 3992562"/>
              <a:gd name="connsiteX10" fmla="*/ 3821057 w 4443412"/>
              <a:gd name="connsiteY10" fmla="*/ 20638 h 3992562"/>
              <a:gd name="connsiteX11" fmla="*/ 3836933 w 4443412"/>
              <a:gd name="connsiteY11" fmla="*/ 25003 h 3992562"/>
              <a:gd name="connsiteX12" fmla="*/ 3853206 w 4443412"/>
              <a:gd name="connsiteY12" fmla="*/ 29369 h 3992562"/>
              <a:gd name="connsiteX13" fmla="*/ 3869083 w 4443412"/>
              <a:gd name="connsiteY13" fmla="*/ 34925 h 3992562"/>
              <a:gd name="connsiteX14" fmla="*/ 3884165 w 4443412"/>
              <a:gd name="connsiteY14" fmla="*/ 40481 h 3992562"/>
              <a:gd name="connsiteX15" fmla="*/ 3899645 w 4443412"/>
              <a:gd name="connsiteY15" fmla="*/ 46434 h 3992562"/>
              <a:gd name="connsiteX16" fmla="*/ 3914331 w 4443412"/>
              <a:gd name="connsiteY16" fmla="*/ 52784 h 3992562"/>
              <a:gd name="connsiteX17" fmla="*/ 3929016 w 4443412"/>
              <a:gd name="connsiteY17" fmla="*/ 59928 h 3992562"/>
              <a:gd name="connsiteX18" fmla="*/ 3943305 w 4443412"/>
              <a:gd name="connsiteY18" fmla="*/ 67072 h 3992562"/>
              <a:gd name="connsiteX19" fmla="*/ 3957991 w 4443412"/>
              <a:gd name="connsiteY19" fmla="*/ 74613 h 3992562"/>
              <a:gd name="connsiteX20" fmla="*/ 3971883 w 4443412"/>
              <a:gd name="connsiteY20" fmla="*/ 82550 h 3992562"/>
              <a:gd name="connsiteX21" fmla="*/ 3985774 w 4443412"/>
              <a:gd name="connsiteY21" fmla="*/ 90885 h 3992562"/>
              <a:gd name="connsiteX22" fmla="*/ 3999269 w 4443412"/>
              <a:gd name="connsiteY22" fmla="*/ 100013 h 3992562"/>
              <a:gd name="connsiteX23" fmla="*/ 4012764 w 4443412"/>
              <a:gd name="connsiteY23" fmla="*/ 108744 h 3992562"/>
              <a:gd name="connsiteX24" fmla="*/ 4025862 w 4443412"/>
              <a:gd name="connsiteY24" fmla="*/ 118269 h 3992562"/>
              <a:gd name="connsiteX25" fmla="*/ 4038167 w 4443412"/>
              <a:gd name="connsiteY25" fmla="*/ 127794 h 3992562"/>
              <a:gd name="connsiteX26" fmla="*/ 4050867 w 4443412"/>
              <a:gd name="connsiteY26" fmla="*/ 137716 h 3992562"/>
              <a:gd name="connsiteX27" fmla="*/ 4063172 w 4443412"/>
              <a:gd name="connsiteY27" fmla="*/ 148431 h 3992562"/>
              <a:gd name="connsiteX28" fmla="*/ 4075476 w 4443412"/>
              <a:gd name="connsiteY28" fmla="*/ 159147 h 3992562"/>
              <a:gd name="connsiteX29" fmla="*/ 4087383 w 4443412"/>
              <a:gd name="connsiteY29" fmla="*/ 170259 h 3992562"/>
              <a:gd name="connsiteX30" fmla="*/ 4098894 w 4443412"/>
              <a:gd name="connsiteY30" fmla="*/ 181769 h 3992562"/>
              <a:gd name="connsiteX31" fmla="*/ 4109610 w 4443412"/>
              <a:gd name="connsiteY31" fmla="*/ 193278 h 3992562"/>
              <a:gd name="connsiteX32" fmla="*/ 4120724 w 4443412"/>
              <a:gd name="connsiteY32" fmla="*/ 205184 h 3992562"/>
              <a:gd name="connsiteX33" fmla="*/ 4131043 w 4443412"/>
              <a:gd name="connsiteY33" fmla="*/ 217884 h 3992562"/>
              <a:gd name="connsiteX34" fmla="*/ 4141760 w 4443412"/>
              <a:gd name="connsiteY34" fmla="*/ 230188 h 3992562"/>
              <a:gd name="connsiteX35" fmla="*/ 4151683 w 4443412"/>
              <a:gd name="connsiteY35" fmla="*/ 243284 h 3992562"/>
              <a:gd name="connsiteX36" fmla="*/ 4161605 w 4443412"/>
              <a:gd name="connsiteY36" fmla="*/ 256381 h 3992562"/>
              <a:gd name="connsiteX37" fmla="*/ 4171131 w 4443412"/>
              <a:gd name="connsiteY37" fmla="*/ 269875 h 3992562"/>
              <a:gd name="connsiteX38" fmla="*/ 4180261 w 4443412"/>
              <a:gd name="connsiteY38" fmla="*/ 283766 h 3992562"/>
              <a:gd name="connsiteX39" fmla="*/ 4188993 w 4443412"/>
              <a:gd name="connsiteY39" fmla="*/ 297656 h 3992562"/>
              <a:gd name="connsiteX40" fmla="*/ 4197725 w 4443412"/>
              <a:gd name="connsiteY40" fmla="*/ 312341 h 3992562"/>
              <a:gd name="connsiteX41" fmla="*/ 4206059 w 4443412"/>
              <a:gd name="connsiteY41" fmla="*/ 326628 h 3992562"/>
              <a:gd name="connsiteX42" fmla="*/ 4213998 w 4443412"/>
              <a:gd name="connsiteY42" fmla="*/ 341313 h 3992562"/>
              <a:gd name="connsiteX43" fmla="*/ 4221539 w 4443412"/>
              <a:gd name="connsiteY43" fmla="*/ 355997 h 3992562"/>
              <a:gd name="connsiteX44" fmla="*/ 4229081 w 4443412"/>
              <a:gd name="connsiteY44" fmla="*/ 371475 h 3992562"/>
              <a:gd name="connsiteX45" fmla="*/ 4236225 w 4443412"/>
              <a:gd name="connsiteY45" fmla="*/ 386953 h 3992562"/>
              <a:gd name="connsiteX46" fmla="*/ 4242575 w 4443412"/>
              <a:gd name="connsiteY46" fmla="*/ 403225 h 3992562"/>
              <a:gd name="connsiteX47" fmla="*/ 4248926 w 4443412"/>
              <a:gd name="connsiteY47" fmla="*/ 419100 h 3992562"/>
              <a:gd name="connsiteX48" fmla="*/ 4254879 w 4443412"/>
              <a:gd name="connsiteY48" fmla="*/ 434975 h 3992562"/>
              <a:gd name="connsiteX49" fmla="*/ 4260437 w 4443412"/>
              <a:gd name="connsiteY49" fmla="*/ 451644 h 3992562"/>
              <a:gd name="connsiteX50" fmla="*/ 4265993 w 4443412"/>
              <a:gd name="connsiteY50" fmla="*/ 468709 h 3992562"/>
              <a:gd name="connsiteX51" fmla="*/ 4271153 w 4443412"/>
              <a:gd name="connsiteY51" fmla="*/ 484981 h 3992562"/>
              <a:gd name="connsiteX52" fmla="*/ 4275916 w 4443412"/>
              <a:gd name="connsiteY52" fmla="*/ 502444 h 3992562"/>
              <a:gd name="connsiteX53" fmla="*/ 4279885 w 4443412"/>
              <a:gd name="connsiteY53" fmla="*/ 519509 h 3992562"/>
              <a:gd name="connsiteX54" fmla="*/ 4283854 w 4443412"/>
              <a:gd name="connsiteY54" fmla="*/ 536972 h 3992562"/>
              <a:gd name="connsiteX55" fmla="*/ 4287823 w 4443412"/>
              <a:gd name="connsiteY55" fmla="*/ 554434 h 3992562"/>
              <a:gd name="connsiteX56" fmla="*/ 4290999 w 4443412"/>
              <a:gd name="connsiteY56" fmla="*/ 572294 h 3992562"/>
              <a:gd name="connsiteX57" fmla="*/ 4294173 w 4443412"/>
              <a:gd name="connsiteY57" fmla="*/ 590550 h 3992562"/>
              <a:gd name="connsiteX58" fmla="*/ 4296555 w 4443412"/>
              <a:gd name="connsiteY58" fmla="*/ 608806 h 3992562"/>
              <a:gd name="connsiteX59" fmla="*/ 4298539 w 4443412"/>
              <a:gd name="connsiteY59" fmla="*/ 627063 h 3992562"/>
              <a:gd name="connsiteX60" fmla="*/ 4300525 w 4443412"/>
              <a:gd name="connsiteY60" fmla="*/ 645319 h 3992562"/>
              <a:gd name="connsiteX61" fmla="*/ 4439840 w 4443412"/>
              <a:gd name="connsiteY61" fmla="*/ 2872581 h 3992562"/>
              <a:gd name="connsiteX62" fmla="*/ 4441825 w 4443412"/>
              <a:gd name="connsiteY62" fmla="*/ 2916634 h 3992562"/>
              <a:gd name="connsiteX63" fmla="*/ 4442618 w 4443412"/>
              <a:gd name="connsiteY63" fmla="*/ 2959100 h 3992562"/>
              <a:gd name="connsiteX64" fmla="*/ 4443412 w 4443412"/>
              <a:gd name="connsiteY64" fmla="*/ 3000375 h 3992562"/>
              <a:gd name="connsiteX65" fmla="*/ 4443412 w 4443412"/>
              <a:gd name="connsiteY65" fmla="*/ 3041650 h 3992562"/>
              <a:gd name="connsiteX66" fmla="*/ 4442618 w 4443412"/>
              <a:gd name="connsiteY66" fmla="*/ 3081337 h 3992562"/>
              <a:gd name="connsiteX67" fmla="*/ 4440633 w 4443412"/>
              <a:gd name="connsiteY67" fmla="*/ 3121025 h 3992562"/>
              <a:gd name="connsiteX68" fmla="*/ 4439443 w 4443412"/>
              <a:gd name="connsiteY68" fmla="*/ 3140472 h 3992562"/>
              <a:gd name="connsiteX69" fmla="*/ 4437855 w 4443412"/>
              <a:gd name="connsiteY69" fmla="*/ 3159918 h 3992562"/>
              <a:gd name="connsiteX70" fmla="*/ 4435871 w 4443412"/>
              <a:gd name="connsiteY70" fmla="*/ 3179365 h 3992562"/>
              <a:gd name="connsiteX71" fmla="*/ 4433489 w 4443412"/>
              <a:gd name="connsiteY71" fmla="*/ 3198812 h 3992562"/>
              <a:gd name="connsiteX72" fmla="*/ 4430711 w 4443412"/>
              <a:gd name="connsiteY72" fmla="*/ 3218259 h 3992562"/>
              <a:gd name="connsiteX73" fmla="*/ 4427933 w 4443412"/>
              <a:gd name="connsiteY73" fmla="*/ 3237309 h 3992562"/>
              <a:gd name="connsiteX74" fmla="*/ 4424757 w 4443412"/>
              <a:gd name="connsiteY74" fmla="*/ 3256756 h 3992562"/>
              <a:gd name="connsiteX75" fmla="*/ 4420788 w 4443412"/>
              <a:gd name="connsiteY75" fmla="*/ 3276203 h 3992562"/>
              <a:gd name="connsiteX76" fmla="*/ 4416819 w 4443412"/>
              <a:gd name="connsiteY76" fmla="*/ 3295253 h 3992562"/>
              <a:gd name="connsiteX77" fmla="*/ 4412453 w 4443412"/>
              <a:gd name="connsiteY77" fmla="*/ 3314700 h 3992562"/>
              <a:gd name="connsiteX78" fmla="*/ 4407293 w 4443412"/>
              <a:gd name="connsiteY78" fmla="*/ 3334147 h 3992562"/>
              <a:gd name="connsiteX79" fmla="*/ 4401737 w 4443412"/>
              <a:gd name="connsiteY79" fmla="*/ 3353593 h 3992562"/>
              <a:gd name="connsiteX80" fmla="*/ 4395783 w 4443412"/>
              <a:gd name="connsiteY80" fmla="*/ 3373040 h 3992562"/>
              <a:gd name="connsiteX81" fmla="*/ 4389432 w 4443412"/>
              <a:gd name="connsiteY81" fmla="*/ 3392487 h 3992562"/>
              <a:gd name="connsiteX82" fmla="*/ 4382288 w 4443412"/>
              <a:gd name="connsiteY82" fmla="*/ 3412331 h 3992562"/>
              <a:gd name="connsiteX83" fmla="*/ 4374747 w 4443412"/>
              <a:gd name="connsiteY83" fmla="*/ 3432175 h 3992562"/>
              <a:gd name="connsiteX84" fmla="*/ 4366809 w 4443412"/>
              <a:gd name="connsiteY84" fmla="*/ 3452018 h 3992562"/>
              <a:gd name="connsiteX85" fmla="*/ 4358473 w 4443412"/>
              <a:gd name="connsiteY85" fmla="*/ 3472259 h 3992562"/>
              <a:gd name="connsiteX86" fmla="*/ 4349344 w 4443412"/>
              <a:gd name="connsiteY86" fmla="*/ 3492500 h 3992562"/>
              <a:gd name="connsiteX87" fmla="*/ 4339819 w 4443412"/>
              <a:gd name="connsiteY87" fmla="*/ 3513137 h 3992562"/>
              <a:gd name="connsiteX88" fmla="*/ 4329499 w 4443412"/>
              <a:gd name="connsiteY88" fmla="*/ 3534172 h 3992562"/>
              <a:gd name="connsiteX89" fmla="*/ 4318385 w 4443412"/>
              <a:gd name="connsiteY89" fmla="*/ 3554809 h 3992562"/>
              <a:gd name="connsiteX90" fmla="*/ 4306875 w 4443412"/>
              <a:gd name="connsiteY90" fmla="*/ 3575447 h 3992562"/>
              <a:gd name="connsiteX91" fmla="*/ 4294967 w 4443412"/>
              <a:gd name="connsiteY91" fmla="*/ 3595290 h 3992562"/>
              <a:gd name="connsiteX92" fmla="*/ 4283060 w 4443412"/>
              <a:gd name="connsiteY92" fmla="*/ 3615531 h 3992562"/>
              <a:gd name="connsiteX93" fmla="*/ 4269962 w 4443412"/>
              <a:gd name="connsiteY93" fmla="*/ 3634978 h 3992562"/>
              <a:gd name="connsiteX94" fmla="*/ 4256864 w 4443412"/>
              <a:gd name="connsiteY94" fmla="*/ 3654028 h 3992562"/>
              <a:gd name="connsiteX95" fmla="*/ 4242972 w 4443412"/>
              <a:gd name="connsiteY95" fmla="*/ 3672284 h 3992562"/>
              <a:gd name="connsiteX96" fmla="*/ 4229081 w 4443412"/>
              <a:gd name="connsiteY96" fmla="*/ 3690937 h 3992562"/>
              <a:gd name="connsiteX97" fmla="*/ 4214791 w 4443412"/>
              <a:gd name="connsiteY97" fmla="*/ 3708797 h 3992562"/>
              <a:gd name="connsiteX98" fmla="*/ 4199709 w 4443412"/>
              <a:gd name="connsiteY98" fmla="*/ 3726259 h 3992562"/>
              <a:gd name="connsiteX99" fmla="*/ 4184627 w 4443412"/>
              <a:gd name="connsiteY99" fmla="*/ 3743325 h 3992562"/>
              <a:gd name="connsiteX100" fmla="*/ 4168750 w 4443412"/>
              <a:gd name="connsiteY100" fmla="*/ 3760390 h 3992562"/>
              <a:gd name="connsiteX101" fmla="*/ 4152873 w 4443412"/>
              <a:gd name="connsiteY101" fmla="*/ 3776265 h 3992562"/>
              <a:gd name="connsiteX102" fmla="*/ 4136203 w 4443412"/>
              <a:gd name="connsiteY102" fmla="*/ 3792140 h 3992562"/>
              <a:gd name="connsiteX103" fmla="*/ 4119136 w 4443412"/>
              <a:gd name="connsiteY103" fmla="*/ 3807222 h 3992562"/>
              <a:gd name="connsiteX104" fmla="*/ 4101672 w 4443412"/>
              <a:gd name="connsiteY104" fmla="*/ 3822303 h 3992562"/>
              <a:gd name="connsiteX105" fmla="*/ 4083811 w 4443412"/>
              <a:gd name="connsiteY105" fmla="*/ 3836193 h 3992562"/>
              <a:gd name="connsiteX106" fmla="*/ 4065950 w 4443412"/>
              <a:gd name="connsiteY106" fmla="*/ 3850084 h 3992562"/>
              <a:gd name="connsiteX107" fmla="*/ 4047295 w 4443412"/>
              <a:gd name="connsiteY107" fmla="*/ 3863181 h 3992562"/>
              <a:gd name="connsiteX108" fmla="*/ 4028244 w 4443412"/>
              <a:gd name="connsiteY108" fmla="*/ 3875484 h 3992562"/>
              <a:gd name="connsiteX109" fmla="*/ 4008795 w 4443412"/>
              <a:gd name="connsiteY109" fmla="*/ 3888184 h 3992562"/>
              <a:gd name="connsiteX110" fmla="*/ 3989347 w 4443412"/>
              <a:gd name="connsiteY110" fmla="*/ 3899693 h 3992562"/>
              <a:gd name="connsiteX111" fmla="*/ 3969501 w 4443412"/>
              <a:gd name="connsiteY111" fmla="*/ 3910012 h 3992562"/>
              <a:gd name="connsiteX112" fmla="*/ 3948862 w 4443412"/>
              <a:gd name="connsiteY112" fmla="*/ 3920728 h 3992562"/>
              <a:gd name="connsiteX113" fmla="*/ 3927825 w 4443412"/>
              <a:gd name="connsiteY113" fmla="*/ 3930253 h 3992562"/>
              <a:gd name="connsiteX114" fmla="*/ 3907186 w 4443412"/>
              <a:gd name="connsiteY114" fmla="*/ 3938984 h 3992562"/>
              <a:gd name="connsiteX115" fmla="*/ 3885356 w 4443412"/>
              <a:gd name="connsiteY115" fmla="*/ 3947715 h 3992562"/>
              <a:gd name="connsiteX116" fmla="*/ 3863526 w 4443412"/>
              <a:gd name="connsiteY116" fmla="*/ 3955256 h 3992562"/>
              <a:gd name="connsiteX117" fmla="*/ 3840902 w 4443412"/>
              <a:gd name="connsiteY117" fmla="*/ 3962400 h 3992562"/>
              <a:gd name="connsiteX118" fmla="*/ 3818675 w 4443412"/>
              <a:gd name="connsiteY118" fmla="*/ 3968750 h 3992562"/>
              <a:gd name="connsiteX119" fmla="*/ 3795654 w 4443412"/>
              <a:gd name="connsiteY119" fmla="*/ 3973909 h 3992562"/>
              <a:gd name="connsiteX120" fmla="*/ 3768664 w 4443412"/>
              <a:gd name="connsiteY120" fmla="*/ 3980259 h 3992562"/>
              <a:gd name="connsiteX121" fmla="*/ 3741277 w 4443412"/>
              <a:gd name="connsiteY121" fmla="*/ 3984625 h 3992562"/>
              <a:gd name="connsiteX122" fmla="*/ 3714287 w 4443412"/>
              <a:gd name="connsiteY122" fmla="*/ 3988197 h 3992562"/>
              <a:gd name="connsiteX123" fmla="*/ 3686901 w 4443412"/>
              <a:gd name="connsiteY123" fmla="*/ 3990578 h 3992562"/>
              <a:gd name="connsiteX124" fmla="*/ 3659117 w 4443412"/>
              <a:gd name="connsiteY124" fmla="*/ 3992165 h 3992562"/>
              <a:gd name="connsiteX125" fmla="*/ 3631730 w 4443412"/>
              <a:gd name="connsiteY125" fmla="*/ 3992562 h 3992562"/>
              <a:gd name="connsiteX126" fmla="*/ 3604343 w 4443412"/>
              <a:gd name="connsiteY126" fmla="*/ 3992562 h 3992562"/>
              <a:gd name="connsiteX127" fmla="*/ 3576560 w 4443412"/>
              <a:gd name="connsiteY127" fmla="*/ 3990975 h 3992562"/>
              <a:gd name="connsiteX128" fmla="*/ 3548379 w 4443412"/>
              <a:gd name="connsiteY128" fmla="*/ 3988990 h 3992562"/>
              <a:gd name="connsiteX129" fmla="*/ 3520595 w 4443412"/>
              <a:gd name="connsiteY129" fmla="*/ 3986609 h 3992562"/>
              <a:gd name="connsiteX130" fmla="*/ 3492415 w 4443412"/>
              <a:gd name="connsiteY130" fmla="*/ 3982640 h 3992562"/>
              <a:gd name="connsiteX131" fmla="*/ 3464631 w 4443412"/>
              <a:gd name="connsiteY131" fmla="*/ 3978672 h 3992562"/>
              <a:gd name="connsiteX132" fmla="*/ 3436053 w 4443412"/>
              <a:gd name="connsiteY132" fmla="*/ 3973115 h 3992562"/>
              <a:gd name="connsiteX133" fmla="*/ 3407476 w 4443412"/>
              <a:gd name="connsiteY133" fmla="*/ 3967559 h 3992562"/>
              <a:gd name="connsiteX134" fmla="*/ 3379295 w 4443412"/>
              <a:gd name="connsiteY134" fmla="*/ 3961209 h 3992562"/>
              <a:gd name="connsiteX135" fmla="*/ 3350321 w 4443412"/>
              <a:gd name="connsiteY135" fmla="*/ 3954065 h 3992562"/>
              <a:gd name="connsiteX136" fmla="*/ 3321346 w 4443412"/>
              <a:gd name="connsiteY136" fmla="*/ 3946128 h 3992562"/>
              <a:gd name="connsiteX137" fmla="*/ 3291975 w 4443412"/>
              <a:gd name="connsiteY137" fmla="*/ 3938190 h 3992562"/>
              <a:gd name="connsiteX138" fmla="*/ 3263001 w 4443412"/>
              <a:gd name="connsiteY138" fmla="*/ 3929062 h 3992562"/>
              <a:gd name="connsiteX139" fmla="*/ 3233232 w 4443412"/>
              <a:gd name="connsiteY139" fmla="*/ 3919537 h 3992562"/>
              <a:gd name="connsiteX140" fmla="*/ 3203464 w 4443412"/>
              <a:gd name="connsiteY140" fmla="*/ 3910012 h 3992562"/>
              <a:gd name="connsiteX141" fmla="*/ 3173299 w 4443412"/>
              <a:gd name="connsiteY141" fmla="*/ 3899693 h 3992562"/>
              <a:gd name="connsiteX142" fmla="*/ 3112571 w 4443412"/>
              <a:gd name="connsiteY142" fmla="*/ 3878262 h 3992562"/>
              <a:gd name="connsiteX143" fmla="*/ 3051050 w 4443412"/>
              <a:gd name="connsiteY143" fmla="*/ 3855243 h 3992562"/>
              <a:gd name="connsiteX144" fmla="*/ 2988735 w 4443412"/>
              <a:gd name="connsiteY144" fmla="*/ 3831034 h 3992562"/>
              <a:gd name="connsiteX145" fmla="*/ 2860533 w 4443412"/>
              <a:gd name="connsiteY145" fmla="*/ 3780631 h 3992562"/>
              <a:gd name="connsiteX146" fmla="*/ 818429 w 4443412"/>
              <a:gd name="connsiteY146" fmla="*/ 2887662 h 3992562"/>
              <a:gd name="connsiteX147" fmla="*/ 753733 w 4443412"/>
              <a:gd name="connsiteY147" fmla="*/ 2858294 h 3992562"/>
              <a:gd name="connsiteX148" fmla="*/ 686655 w 4443412"/>
              <a:gd name="connsiteY148" fmla="*/ 2828131 h 3992562"/>
              <a:gd name="connsiteX149" fmla="*/ 617593 w 4443412"/>
              <a:gd name="connsiteY149" fmla="*/ 2797175 h 3992562"/>
              <a:gd name="connsiteX150" fmla="*/ 582665 w 4443412"/>
              <a:gd name="connsiteY150" fmla="*/ 2781300 h 3992562"/>
              <a:gd name="connsiteX151" fmla="*/ 548133 w 4443412"/>
              <a:gd name="connsiteY151" fmla="*/ 2765425 h 3992562"/>
              <a:gd name="connsiteX152" fmla="*/ 513205 w 4443412"/>
              <a:gd name="connsiteY152" fmla="*/ 2748359 h 3992562"/>
              <a:gd name="connsiteX153" fmla="*/ 479071 w 4443412"/>
              <a:gd name="connsiteY153" fmla="*/ 2730897 h 3992562"/>
              <a:gd name="connsiteX154" fmla="*/ 444937 w 4443412"/>
              <a:gd name="connsiteY154" fmla="*/ 2712640 h 3992562"/>
              <a:gd name="connsiteX155" fmla="*/ 410803 w 4443412"/>
              <a:gd name="connsiteY155" fmla="*/ 2694384 h 3992562"/>
              <a:gd name="connsiteX156" fmla="*/ 377859 w 4443412"/>
              <a:gd name="connsiteY156" fmla="*/ 2675334 h 3992562"/>
              <a:gd name="connsiteX157" fmla="*/ 345709 w 4443412"/>
              <a:gd name="connsiteY157" fmla="*/ 2655490 h 3992562"/>
              <a:gd name="connsiteX158" fmla="*/ 313559 w 4443412"/>
              <a:gd name="connsiteY158" fmla="*/ 2634853 h 3992562"/>
              <a:gd name="connsiteX159" fmla="*/ 298080 w 4443412"/>
              <a:gd name="connsiteY159" fmla="*/ 2623740 h 3992562"/>
              <a:gd name="connsiteX160" fmla="*/ 282600 w 4443412"/>
              <a:gd name="connsiteY160" fmla="*/ 2613422 h 3992562"/>
              <a:gd name="connsiteX161" fmla="*/ 267518 w 4443412"/>
              <a:gd name="connsiteY161" fmla="*/ 2602309 h 3992562"/>
              <a:gd name="connsiteX162" fmla="*/ 252832 w 4443412"/>
              <a:gd name="connsiteY162" fmla="*/ 2590800 h 3992562"/>
              <a:gd name="connsiteX163" fmla="*/ 238146 w 4443412"/>
              <a:gd name="connsiteY163" fmla="*/ 2579290 h 3992562"/>
              <a:gd name="connsiteX164" fmla="*/ 223858 w 4443412"/>
              <a:gd name="connsiteY164" fmla="*/ 2567781 h 3992562"/>
              <a:gd name="connsiteX165" fmla="*/ 209569 w 4443412"/>
              <a:gd name="connsiteY165" fmla="*/ 2555875 h 3992562"/>
              <a:gd name="connsiteX166" fmla="*/ 196074 w 4443412"/>
              <a:gd name="connsiteY166" fmla="*/ 2543572 h 3992562"/>
              <a:gd name="connsiteX167" fmla="*/ 182579 w 4443412"/>
              <a:gd name="connsiteY167" fmla="*/ 2530872 h 3992562"/>
              <a:gd name="connsiteX168" fmla="*/ 169878 w 4443412"/>
              <a:gd name="connsiteY168" fmla="*/ 2518569 h 3992562"/>
              <a:gd name="connsiteX169" fmla="*/ 157177 w 4443412"/>
              <a:gd name="connsiteY169" fmla="*/ 2505472 h 3992562"/>
              <a:gd name="connsiteX170" fmla="*/ 144873 w 4443412"/>
              <a:gd name="connsiteY170" fmla="*/ 2491978 h 3992562"/>
              <a:gd name="connsiteX171" fmla="*/ 133362 w 4443412"/>
              <a:gd name="connsiteY171" fmla="*/ 2478484 h 3992562"/>
              <a:gd name="connsiteX172" fmla="*/ 121852 w 4443412"/>
              <a:gd name="connsiteY172" fmla="*/ 2464594 h 3992562"/>
              <a:gd name="connsiteX173" fmla="*/ 110738 w 4443412"/>
              <a:gd name="connsiteY173" fmla="*/ 2450703 h 3992562"/>
              <a:gd name="connsiteX174" fmla="*/ 100419 w 4443412"/>
              <a:gd name="connsiteY174" fmla="*/ 2436019 h 3992562"/>
              <a:gd name="connsiteX175" fmla="*/ 89702 w 4443412"/>
              <a:gd name="connsiteY175" fmla="*/ 2421731 h 3992562"/>
              <a:gd name="connsiteX176" fmla="*/ 80573 w 4443412"/>
              <a:gd name="connsiteY176" fmla="*/ 2406650 h 3992562"/>
              <a:gd name="connsiteX177" fmla="*/ 71047 w 4443412"/>
              <a:gd name="connsiteY177" fmla="*/ 2391172 h 3992562"/>
              <a:gd name="connsiteX178" fmla="*/ 62315 w 4443412"/>
              <a:gd name="connsiteY178" fmla="*/ 2375297 h 3992562"/>
              <a:gd name="connsiteX179" fmla="*/ 54377 w 4443412"/>
              <a:gd name="connsiteY179" fmla="*/ 2359025 h 3992562"/>
              <a:gd name="connsiteX180" fmla="*/ 46439 w 4443412"/>
              <a:gd name="connsiteY180" fmla="*/ 2343150 h 3992562"/>
              <a:gd name="connsiteX181" fmla="*/ 39294 w 4443412"/>
              <a:gd name="connsiteY181" fmla="*/ 2326084 h 3992562"/>
              <a:gd name="connsiteX182" fmla="*/ 32944 w 4443412"/>
              <a:gd name="connsiteY182" fmla="*/ 2309415 h 3992562"/>
              <a:gd name="connsiteX183" fmla="*/ 26990 w 4443412"/>
              <a:gd name="connsiteY183" fmla="*/ 2292350 h 3992562"/>
              <a:gd name="connsiteX184" fmla="*/ 21433 w 4443412"/>
              <a:gd name="connsiteY184" fmla="*/ 2274094 h 3992562"/>
              <a:gd name="connsiteX185" fmla="*/ 16670 w 4443412"/>
              <a:gd name="connsiteY185" fmla="*/ 2256234 h 3992562"/>
              <a:gd name="connsiteX186" fmla="*/ 11908 w 4443412"/>
              <a:gd name="connsiteY186" fmla="*/ 2237978 h 3992562"/>
              <a:gd name="connsiteX187" fmla="*/ 8335 w 4443412"/>
              <a:gd name="connsiteY187" fmla="*/ 2218928 h 3992562"/>
              <a:gd name="connsiteX188" fmla="*/ 5557 w 4443412"/>
              <a:gd name="connsiteY188" fmla="*/ 2199878 h 3992562"/>
              <a:gd name="connsiteX189" fmla="*/ 3176 w 4443412"/>
              <a:gd name="connsiteY189" fmla="*/ 2180034 h 3992562"/>
              <a:gd name="connsiteX190" fmla="*/ 1588 w 4443412"/>
              <a:gd name="connsiteY190" fmla="*/ 2159794 h 3992562"/>
              <a:gd name="connsiteX191" fmla="*/ 397 w 4443412"/>
              <a:gd name="connsiteY191" fmla="*/ 2139553 h 3992562"/>
              <a:gd name="connsiteX192" fmla="*/ 0 w 4443412"/>
              <a:gd name="connsiteY192" fmla="*/ 2118915 h 3992562"/>
              <a:gd name="connsiteX193" fmla="*/ 0 w 4443412"/>
              <a:gd name="connsiteY193" fmla="*/ 1397794 h 3992562"/>
              <a:gd name="connsiteX194" fmla="*/ 0 w 4443412"/>
              <a:gd name="connsiteY194" fmla="*/ 1352153 h 3992562"/>
              <a:gd name="connsiteX195" fmla="*/ 397 w 4443412"/>
              <a:gd name="connsiteY195" fmla="*/ 1307703 h 3992562"/>
              <a:gd name="connsiteX196" fmla="*/ 1985 w 4443412"/>
              <a:gd name="connsiteY196" fmla="*/ 1263253 h 3992562"/>
              <a:gd name="connsiteX197" fmla="*/ 3572 w 4443412"/>
              <a:gd name="connsiteY197" fmla="*/ 1219200 h 3992562"/>
              <a:gd name="connsiteX198" fmla="*/ 6351 w 4443412"/>
              <a:gd name="connsiteY198" fmla="*/ 1176338 h 3992562"/>
              <a:gd name="connsiteX199" fmla="*/ 8335 w 4443412"/>
              <a:gd name="connsiteY199" fmla="*/ 1154509 h 3992562"/>
              <a:gd name="connsiteX200" fmla="*/ 10320 w 4443412"/>
              <a:gd name="connsiteY200" fmla="*/ 1133475 h 3992562"/>
              <a:gd name="connsiteX201" fmla="*/ 13098 w 4443412"/>
              <a:gd name="connsiteY201" fmla="*/ 1112044 h 3992562"/>
              <a:gd name="connsiteX202" fmla="*/ 15877 w 4443412"/>
              <a:gd name="connsiteY202" fmla="*/ 1091009 h 3992562"/>
              <a:gd name="connsiteX203" fmla="*/ 19052 w 4443412"/>
              <a:gd name="connsiteY203" fmla="*/ 1069975 h 3992562"/>
              <a:gd name="connsiteX204" fmla="*/ 23021 w 4443412"/>
              <a:gd name="connsiteY204" fmla="*/ 1048941 h 3992562"/>
              <a:gd name="connsiteX205" fmla="*/ 26990 w 4443412"/>
              <a:gd name="connsiteY205" fmla="*/ 1027906 h 3992562"/>
              <a:gd name="connsiteX206" fmla="*/ 31356 w 4443412"/>
              <a:gd name="connsiteY206" fmla="*/ 1007666 h 3992562"/>
              <a:gd name="connsiteX207" fmla="*/ 36516 w 4443412"/>
              <a:gd name="connsiteY207" fmla="*/ 986631 h 3992562"/>
              <a:gd name="connsiteX208" fmla="*/ 42073 w 4443412"/>
              <a:gd name="connsiteY208" fmla="*/ 965994 h 3992562"/>
              <a:gd name="connsiteX209" fmla="*/ 48026 w 4443412"/>
              <a:gd name="connsiteY209" fmla="*/ 945753 h 3992562"/>
              <a:gd name="connsiteX210" fmla="*/ 54377 w 4443412"/>
              <a:gd name="connsiteY210" fmla="*/ 925513 h 3992562"/>
              <a:gd name="connsiteX211" fmla="*/ 61918 w 4443412"/>
              <a:gd name="connsiteY211" fmla="*/ 905272 h 3992562"/>
              <a:gd name="connsiteX212" fmla="*/ 69856 w 4443412"/>
              <a:gd name="connsiteY212" fmla="*/ 885031 h 3992562"/>
              <a:gd name="connsiteX213" fmla="*/ 77795 w 4443412"/>
              <a:gd name="connsiteY213" fmla="*/ 865188 h 3992562"/>
              <a:gd name="connsiteX214" fmla="*/ 87321 w 4443412"/>
              <a:gd name="connsiteY214" fmla="*/ 845344 h 3992562"/>
              <a:gd name="connsiteX215" fmla="*/ 96846 w 4443412"/>
              <a:gd name="connsiteY215" fmla="*/ 825500 h 3992562"/>
              <a:gd name="connsiteX216" fmla="*/ 107166 w 4443412"/>
              <a:gd name="connsiteY216" fmla="*/ 805656 h 3992562"/>
              <a:gd name="connsiteX217" fmla="*/ 118676 w 4443412"/>
              <a:gd name="connsiteY217" fmla="*/ 786209 h 3992562"/>
              <a:gd name="connsiteX218" fmla="*/ 130981 w 4443412"/>
              <a:gd name="connsiteY218" fmla="*/ 766763 h 3992562"/>
              <a:gd name="connsiteX219" fmla="*/ 143285 w 4443412"/>
              <a:gd name="connsiteY219" fmla="*/ 747713 h 3992562"/>
              <a:gd name="connsiteX220" fmla="*/ 156780 w 4443412"/>
              <a:gd name="connsiteY220" fmla="*/ 728266 h 3992562"/>
              <a:gd name="connsiteX221" fmla="*/ 166703 w 4443412"/>
              <a:gd name="connsiteY221" fmla="*/ 715169 h 3992562"/>
              <a:gd name="connsiteX222" fmla="*/ 176625 w 4443412"/>
              <a:gd name="connsiteY222" fmla="*/ 702469 h 3992562"/>
              <a:gd name="connsiteX223" fmla="*/ 187342 w 4443412"/>
              <a:gd name="connsiteY223" fmla="*/ 689769 h 3992562"/>
              <a:gd name="connsiteX224" fmla="*/ 197265 w 4443412"/>
              <a:gd name="connsiteY224" fmla="*/ 677863 h 3992562"/>
              <a:gd name="connsiteX225" fmla="*/ 208378 w 4443412"/>
              <a:gd name="connsiteY225" fmla="*/ 666353 h 3992562"/>
              <a:gd name="connsiteX226" fmla="*/ 219095 w 4443412"/>
              <a:gd name="connsiteY226" fmla="*/ 654844 h 3992562"/>
              <a:gd name="connsiteX227" fmla="*/ 230208 w 4443412"/>
              <a:gd name="connsiteY227" fmla="*/ 643731 h 3992562"/>
              <a:gd name="connsiteX228" fmla="*/ 241322 w 4443412"/>
              <a:gd name="connsiteY228" fmla="*/ 633016 h 3992562"/>
              <a:gd name="connsiteX229" fmla="*/ 252832 w 4443412"/>
              <a:gd name="connsiteY229" fmla="*/ 622697 h 3992562"/>
              <a:gd name="connsiteX230" fmla="*/ 264343 w 4443412"/>
              <a:gd name="connsiteY230" fmla="*/ 612378 h 3992562"/>
              <a:gd name="connsiteX231" fmla="*/ 276250 w 4443412"/>
              <a:gd name="connsiteY231" fmla="*/ 602853 h 3992562"/>
              <a:gd name="connsiteX232" fmla="*/ 288157 w 4443412"/>
              <a:gd name="connsiteY232" fmla="*/ 593328 h 3992562"/>
              <a:gd name="connsiteX233" fmla="*/ 300065 w 4443412"/>
              <a:gd name="connsiteY233" fmla="*/ 583803 h 3992562"/>
              <a:gd name="connsiteX234" fmla="*/ 312766 w 4443412"/>
              <a:gd name="connsiteY234" fmla="*/ 575072 h 3992562"/>
              <a:gd name="connsiteX235" fmla="*/ 325070 w 4443412"/>
              <a:gd name="connsiteY235" fmla="*/ 566341 h 3992562"/>
              <a:gd name="connsiteX236" fmla="*/ 337374 w 4443412"/>
              <a:gd name="connsiteY236" fmla="*/ 558006 h 3992562"/>
              <a:gd name="connsiteX237" fmla="*/ 350472 w 4443412"/>
              <a:gd name="connsiteY237" fmla="*/ 550069 h 3992562"/>
              <a:gd name="connsiteX238" fmla="*/ 363570 w 4443412"/>
              <a:gd name="connsiteY238" fmla="*/ 542131 h 3992562"/>
              <a:gd name="connsiteX239" fmla="*/ 390163 w 4443412"/>
              <a:gd name="connsiteY239" fmla="*/ 527050 h 3992562"/>
              <a:gd name="connsiteX240" fmla="*/ 417153 w 4443412"/>
              <a:gd name="connsiteY240" fmla="*/ 513159 h 3992562"/>
              <a:gd name="connsiteX241" fmla="*/ 444540 w 4443412"/>
              <a:gd name="connsiteY241" fmla="*/ 499666 h 3992562"/>
              <a:gd name="connsiteX242" fmla="*/ 472324 w 4443412"/>
              <a:gd name="connsiteY242" fmla="*/ 487363 h 3992562"/>
              <a:gd name="connsiteX243" fmla="*/ 500504 w 4443412"/>
              <a:gd name="connsiteY243" fmla="*/ 475853 h 3992562"/>
              <a:gd name="connsiteX244" fmla="*/ 529479 w 4443412"/>
              <a:gd name="connsiteY244" fmla="*/ 465534 h 3992562"/>
              <a:gd name="connsiteX245" fmla="*/ 558850 w 4443412"/>
              <a:gd name="connsiteY245" fmla="*/ 455613 h 3992562"/>
              <a:gd name="connsiteX246" fmla="*/ 588221 w 4443412"/>
              <a:gd name="connsiteY246" fmla="*/ 446088 h 3992562"/>
              <a:gd name="connsiteX247" fmla="*/ 618387 w 4443412"/>
              <a:gd name="connsiteY247" fmla="*/ 437753 h 3992562"/>
              <a:gd name="connsiteX248" fmla="*/ 648155 w 4443412"/>
              <a:gd name="connsiteY248" fmla="*/ 429022 h 3992562"/>
              <a:gd name="connsiteX249" fmla="*/ 678717 w 4443412"/>
              <a:gd name="connsiteY249" fmla="*/ 421481 h 3992562"/>
              <a:gd name="connsiteX250" fmla="*/ 709279 w 4443412"/>
              <a:gd name="connsiteY250" fmla="*/ 414734 h 3992562"/>
              <a:gd name="connsiteX251" fmla="*/ 740238 w 4443412"/>
              <a:gd name="connsiteY251" fmla="*/ 407988 h 3992562"/>
              <a:gd name="connsiteX252" fmla="*/ 771197 w 4443412"/>
              <a:gd name="connsiteY252" fmla="*/ 401638 h 3992562"/>
              <a:gd name="connsiteX253" fmla="*/ 802156 w 4443412"/>
              <a:gd name="connsiteY253" fmla="*/ 395684 h 3992562"/>
              <a:gd name="connsiteX254" fmla="*/ 864471 w 4443412"/>
              <a:gd name="connsiteY254" fmla="*/ 384572 h 3992562"/>
              <a:gd name="connsiteX255" fmla="*/ 926786 w 4443412"/>
              <a:gd name="connsiteY255" fmla="*/ 374650 h 3992562"/>
              <a:gd name="connsiteX256" fmla="*/ 1050622 w 4443412"/>
              <a:gd name="connsiteY256" fmla="*/ 354806 h 3992562"/>
              <a:gd name="connsiteX257" fmla="*/ 3575766 w 4443412"/>
              <a:gd name="connsiteY257" fmla="*/ 5160 h 3992562"/>
              <a:gd name="connsiteX258" fmla="*/ 3594817 w 4443412"/>
              <a:gd name="connsiteY258" fmla="*/ 3175 h 3992562"/>
              <a:gd name="connsiteX259" fmla="*/ 3613472 w 4443412"/>
              <a:gd name="connsiteY259" fmla="*/ 1588 h 3992562"/>
              <a:gd name="connsiteX260" fmla="*/ 3631333 w 4443412"/>
              <a:gd name="connsiteY260" fmla="*/ 397 h 3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4443412" h="3992562">
                <a:moveTo>
                  <a:pt x="3649988" y="0"/>
                </a:moveTo>
                <a:lnTo>
                  <a:pt x="3667849" y="0"/>
                </a:lnTo>
                <a:lnTo>
                  <a:pt x="3685710" y="397"/>
                </a:lnTo>
                <a:lnTo>
                  <a:pt x="3703174" y="1588"/>
                </a:lnTo>
                <a:lnTo>
                  <a:pt x="3720638" y="2381"/>
                </a:lnTo>
                <a:lnTo>
                  <a:pt x="3737705" y="4366"/>
                </a:lnTo>
                <a:lnTo>
                  <a:pt x="3755169" y="7144"/>
                </a:lnTo>
                <a:lnTo>
                  <a:pt x="3771839" y="9525"/>
                </a:lnTo>
                <a:lnTo>
                  <a:pt x="3788510" y="12303"/>
                </a:lnTo>
                <a:lnTo>
                  <a:pt x="3805180" y="16669"/>
                </a:lnTo>
                <a:lnTo>
                  <a:pt x="3821057" y="20638"/>
                </a:lnTo>
                <a:lnTo>
                  <a:pt x="3836933" y="25003"/>
                </a:lnTo>
                <a:lnTo>
                  <a:pt x="3853206" y="29369"/>
                </a:lnTo>
                <a:lnTo>
                  <a:pt x="3869083" y="34925"/>
                </a:lnTo>
                <a:lnTo>
                  <a:pt x="3884165" y="40481"/>
                </a:lnTo>
                <a:lnTo>
                  <a:pt x="3899645" y="46434"/>
                </a:lnTo>
                <a:lnTo>
                  <a:pt x="3914331" y="52784"/>
                </a:lnTo>
                <a:lnTo>
                  <a:pt x="3929016" y="59928"/>
                </a:lnTo>
                <a:lnTo>
                  <a:pt x="3943305" y="67072"/>
                </a:lnTo>
                <a:lnTo>
                  <a:pt x="3957991" y="74613"/>
                </a:lnTo>
                <a:lnTo>
                  <a:pt x="3971883" y="82550"/>
                </a:lnTo>
                <a:lnTo>
                  <a:pt x="3985774" y="90885"/>
                </a:lnTo>
                <a:lnTo>
                  <a:pt x="3999269" y="100013"/>
                </a:lnTo>
                <a:lnTo>
                  <a:pt x="4012764" y="108744"/>
                </a:lnTo>
                <a:lnTo>
                  <a:pt x="4025862" y="118269"/>
                </a:lnTo>
                <a:lnTo>
                  <a:pt x="4038167" y="127794"/>
                </a:lnTo>
                <a:lnTo>
                  <a:pt x="4050867" y="137716"/>
                </a:lnTo>
                <a:lnTo>
                  <a:pt x="4063172" y="148431"/>
                </a:lnTo>
                <a:lnTo>
                  <a:pt x="4075476" y="159147"/>
                </a:lnTo>
                <a:lnTo>
                  <a:pt x="4087383" y="170259"/>
                </a:lnTo>
                <a:lnTo>
                  <a:pt x="4098894" y="181769"/>
                </a:lnTo>
                <a:lnTo>
                  <a:pt x="4109610" y="193278"/>
                </a:lnTo>
                <a:lnTo>
                  <a:pt x="4120724" y="205184"/>
                </a:lnTo>
                <a:lnTo>
                  <a:pt x="4131043" y="217884"/>
                </a:lnTo>
                <a:lnTo>
                  <a:pt x="4141760" y="230188"/>
                </a:lnTo>
                <a:lnTo>
                  <a:pt x="4151683" y="243284"/>
                </a:lnTo>
                <a:lnTo>
                  <a:pt x="4161605" y="256381"/>
                </a:lnTo>
                <a:lnTo>
                  <a:pt x="4171131" y="269875"/>
                </a:lnTo>
                <a:lnTo>
                  <a:pt x="4180261" y="283766"/>
                </a:lnTo>
                <a:lnTo>
                  <a:pt x="4188993" y="297656"/>
                </a:lnTo>
                <a:lnTo>
                  <a:pt x="4197725" y="312341"/>
                </a:lnTo>
                <a:lnTo>
                  <a:pt x="4206059" y="326628"/>
                </a:lnTo>
                <a:lnTo>
                  <a:pt x="4213998" y="341313"/>
                </a:lnTo>
                <a:lnTo>
                  <a:pt x="4221539" y="355997"/>
                </a:lnTo>
                <a:lnTo>
                  <a:pt x="4229081" y="371475"/>
                </a:lnTo>
                <a:lnTo>
                  <a:pt x="4236225" y="386953"/>
                </a:lnTo>
                <a:lnTo>
                  <a:pt x="4242575" y="403225"/>
                </a:lnTo>
                <a:lnTo>
                  <a:pt x="4248926" y="419100"/>
                </a:lnTo>
                <a:lnTo>
                  <a:pt x="4254879" y="434975"/>
                </a:lnTo>
                <a:lnTo>
                  <a:pt x="4260437" y="451644"/>
                </a:lnTo>
                <a:lnTo>
                  <a:pt x="4265993" y="468709"/>
                </a:lnTo>
                <a:lnTo>
                  <a:pt x="4271153" y="484981"/>
                </a:lnTo>
                <a:lnTo>
                  <a:pt x="4275916" y="502444"/>
                </a:lnTo>
                <a:lnTo>
                  <a:pt x="4279885" y="519509"/>
                </a:lnTo>
                <a:lnTo>
                  <a:pt x="4283854" y="536972"/>
                </a:lnTo>
                <a:lnTo>
                  <a:pt x="4287823" y="554434"/>
                </a:lnTo>
                <a:lnTo>
                  <a:pt x="4290999" y="572294"/>
                </a:lnTo>
                <a:lnTo>
                  <a:pt x="4294173" y="590550"/>
                </a:lnTo>
                <a:lnTo>
                  <a:pt x="4296555" y="608806"/>
                </a:lnTo>
                <a:lnTo>
                  <a:pt x="4298539" y="627063"/>
                </a:lnTo>
                <a:lnTo>
                  <a:pt x="4300525" y="645319"/>
                </a:lnTo>
                <a:lnTo>
                  <a:pt x="4439840" y="2872581"/>
                </a:lnTo>
                <a:lnTo>
                  <a:pt x="4441825" y="2916634"/>
                </a:lnTo>
                <a:lnTo>
                  <a:pt x="4442618" y="2959100"/>
                </a:lnTo>
                <a:lnTo>
                  <a:pt x="4443412" y="3000375"/>
                </a:lnTo>
                <a:lnTo>
                  <a:pt x="4443412" y="3041650"/>
                </a:lnTo>
                <a:lnTo>
                  <a:pt x="4442618" y="3081337"/>
                </a:lnTo>
                <a:lnTo>
                  <a:pt x="4440633" y="3121025"/>
                </a:lnTo>
                <a:lnTo>
                  <a:pt x="4439443" y="3140472"/>
                </a:lnTo>
                <a:lnTo>
                  <a:pt x="4437855" y="3159918"/>
                </a:lnTo>
                <a:lnTo>
                  <a:pt x="4435871" y="3179365"/>
                </a:lnTo>
                <a:lnTo>
                  <a:pt x="4433489" y="3198812"/>
                </a:lnTo>
                <a:lnTo>
                  <a:pt x="4430711" y="3218259"/>
                </a:lnTo>
                <a:lnTo>
                  <a:pt x="4427933" y="3237309"/>
                </a:lnTo>
                <a:lnTo>
                  <a:pt x="4424757" y="3256756"/>
                </a:lnTo>
                <a:lnTo>
                  <a:pt x="4420788" y="3276203"/>
                </a:lnTo>
                <a:lnTo>
                  <a:pt x="4416819" y="3295253"/>
                </a:lnTo>
                <a:lnTo>
                  <a:pt x="4412453" y="3314700"/>
                </a:lnTo>
                <a:lnTo>
                  <a:pt x="4407293" y="3334147"/>
                </a:lnTo>
                <a:lnTo>
                  <a:pt x="4401737" y="3353593"/>
                </a:lnTo>
                <a:lnTo>
                  <a:pt x="4395783" y="3373040"/>
                </a:lnTo>
                <a:lnTo>
                  <a:pt x="4389432" y="3392487"/>
                </a:lnTo>
                <a:lnTo>
                  <a:pt x="4382288" y="3412331"/>
                </a:lnTo>
                <a:lnTo>
                  <a:pt x="4374747" y="3432175"/>
                </a:lnTo>
                <a:lnTo>
                  <a:pt x="4366809" y="3452018"/>
                </a:lnTo>
                <a:lnTo>
                  <a:pt x="4358473" y="3472259"/>
                </a:lnTo>
                <a:lnTo>
                  <a:pt x="4349344" y="3492500"/>
                </a:lnTo>
                <a:lnTo>
                  <a:pt x="4339819" y="3513137"/>
                </a:lnTo>
                <a:lnTo>
                  <a:pt x="4329499" y="3534172"/>
                </a:lnTo>
                <a:lnTo>
                  <a:pt x="4318385" y="3554809"/>
                </a:lnTo>
                <a:lnTo>
                  <a:pt x="4306875" y="3575447"/>
                </a:lnTo>
                <a:lnTo>
                  <a:pt x="4294967" y="3595290"/>
                </a:lnTo>
                <a:lnTo>
                  <a:pt x="4283060" y="3615531"/>
                </a:lnTo>
                <a:lnTo>
                  <a:pt x="4269962" y="3634978"/>
                </a:lnTo>
                <a:lnTo>
                  <a:pt x="4256864" y="3654028"/>
                </a:lnTo>
                <a:lnTo>
                  <a:pt x="4242972" y="3672284"/>
                </a:lnTo>
                <a:lnTo>
                  <a:pt x="4229081" y="3690937"/>
                </a:lnTo>
                <a:lnTo>
                  <a:pt x="4214791" y="3708797"/>
                </a:lnTo>
                <a:lnTo>
                  <a:pt x="4199709" y="3726259"/>
                </a:lnTo>
                <a:lnTo>
                  <a:pt x="4184627" y="3743325"/>
                </a:lnTo>
                <a:lnTo>
                  <a:pt x="4168750" y="3760390"/>
                </a:lnTo>
                <a:lnTo>
                  <a:pt x="4152873" y="3776265"/>
                </a:lnTo>
                <a:lnTo>
                  <a:pt x="4136203" y="3792140"/>
                </a:lnTo>
                <a:lnTo>
                  <a:pt x="4119136" y="3807222"/>
                </a:lnTo>
                <a:lnTo>
                  <a:pt x="4101672" y="3822303"/>
                </a:lnTo>
                <a:lnTo>
                  <a:pt x="4083811" y="3836193"/>
                </a:lnTo>
                <a:lnTo>
                  <a:pt x="4065950" y="3850084"/>
                </a:lnTo>
                <a:lnTo>
                  <a:pt x="4047295" y="3863181"/>
                </a:lnTo>
                <a:lnTo>
                  <a:pt x="4028244" y="3875484"/>
                </a:lnTo>
                <a:lnTo>
                  <a:pt x="4008795" y="3888184"/>
                </a:lnTo>
                <a:lnTo>
                  <a:pt x="3989347" y="3899693"/>
                </a:lnTo>
                <a:lnTo>
                  <a:pt x="3969501" y="3910012"/>
                </a:lnTo>
                <a:lnTo>
                  <a:pt x="3948862" y="3920728"/>
                </a:lnTo>
                <a:lnTo>
                  <a:pt x="3927825" y="3930253"/>
                </a:lnTo>
                <a:lnTo>
                  <a:pt x="3907186" y="3938984"/>
                </a:lnTo>
                <a:lnTo>
                  <a:pt x="3885356" y="3947715"/>
                </a:lnTo>
                <a:lnTo>
                  <a:pt x="3863526" y="3955256"/>
                </a:lnTo>
                <a:lnTo>
                  <a:pt x="3840902" y="3962400"/>
                </a:lnTo>
                <a:lnTo>
                  <a:pt x="3818675" y="3968750"/>
                </a:lnTo>
                <a:lnTo>
                  <a:pt x="3795654" y="3973909"/>
                </a:lnTo>
                <a:lnTo>
                  <a:pt x="3768664" y="3980259"/>
                </a:lnTo>
                <a:lnTo>
                  <a:pt x="3741277" y="3984625"/>
                </a:lnTo>
                <a:lnTo>
                  <a:pt x="3714287" y="3988197"/>
                </a:lnTo>
                <a:lnTo>
                  <a:pt x="3686901" y="3990578"/>
                </a:lnTo>
                <a:lnTo>
                  <a:pt x="3659117" y="3992165"/>
                </a:lnTo>
                <a:lnTo>
                  <a:pt x="3631730" y="3992562"/>
                </a:lnTo>
                <a:lnTo>
                  <a:pt x="3604343" y="3992562"/>
                </a:lnTo>
                <a:lnTo>
                  <a:pt x="3576560" y="3990975"/>
                </a:lnTo>
                <a:lnTo>
                  <a:pt x="3548379" y="3988990"/>
                </a:lnTo>
                <a:lnTo>
                  <a:pt x="3520595" y="3986609"/>
                </a:lnTo>
                <a:lnTo>
                  <a:pt x="3492415" y="3982640"/>
                </a:lnTo>
                <a:lnTo>
                  <a:pt x="3464631" y="3978672"/>
                </a:lnTo>
                <a:lnTo>
                  <a:pt x="3436053" y="3973115"/>
                </a:lnTo>
                <a:lnTo>
                  <a:pt x="3407476" y="3967559"/>
                </a:lnTo>
                <a:lnTo>
                  <a:pt x="3379295" y="3961209"/>
                </a:lnTo>
                <a:lnTo>
                  <a:pt x="3350321" y="3954065"/>
                </a:lnTo>
                <a:lnTo>
                  <a:pt x="3321346" y="3946128"/>
                </a:lnTo>
                <a:lnTo>
                  <a:pt x="3291975" y="3938190"/>
                </a:lnTo>
                <a:lnTo>
                  <a:pt x="3263001" y="3929062"/>
                </a:lnTo>
                <a:lnTo>
                  <a:pt x="3233232" y="3919537"/>
                </a:lnTo>
                <a:lnTo>
                  <a:pt x="3203464" y="3910012"/>
                </a:lnTo>
                <a:lnTo>
                  <a:pt x="3173299" y="3899693"/>
                </a:lnTo>
                <a:lnTo>
                  <a:pt x="3112571" y="3878262"/>
                </a:lnTo>
                <a:lnTo>
                  <a:pt x="3051050" y="3855243"/>
                </a:lnTo>
                <a:lnTo>
                  <a:pt x="2988735" y="3831034"/>
                </a:lnTo>
                <a:lnTo>
                  <a:pt x="2860533" y="3780631"/>
                </a:lnTo>
                <a:lnTo>
                  <a:pt x="818429" y="2887662"/>
                </a:lnTo>
                <a:lnTo>
                  <a:pt x="753733" y="2858294"/>
                </a:lnTo>
                <a:lnTo>
                  <a:pt x="686655" y="2828131"/>
                </a:lnTo>
                <a:lnTo>
                  <a:pt x="617593" y="2797175"/>
                </a:lnTo>
                <a:lnTo>
                  <a:pt x="582665" y="2781300"/>
                </a:lnTo>
                <a:lnTo>
                  <a:pt x="548133" y="2765425"/>
                </a:lnTo>
                <a:lnTo>
                  <a:pt x="513205" y="2748359"/>
                </a:lnTo>
                <a:lnTo>
                  <a:pt x="479071" y="2730897"/>
                </a:lnTo>
                <a:lnTo>
                  <a:pt x="444937" y="2712640"/>
                </a:lnTo>
                <a:lnTo>
                  <a:pt x="410803" y="2694384"/>
                </a:lnTo>
                <a:lnTo>
                  <a:pt x="377859" y="2675334"/>
                </a:lnTo>
                <a:lnTo>
                  <a:pt x="345709" y="2655490"/>
                </a:lnTo>
                <a:lnTo>
                  <a:pt x="313559" y="2634853"/>
                </a:lnTo>
                <a:lnTo>
                  <a:pt x="298080" y="2623740"/>
                </a:lnTo>
                <a:lnTo>
                  <a:pt x="282600" y="2613422"/>
                </a:lnTo>
                <a:lnTo>
                  <a:pt x="267518" y="2602309"/>
                </a:lnTo>
                <a:lnTo>
                  <a:pt x="252832" y="2590800"/>
                </a:lnTo>
                <a:lnTo>
                  <a:pt x="238146" y="2579290"/>
                </a:lnTo>
                <a:lnTo>
                  <a:pt x="223858" y="2567781"/>
                </a:lnTo>
                <a:lnTo>
                  <a:pt x="209569" y="2555875"/>
                </a:lnTo>
                <a:lnTo>
                  <a:pt x="196074" y="2543572"/>
                </a:lnTo>
                <a:lnTo>
                  <a:pt x="182579" y="2530872"/>
                </a:lnTo>
                <a:lnTo>
                  <a:pt x="169878" y="2518569"/>
                </a:lnTo>
                <a:lnTo>
                  <a:pt x="157177" y="2505472"/>
                </a:lnTo>
                <a:lnTo>
                  <a:pt x="144873" y="2491978"/>
                </a:lnTo>
                <a:lnTo>
                  <a:pt x="133362" y="2478484"/>
                </a:lnTo>
                <a:lnTo>
                  <a:pt x="121852" y="2464594"/>
                </a:lnTo>
                <a:lnTo>
                  <a:pt x="110738" y="2450703"/>
                </a:lnTo>
                <a:lnTo>
                  <a:pt x="100419" y="2436019"/>
                </a:lnTo>
                <a:lnTo>
                  <a:pt x="89702" y="2421731"/>
                </a:lnTo>
                <a:lnTo>
                  <a:pt x="80573" y="2406650"/>
                </a:lnTo>
                <a:lnTo>
                  <a:pt x="71047" y="2391172"/>
                </a:lnTo>
                <a:lnTo>
                  <a:pt x="62315" y="2375297"/>
                </a:lnTo>
                <a:lnTo>
                  <a:pt x="54377" y="2359025"/>
                </a:lnTo>
                <a:lnTo>
                  <a:pt x="46439" y="2343150"/>
                </a:lnTo>
                <a:lnTo>
                  <a:pt x="39294" y="2326084"/>
                </a:lnTo>
                <a:lnTo>
                  <a:pt x="32944" y="2309415"/>
                </a:lnTo>
                <a:lnTo>
                  <a:pt x="26990" y="2292350"/>
                </a:lnTo>
                <a:lnTo>
                  <a:pt x="21433" y="2274094"/>
                </a:lnTo>
                <a:lnTo>
                  <a:pt x="16670" y="2256234"/>
                </a:lnTo>
                <a:lnTo>
                  <a:pt x="11908" y="2237978"/>
                </a:lnTo>
                <a:lnTo>
                  <a:pt x="8335" y="2218928"/>
                </a:lnTo>
                <a:lnTo>
                  <a:pt x="5557" y="2199878"/>
                </a:lnTo>
                <a:lnTo>
                  <a:pt x="3176" y="2180034"/>
                </a:lnTo>
                <a:lnTo>
                  <a:pt x="1588" y="2159794"/>
                </a:lnTo>
                <a:lnTo>
                  <a:pt x="397" y="2139553"/>
                </a:lnTo>
                <a:lnTo>
                  <a:pt x="0" y="2118915"/>
                </a:lnTo>
                <a:lnTo>
                  <a:pt x="0" y="1397794"/>
                </a:lnTo>
                <a:lnTo>
                  <a:pt x="0" y="1352153"/>
                </a:lnTo>
                <a:lnTo>
                  <a:pt x="397" y="1307703"/>
                </a:lnTo>
                <a:lnTo>
                  <a:pt x="1985" y="1263253"/>
                </a:lnTo>
                <a:lnTo>
                  <a:pt x="3572" y="1219200"/>
                </a:lnTo>
                <a:lnTo>
                  <a:pt x="6351" y="1176338"/>
                </a:lnTo>
                <a:lnTo>
                  <a:pt x="8335" y="1154509"/>
                </a:lnTo>
                <a:lnTo>
                  <a:pt x="10320" y="1133475"/>
                </a:lnTo>
                <a:lnTo>
                  <a:pt x="13098" y="1112044"/>
                </a:lnTo>
                <a:lnTo>
                  <a:pt x="15877" y="1091009"/>
                </a:lnTo>
                <a:lnTo>
                  <a:pt x="19052" y="1069975"/>
                </a:lnTo>
                <a:lnTo>
                  <a:pt x="23021" y="1048941"/>
                </a:lnTo>
                <a:lnTo>
                  <a:pt x="26990" y="1027906"/>
                </a:lnTo>
                <a:lnTo>
                  <a:pt x="31356" y="1007666"/>
                </a:lnTo>
                <a:lnTo>
                  <a:pt x="36516" y="986631"/>
                </a:lnTo>
                <a:lnTo>
                  <a:pt x="42073" y="965994"/>
                </a:lnTo>
                <a:lnTo>
                  <a:pt x="48026" y="945753"/>
                </a:lnTo>
                <a:lnTo>
                  <a:pt x="54377" y="925513"/>
                </a:lnTo>
                <a:lnTo>
                  <a:pt x="61918" y="905272"/>
                </a:lnTo>
                <a:lnTo>
                  <a:pt x="69856" y="885031"/>
                </a:lnTo>
                <a:lnTo>
                  <a:pt x="77795" y="865188"/>
                </a:lnTo>
                <a:lnTo>
                  <a:pt x="87321" y="845344"/>
                </a:lnTo>
                <a:lnTo>
                  <a:pt x="96846" y="825500"/>
                </a:lnTo>
                <a:lnTo>
                  <a:pt x="107166" y="805656"/>
                </a:lnTo>
                <a:lnTo>
                  <a:pt x="118676" y="786209"/>
                </a:lnTo>
                <a:lnTo>
                  <a:pt x="130981" y="766763"/>
                </a:lnTo>
                <a:lnTo>
                  <a:pt x="143285" y="747713"/>
                </a:lnTo>
                <a:lnTo>
                  <a:pt x="156780" y="728266"/>
                </a:lnTo>
                <a:lnTo>
                  <a:pt x="166703" y="715169"/>
                </a:lnTo>
                <a:lnTo>
                  <a:pt x="176625" y="702469"/>
                </a:lnTo>
                <a:lnTo>
                  <a:pt x="187342" y="689769"/>
                </a:lnTo>
                <a:lnTo>
                  <a:pt x="197265" y="677863"/>
                </a:lnTo>
                <a:lnTo>
                  <a:pt x="208378" y="666353"/>
                </a:lnTo>
                <a:lnTo>
                  <a:pt x="219095" y="654844"/>
                </a:lnTo>
                <a:lnTo>
                  <a:pt x="230208" y="643731"/>
                </a:lnTo>
                <a:lnTo>
                  <a:pt x="241322" y="633016"/>
                </a:lnTo>
                <a:lnTo>
                  <a:pt x="252832" y="622697"/>
                </a:lnTo>
                <a:lnTo>
                  <a:pt x="264343" y="612378"/>
                </a:lnTo>
                <a:lnTo>
                  <a:pt x="276250" y="602853"/>
                </a:lnTo>
                <a:lnTo>
                  <a:pt x="288157" y="593328"/>
                </a:lnTo>
                <a:lnTo>
                  <a:pt x="300065" y="583803"/>
                </a:lnTo>
                <a:lnTo>
                  <a:pt x="312766" y="575072"/>
                </a:lnTo>
                <a:lnTo>
                  <a:pt x="325070" y="566341"/>
                </a:lnTo>
                <a:lnTo>
                  <a:pt x="337374" y="558006"/>
                </a:lnTo>
                <a:lnTo>
                  <a:pt x="350472" y="550069"/>
                </a:lnTo>
                <a:lnTo>
                  <a:pt x="363570" y="542131"/>
                </a:lnTo>
                <a:lnTo>
                  <a:pt x="390163" y="527050"/>
                </a:lnTo>
                <a:lnTo>
                  <a:pt x="417153" y="513159"/>
                </a:lnTo>
                <a:lnTo>
                  <a:pt x="444540" y="499666"/>
                </a:lnTo>
                <a:lnTo>
                  <a:pt x="472324" y="487363"/>
                </a:lnTo>
                <a:lnTo>
                  <a:pt x="500504" y="475853"/>
                </a:lnTo>
                <a:lnTo>
                  <a:pt x="529479" y="465534"/>
                </a:lnTo>
                <a:lnTo>
                  <a:pt x="558850" y="455613"/>
                </a:lnTo>
                <a:lnTo>
                  <a:pt x="588221" y="446088"/>
                </a:lnTo>
                <a:lnTo>
                  <a:pt x="618387" y="437753"/>
                </a:lnTo>
                <a:lnTo>
                  <a:pt x="648155" y="429022"/>
                </a:lnTo>
                <a:lnTo>
                  <a:pt x="678717" y="421481"/>
                </a:lnTo>
                <a:lnTo>
                  <a:pt x="709279" y="414734"/>
                </a:lnTo>
                <a:lnTo>
                  <a:pt x="740238" y="407988"/>
                </a:lnTo>
                <a:lnTo>
                  <a:pt x="771197" y="401638"/>
                </a:lnTo>
                <a:lnTo>
                  <a:pt x="802156" y="395684"/>
                </a:lnTo>
                <a:lnTo>
                  <a:pt x="864471" y="384572"/>
                </a:lnTo>
                <a:lnTo>
                  <a:pt x="926786" y="374650"/>
                </a:lnTo>
                <a:lnTo>
                  <a:pt x="1050622" y="354806"/>
                </a:lnTo>
                <a:lnTo>
                  <a:pt x="3575766" y="5160"/>
                </a:lnTo>
                <a:lnTo>
                  <a:pt x="3594817" y="3175"/>
                </a:lnTo>
                <a:lnTo>
                  <a:pt x="3613472" y="1588"/>
                </a:lnTo>
                <a:lnTo>
                  <a:pt x="3631333" y="397"/>
                </a:lnTo>
                <a:close/>
              </a:path>
            </a:pathLst>
          </a:custGeom>
          <a:solidFill>
            <a:schemeClr val="bg1">
              <a:lumMod val="85000"/>
            </a:schemeClr>
          </a:solidFill>
        </p:spPr>
        <p:txBody>
          <a:bodyPr wrap="square" anchor="ctr">
            <a:noAutofit/>
          </a:bodyPr>
          <a:lstStyle>
            <a:lvl1pPr marL="0" indent="0" algn="ctr">
              <a:buNone/>
              <a:defRPr baseline="0"/>
            </a:lvl1pPr>
          </a:lstStyle>
          <a:p>
            <a:r>
              <a:rPr lang="en-GB" dirty="0"/>
              <a:t>Insert your photo</a:t>
            </a:r>
          </a:p>
        </p:txBody>
      </p:sp>
    </p:spTree>
    <p:extLst>
      <p:ext uri="{BB962C8B-B14F-4D97-AF65-F5344CB8AC3E}">
        <p14:creationId xmlns:p14="http://schemas.microsoft.com/office/powerpoint/2010/main" val="181016922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2"/>
        </a:solidFill>
        <a:effectLst/>
      </p:bgPr>
    </p:bg>
    <p:spTree>
      <p:nvGrpSpPr>
        <p:cNvPr id="1" name=""/>
        <p:cNvGrpSpPr/>
        <p:nvPr/>
      </p:nvGrpSpPr>
      <p:grpSpPr>
        <a:xfrm>
          <a:off x="0" y="0"/>
          <a:ext cx="0" cy="0"/>
          <a:chOff x="0" y="0"/>
          <a:chExt cx="0" cy="0"/>
        </a:xfrm>
      </p:grpSpPr>
      <p:sp>
        <p:nvSpPr>
          <p:cNvPr id="2" name="Rectángulo 1"/>
          <p:cNvSpPr/>
          <p:nvPr userDrawn="1"/>
        </p:nvSpPr>
        <p:spPr>
          <a:xfrm>
            <a:off x="0" y="0"/>
            <a:ext cx="12192000"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dirty="0">
              <a:solidFill>
                <a:srgbClr val="005EB8"/>
              </a:solidFill>
            </a:endParaRPr>
          </a:p>
        </p:txBody>
      </p:sp>
      <p:cxnSp>
        <p:nvCxnSpPr>
          <p:cNvPr id="31" name="Straight Connector 11"/>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dirty="0">
                <a:solidFill>
                  <a:srgbClr val="FFFFFF">
                    <a:lumMod val="85000"/>
                  </a:srgbClr>
                </a:solidFill>
              </a:rPr>
              <a:t>© Amadeus IT Group and its affiliates and subsidiaries</a:t>
            </a:r>
          </a:p>
        </p:txBody>
      </p:sp>
      <p:sp>
        <p:nvSpPr>
          <p:cNvPr id="4" name="AutoShape 3"/>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56" name="Text Placeholder 23"/>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7" name="Text Placeholder 23"/>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58" name="Text Placeholder 23"/>
          <p:cNvSpPr>
            <a:spLocks noGrp="1"/>
          </p:cNvSpPr>
          <p:nvPr>
            <p:ph type="body" sz="quarter" idx="38" hasCustomPrompt="1"/>
          </p:nvPr>
        </p:nvSpPr>
        <p:spPr>
          <a:xfrm>
            <a:off x="376389" y="6298613"/>
            <a:ext cx="1764284"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1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0" name="Freeform 5"/>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1" name="Freeform 5"/>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2" name="Freeform 6"/>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3" name="Freeform 7"/>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4" name="Freeform 8"/>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5" name="Freeform 9"/>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10"/>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11"/>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nvGrpSpPr>
          <p:cNvPr id="28" name="Grupo 27"/>
          <p:cNvGrpSpPr/>
          <p:nvPr userDrawn="1"/>
        </p:nvGrpSpPr>
        <p:grpSpPr>
          <a:xfrm>
            <a:off x="9621123" y="1122673"/>
            <a:ext cx="2751419" cy="2345067"/>
            <a:chOff x="7842547" y="2093286"/>
            <a:chExt cx="4597521" cy="3918521"/>
          </a:xfrm>
        </p:grpSpPr>
        <p:pic>
          <p:nvPicPr>
            <p:cNvPr id="29" name="Imagen 28"/>
            <p:cNvPicPr>
              <a:picLocks noChangeAspect="1"/>
            </p:cNvPicPr>
            <p:nvPr/>
          </p:nvPicPr>
          <p:blipFill rotWithShape="1">
            <a:blip r:embed="rId2"/>
            <a:srcRect r="61222"/>
            <a:stretch/>
          </p:blipFill>
          <p:spPr>
            <a:xfrm rot="9987682" flipH="1">
              <a:off x="7842547" y="2093286"/>
              <a:ext cx="4597521" cy="3918521"/>
            </a:xfrm>
            <a:prstGeom prst="rect">
              <a:avLst/>
            </a:prstGeom>
          </p:spPr>
        </p:pic>
        <p:sp>
          <p:nvSpPr>
            <p:cNvPr id="30" name="Rectángulo 29"/>
            <p:cNvSpPr/>
            <p:nvPr/>
          </p:nvSpPr>
          <p:spPr>
            <a:xfrm>
              <a:off x="7938183" y="2667925"/>
              <a:ext cx="571500" cy="24638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grpSp>
      <p:pic>
        <p:nvPicPr>
          <p:cNvPr id="32" name="Imagen 31"/>
          <p:cNvPicPr>
            <a:picLocks noChangeAspect="1"/>
          </p:cNvPicPr>
          <p:nvPr userDrawn="1"/>
        </p:nvPicPr>
        <p:blipFill rotWithShape="1">
          <a:blip r:embed="rId3" cstate="print">
            <a:extLst>
              <a:ext uri="{28A0092B-C50C-407E-A947-70E740481C1C}">
                <a14:useLocalDpi xmlns:a14="http://schemas.microsoft.com/office/drawing/2010/main" val="0"/>
              </a:ext>
            </a:extLst>
          </a:blip>
          <a:srcRect b="26815"/>
          <a:stretch/>
        </p:blipFill>
        <p:spPr>
          <a:xfrm>
            <a:off x="7041575" y="724613"/>
            <a:ext cx="4130427" cy="2354831"/>
          </a:xfrm>
          <a:prstGeom prst="rect">
            <a:avLst/>
          </a:prstGeom>
        </p:spPr>
      </p:pic>
      <p:grpSp>
        <p:nvGrpSpPr>
          <p:cNvPr id="33" name="Grupo 32"/>
          <p:cNvGrpSpPr/>
          <p:nvPr userDrawn="1"/>
        </p:nvGrpSpPr>
        <p:grpSpPr>
          <a:xfrm>
            <a:off x="-723900" y="1120930"/>
            <a:ext cx="8956032" cy="1592011"/>
            <a:chOff x="-12700" y="682078"/>
            <a:chExt cx="8956032" cy="1592011"/>
          </a:xfrm>
        </p:grpSpPr>
        <p:sp>
          <p:nvSpPr>
            <p:cNvPr id="34" name="Forma libre 33"/>
            <p:cNvSpPr/>
            <p:nvPr/>
          </p:nvSpPr>
          <p:spPr>
            <a:xfrm>
              <a:off x="-12700" y="682078"/>
              <a:ext cx="8890000" cy="1592011"/>
            </a:xfrm>
            <a:custGeom>
              <a:avLst/>
              <a:gdLst>
                <a:gd name="connsiteX0" fmla="*/ 0 w 8890000"/>
                <a:gd name="connsiteY0" fmla="*/ 1304132 h 1486839"/>
                <a:gd name="connsiteX1" fmla="*/ 2578100 w 8890000"/>
                <a:gd name="connsiteY1" fmla="*/ 1291432 h 1486839"/>
                <a:gd name="connsiteX2" fmla="*/ 3911600 w 8890000"/>
                <a:gd name="connsiteY2" fmla="*/ 885032 h 1486839"/>
                <a:gd name="connsiteX3" fmla="*/ 4114800 w 8890000"/>
                <a:gd name="connsiteY3" fmla="*/ 97632 h 1486839"/>
                <a:gd name="connsiteX4" fmla="*/ 2908300 w 8890000"/>
                <a:gd name="connsiteY4" fmla="*/ 97632 h 1486839"/>
                <a:gd name="connsiteX5" fmla="*/ 2667000 w 8890000"/>
                <a:gd name="connsiteY5" fmla="*/ 872332 h 1486839"/>
                <a:gd name="connsiteX6" fmla="*/ 3568700 w 8890000"/>
                <a:gd name="connsiteY6" fmla="*/ 1354932 h 1486839"/>
                <a:gd name="connsiteX7" fmla="*/ 5321300 w 8890000"/>
                <a:gd name="connsiteY7" fmla="*/ 1151732 h 1486839"/>
                <a:gd name="connsiteX8" fmla="*/ 7112000 w 8890000"/>
                <a:gd name="connsiteY8" fmla="*/ 1481932 h 1486839"/>
                <a:gd name="connsiteX9" fmla="*/ 8890000 w 8890000"/>
                <a:gd name="connsiteY9" fmla="*/ 846932 h 1486839"/>
                <a:gd name="connsiteX0" fmla="*/ 0 w 8890000"/>
                <a:gd name="connsiteY0" fmla="*/ 1340162 h 1522869"/>
                <a:gd name="connsiteX1" fmla="*/ 2578100 w 8890000"/>
                <a:gd name="connsiteY1" fmla="*/ 1327462 h 1522869"/>
                <a:gd name="connsiteX2" fmla="*/ 3911600 w 8890000"/>
                <a:gd name="connsiteY2" fmla="*/ 921062 h 1522869"/>
                <a:gd name="connsiteX3" fmla="*/ 3956050 w 8890000"/>
                <a:gd name="connsiteY3" fmla="*/ 76512 h 1522869"/>
                <a:gd name="connsiteX4" fmla="*/ 2908300 w 8890000"/>
                <a:gd name="connsiteY4" fmla="*/ 133662 h 1522869"/>
                <a:gd name="connsiteX5" fmla="*/ 2667000 w 8890000"/>
                <a:gd name="connsiteY5" fmla="*/ 908362 h 1522869"/>
                <a:gd name="connsiteX6" fmla="*/ 3568700 w 8890000"/>
                <a:gd name="connsiteY6" fmla="*/ 1390962 h 1522869"/>
                <a:gd name="connsiteX7" fmla="*/ 5321300 w 8890000"/>
                <a:gd name="connsiteY7" fmla="*/ 1187762 h 1522869"/>
                <a:gd name="connsiteX8" fmla="*/ 7112000 w 8890000"/>
                <a:gd name="connsiteY8" fmla="*/ 1517962 h 1522869"/>
                <a:gd name="connsiteX9" fmla="*/ 8890000 w 8890000"/>
                <a:gd name="connsiteY9" fmla="*/ 882962 h 1522869"/>
                <a:gd name="connsiteX0" fmla="*/ 0 w 8890000"/>
                <a:gd name="connsiteY0" fmla="*/ 1395610 h 1578317"/>
                <a:gd name="connsiteX1" fmla="*/ 2578100 w 8890000"/>
                <a:gd name="connsiteY1" fmla="*/ 1382910 h 1578317"/>
                <a:gd name="connsiteX2" fmla="*/ 3911600 w 8890000"/>
                <a:gd name="connsiteY2" fmla="*/ 976510 h 1578317"/>
                <a:gd name="connsiteX3" fmla="*/ 3956050 w 8890000"/>
                <a:gd name="connsiteY3" fmla="*/ 131960 h 1578317"/>
                <a:gd name="connsiteX4" fmla="*/ 2908300 w 8890000"/>
                <a:gd name="connsiteY4" fmla="*/ 189110 h 1578317"/>
                <a:gd name="connsiteX5" fmla="*/ 2667000 w 8890000"/>
                <a:gd name="connsiteY5" fmla="*/ 963810 h 1578317"/>
                <a:gd name="connsiteX6" fmla="*/ 3568700 w 8890000"/>
                <a:gd name="connsiteY6" fmla="*/ 1446410 h 1578317"/>
                <a:gd name="connsiteX7" fmla="*/ 5321300 w 8890000"/>
                <a:gd name="connsiteY7" fmla="*/ 1243210 h 1578317"/>
                <a:gd name="connsiteX8" fmla="*/ 7112000 w 8890000"/>
                <a:gd name="connsiteY8" fmla="*/ 1573410 h 1578317"/>
                <a:gd name="connsiteX9" fmla="*/ 8890000 w 8890000"/>
                <a:gd name="connsiteY9" fmla="*/ 938410 h 1578317"/>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1992"/>
                <a:gd name="connsiteX1" fmla="*/ 2578100 w 8890000"/>
                <a:gd name="connsiteY1" fmla="*/ 1400721 h 1591992"/>
                <a:gd name="connsiteX2" fmla="*/ 3911600 w 8890000"/>
                <a:gd name="connsiteY2" fmla="*/ 994321 h 1591992"/>
                <a:gd name="connsiteX3" fmla="*/ 3956050 w 8890000"/>
                <a:gd name="connsiteY3" fmla="*/ 149771 h 1591992"/>
                <a:gd name="connsiteX4" fmla="*/ 2908300 w 8890000"/>
                <a:gd name="connsiteY4" fmla="*/ 206921 h 1591992"/>
                <a:gd name="connsiteX5" fmla="*/ 2667000 w 8890000"/>
                <a:gd name="connsiteY5" fmla="*/ 981621 h 1591992"/>
                <a:gd name="connsiteX6" fmla="*/ 3587750 w 8890000"/>
                <a:gd name="connsiteY6" fmla="*/ 1546771 h 1591992"/>
                <a:gd name="connsiteX7" fmla="*/ 5511800 w 8890000"/>
                <a:gd name="connsiteY7" fmla="*/ 1095921 h 1591992"/>
                <a:gd name="connsiteX8" fmla="*/ 7112000 w 8890000"/>
                <a:gd name="connsiteY8" fmla="*/ 1591221 h 1591992"/>
                <a:gd name="connsiteX9" fmla="*/ 8890000 w 8890000"/>
                <a:gd name="connsiteY9" fmla="*/ 956221 h 1591992"/>
                <a:gd name="connsiteX0" fmla="*/ 0 w 8890000"/>
                <a:gd name="connsiteY0" fmla="*/ 1413421 h 1592011"/>
                <a:gd name="connsiteX1" fmla="*/ 2578100 w 8890000"/>
                <a:gd name="connsiteY1" fmla="*/ 1400721 h 1592011"/>
                <a:gd name="connsiteX2" fmla="*/ 3911600 w 8890000"/>
                <a:gd name="connsiteY2" fmla="*/ 994321 h 1592011"/>
                <a:gd name="connsiteX3" fmla="*/ 3956050 w 8890000"/>
                <a:gd name="connsiteY3" fmla="*/ 149771 h 1592011"/>
                <a:gd name="connsiteX4" fmla="*/ 2908300 w 8890000"/>
                <a:gd name="connsiteY4" fmla="*/ 206921 h 1592011"/>
                <a:gd name="connsiteX5" fmla="*/ 2667000 w 8890000"/>
                <a:gd name="connsiteY5" fmla="*/ 981621 h 1592011"/>
                <a:gd name="connsiteX6" fmla="*/ 3587750 w 8890000"/>
                <a:gd name="connsiteY6" fmla="*/ 1546771 h 1592011"/>
                <a:gd name="connsiteX7" fmla="*/ 5511800 w 8890000"/>
                <a:gd name="connsiteY7" fmla="*/ 1095921 h 1592011"/>
                <a:gd name="connsiteX8" fmla="*/ 7112000 w 8890000"/>
                <a:gd name="connsiteY8" fmla="*/ 1591221 h 1592011"/>
                <a:gd name="connsiteX9" fmla="*/ 8890000 w 8890000"/>
                <a:gd name="connsiteY9" fmla="*/ 956221 h 159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90000" h="1592011">
                  <a:moveTo>
                    <a:pt x="0" y="1413421"/>
                  </a:moveTo>
                  <a:cubicBezTo>
                    <a:pt x="963083" y="1441996"/>
                    <a:pt x="1926167" y="1470571"/>
                    <a:pt x="2578100" y="1400721"/>
                  </a:cubicBezTo>
                  <a:cubicBezTo>
                    <a:pt x="3230033" y="1330871"/>
                    <a:pt x="3675592" y="1240913"/>
                    <a:pt x="3911600" y="994321"/>
                  </a:cubicBezTo>
                  <a:cubicBezTo>
                    <a:pt x="4147608" y="747729"/>
                    <a:pt x="4269317" y="408004"/>
                    <a:pt x="3956050" y="149771"/>
                  </a:cubicBezTo>
                  <a:cubicBezTo>
                    <a:pt x="3642783" y="-108462"/>
                    <a:pt x="3154892" y="4779"/>
                    <a:pt x="2908300" y="206921"/>
                  </a:cubicBezTo>
                  <a:cubicBezTo>
                    <a:pt x="2661708" y="409063"/>
                    <a:pt x="2553758" y="758313"/>
                    <a:pt x="2667000" y="981621"/>
                  </a:cubicBezTo>
                  <a:cubicBezTo>
                    <a:pt x="2780242" y="1204929"/>
                    <a:pt x="3113617" y="1527721"/>
                    <a:pt x="3587750" y="1546771"/>
                  </a:cubicBezTo>
                  <a:cubicBezTo>
                    <a:pt x="4061883" y="1565821"/>
                    <a:pt x="4695825" y="1075813"/>
                    <a:pt x="5511800" y="1095921"/>
                  </a:cubicBezTo>
                  <a:cubicBezTo>
                    <a:pt x="6327775" y="1116029"/>
                    <a:pt x="6548967" y="1614504"/>
                    <a:pt x="7112000" y="1591221"/>
                  </a:cubicBezTo>
                  <a:cubicBezTo>
                    <a:pt x="7675033" y="1567938"/>
                    <a:pt x="8298391" y="1248321"/>
                    <a:pt x="8890000" y="956221"/>
                  </a:cubicBezTo>
                </a:path>
              </a:pathLst>
            </a:custGeom>
            <a:noFill/>
            <a:ln w="19050">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5" name="Medio marco 34"/>
            <p:cNvSpPr/>
            <p:nvPr/>
          </p:nvSpPr>
          <p:spPr>
            <a:xfrm rot="6898098">
              <a:off x="8778264" y="1561890"/>
              <a:ext cx="165068" cy="165068"/>
            </a:xfrm>
            <a:prstGeom prst="halfFrame">
              <a:avLst>
                <a:gd name="adj1" fmla="val 12626"/>
                <a:gd name="adj2" fmla="val 1290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5EB8"/>
                </a:solidFill>
              </a:endParaRPr>
            </a:p>
          </p:txBody>
        </p:sp>
      </p:grpSp>
      <p:sp>
        <p:nvSpPr>
          <p:cNvPr id="36" name="Title 1"/>
          <p:cNvSpPr>
            <a:spLocks noGrp="1"/>
          </p:cNvSpPr>
          <p:nvPr>
            <p:ph type="title" hasCustomPrompt="1"/>
          </p:nvPr>
        </p:nvSpPr>
        <p:spPr>
          <a:xfrm>
            <a:off x="115760" y="3533669"/>
            <a:ext cx="10057015" cy="622000"/>
          </a:xfrm>
        </p:spPr>
        <p:txBody>
          <a:bodyPr anchor="b"/>
          <a:lstStyle>
            <a:lvl1pPr algn="r">
              <a:lnSpc>
                <a:spcPct val="100000"/>
              </a:lnSpc>
              <a:defRPr sz="3600" baseline="0">
                <a:solidFill>
                  <a:schemeClr val="bg1"/>
                </a:solidFill>
                <a:latin typeface="+mj-lt"/>
              </a:defRPr>
            </a:lvl1pPr>
          </a:lstStyle>
          <a:p>
            <a:r>
              <a:rPr lang="en-GB" noProof="0" dirty="0"/>
              <a:t>Insert here your thank you</a:t>
            </a:r>
          </a:p>
        </p:txBody>
      </p:sp>
    </p:spTree>
    <p:extLst>
      <p:ext uri="{BB962C8B-B14F-4D97-AF65-F5344CB8AC3E}">
        <p14:creationId xmlns:p14="http://schemas.microsoft.com/office/powerpoint/2010/main" val="315690315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ver with photo background 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l">
              <a:buNone/>
              <a:defRPr sz="1800" b="1" baseline="0"/>
            </a:lvl1pPr>
          </a:lstStyle>
          <a:p>
            <a:r>
              <a:rPr lang="en-GB" noProof="0" dirty="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31" name="Title 1"/>
          <p:cNvSpPr>
            <a:spLocks noGrp="1"/>
          </p:cNvSpPr>
          <p:nvPr>
            <p:ph type="title" hasCustomPrompt="1"/>
          </p:nvPr>
        </p:nvSpPr>
        <p:spPr>
          <a:xfrm>
            <a:off x="6022110" y="2458245"/>
            <a:ext cx="5489593" cy="1727779"/>
          </a:xfrm>
        </p:spPr>
        <p:txBody>
          <a:bodyPr anchor="b"/>
          <a:lstStyle>
            <a:lvl1pPr algn="r">
              <a:lnSpc>
                <a:spcPct val="100000"/>
              </a:lnSpc>
              <a:defRPr baseline="0">
                <a:solidFill>
                  <a:schemeClr val="bg1"/>
                </a:solidFill>
                <a:latin typeface="+mj-lt"/>
              </a:defRPr>
            </a:lvl1pPr>
          </a:lstStyle>
          <a:p>
            <a:r>
              <a:rPr lang="en-GB" noProof="0" dirty="0"/>
              <a:t>Add your title here</a:t>
            </a:r>
          </a:p>
        </p:txBody>
      </p:sp>
      <p:sp>
        <p:nvSpPr>
          <p:cNvPr id="32" name="Text Placeholder 19"/>
          <p:cNvSpPr>
            <a:spLocks noGrp="1"/>
          </p:cNvSpPr>
          <p:nvPr>
            <p:ph type="body" sz="quarter" idx="13" hasCustomPrompt="1"/>
          </p:nvPr>
        </p:nvSpPr>
        <p:spPr>
          <a:xfrm>
            <a:off x="6021664" y="4373324"/>
            <a:ext cx="5490033" cy="498992"/>
          </a:xfrm>
          <a:prstGeom prst="rect">
            <a:avLst/>
          </a:prstGeom>
        </p:spPr>
        <p:txBody>
          <a:bodyPr>
            <a:noAutofit/>
          </a:bodyPr>
          <a:lstStyle>
            <a:lvl1pPr marL="0" indent="0" algn="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108937664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ver with photo ll">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4" name="Title 1"/>
          <p:cNvSpPr>
            <a:spLocks noGrp="1"/>
          </p:cNvSpPr>
          <p:nvPr>
            <p:ph type="title" hasCustomPrompt="1"/>
          </p:nvPr>
        </p:nvSpPr>
        <p:spPr>
          <a:xfrm>
            <a:off x="6807837" y="1160165"/>
            <a:ext cx="4601584" cy="1325563"/>
          </a:xfrm>
        </p:spPr>
        <p:txBody>
          <a:bodyPr anchor="b"/>
          <a:lstStyle>
            <a:lvl1pPr algn="r">
              <a:lnSpc>
                <a:spcPct val="100000"/>
              </a:lnSpc>
              <a:defRPr baseline="0">
                <a:solidFill>
                  <a:schemeClr val="bg1"/>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6807261" y="2698787"/>
            <a:ext cx="4602163" cy="978910"/>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dirty="0">
                <a:solidFill>
                  <a:srgbClr val="FFFFFF">
                    <a:lumMod val="85000"/>
                  </a:srgbClr>
                </a:solidFill>
              </a:rPr>
              <a:t>© Amadeus IT Group and its affiliates and subsidiaries</a:t>
            </a:r>
          </a:p>
        </p:txBody>
      </p:sp>
      <p:sp>
        <p:nvSpPr>
          <p:cNvPr id="12" name="Marcador de posición de imagen 34"/>
          <p:cNvSpPr>
            <a:spLocks noGrp="1"/>
          </p:cNvSpPr>
          <p:nvPr>
            <p:ph type="pic" sz="quarter" idx="16" hasCustomPrompt="1"/>
          </p:nvPr>
        </p:nvSpPr>
        <p:spPr>
          <a:xfrm>
            <a:off x="-6547" y="1160164"/>
            <a:ext cx="4999609" cy="5774817"/>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wrap="square" anchor="ctr">
            <a:noAutofit/>
          </a:bodyPr>
          <a:lstStyle>
            <a:lvl1pPr marL="0" indent="0" algn="ctr">
              <a:buNone/>
              <a:defRPr baseline="0"/>
            </a:lvl1pPr>
          </a:lstStyle>
          <a:p>
            <a:br>
              <a:rPr lang="en-GB" noProof="0" dirty="0"/>
            </a:br>
            <a:br>
              <a:rPr lang="en-GB" noProof="0" dirty="0"/>
            </a:br>
            <a:br>
              <a:rPr lang="en-GB" noProof="0" dirty="0"/>
            </a:br>
            <a:br>
              <a:rPr lang="en-GB" noProof="0" dirty="0"/>
            </a:br>
            <a:r>
              <a:rPr lang="en-GB" noProof="0" dirty="0"/>
              <a:t>Insert your picture here</a:t>
            </a:r>
          </a:p>
        </p:txBody>
      </p:sp>
      <p:sp>
        <p:nvSpPr>
          <p:cNvPr id="32"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356005233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ver NO photo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11" name="Freeform 5"/>
          <p:cNvSpPr>
            <a:spLocks/>
          </p:cNvSpPr>
          <p:nvPr userDrawn="1"/>
        </p:nvSpPr>
        <p:spPr bwMode="auto">
          <a:xfrm>
            <a:off x="3081003" y="996683"/>
            <a:ext cx="8241679" cy="5879190"/>
          </a:xfrm>
          <a:custGeom>
            <a:avLst/>
            <a:gdLst>
              <a:gd name="T0" fmla="*/ 1104 w 1265"/>
              <a:gd name="T1" fmla="*/ 110 h 903"/>
              <a:gd name="T2" fmla="*/ 427 w 1265"/>
              <a:gd name="T3" fmla="*/ 25 h 903"/>
              <a:gd name="T4" fmla="*/ 169 w 1265"/>
              <a:gd name="T5" fmla="*/ 59 h 903"/>
              <a:gd name="T6" fmla="*/ 169 w 1265"/>
              <a:gd name="T7" fmla="*/ 59 h 903"/>
              <a:gd name="T8" fmla="*/ 169 w 1265"/>
              <a:gd name="T9" fmla="*/ 59 h 903"/>
              <a:gd name="T10" fmla="*/ 82 w 1265"/>
              <a:gd name="T11" fmla="*/ 221 h 903"/>
              <a:gd name="T12" fmla="*/ 32 w 1265"/>
              <a:gd name="T13" fmla="*/ 407 h 903"/>
              <a:gd name="T14" fmla="*/ 190 w 1265"/>
              <a:gd name="T15" fmla="*/ 663 h 903"/>
              <a:gd name="T16" fmla="*/ 489 w 1265"/>
              <a:gd name="T17" fmla="*/ 903 h 903"/>
              <a:gd name="T18" fmla="*/ 1129 w 1265"/>
              <a:gd name="T19" fmla="*/ 903 h 903"/>
              <a:gd name="T20" fmla="*/ 1247 w 1265"/>
              <a:gd name="T21" fmla="*/ 327 h 903"/>
              <a:gd name="T22" fmla="*/ 1104 w 1265"/>
              <a:gd name="T23" fmla="*/ 11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5" h="903">
                <a:moveTo>
                  <a:pt x="1104" y="110"/>
                </a:moveTo>
                <a:cubicBezTo>
                  <a:pt x="427" y="25"/>
                  <a:pt x="427" y="25"/>
                  <a:pt x="427" y="25"/>
                </a:cubicBezTo>
                <a:cubicBezTo>
                  <a:pt x="338" y="16"/>
                  <a:pt x="243" y="0"/>
                  <a:pt x="169" y="59"/>
                </a:cubicBezTo>
                <a:cubicBezTo>
                  <a:pt x="169" y="59"/>
                  <a:pt x="169" y="59"/>
                  <a:pt x="169" y="59"/>
                </a:cubicBezTo>
                <a:cubicBezTo>
                  <a:pt x="169" y="59"/>
                  <a:pt x="169" y="59"/>
                  <a:pt x="169" y="59"/>
                </a:cubicBezTo>
                <a:cubicBezTo>
                  <a:pt x="117" y="101"/>
                  <a:pt x="99" y="158"/>
                  <a:pt x="82" y="221"/>
                </a:cubicBezTo>
                <a:cubicBezTo>
                  <a:pt x="32" y="407"/>
                  <a:pt x="32" y="407"/>
                  <a:pt x="32" y="407"/>
                </a:cubicBezTo>
                <a:cubicBezTo>
                  <a:pt x="0" y="523"/>
                  <a:pt x="113" y="599"/>
                  <a:pt x="190" y="663"/>
                </a:cubicBezTo>
                <a:cubicBezTo>
                  <a:pt x="190" y="663"/>
                  <a:pt x="355" y="796"/>
                  <a:pt x="489" y="903"/>
                </a:cubicBezTo>
                <a:cubicBezTo>
                  <a:pt x="1129" y="903"/>
                  <a:pt x="1129" y="903"/>
                  <a:pt x="1129" y="903"/>
                </a:cubicBezTo>
                <a:cubicBezTo>
                  <a:pt x="1247" y="327"/>
                  <a:pt x="1247" y="327"/>
                  <a:pt x="1247" y="327"/>
                </a:cubicBezTo>
                <a:cubicBezTo>
                  <a:pt x="1265" y="222"/>
                  <a:pt x="1211" y="126"/>
                  <a:pt x="1104" y="1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2235201" y="1801092"/>
            <a:ext cx="7467796" cy="1913318"/>
          </a:xfrm>
        </p:spPr>
        <p:txBody>
          <a:bodyPr anchor="b"/>
          <a:lstStyle>
            <a:lvl1pPr algn="r">
              <a:lnSpc>
                <a:spcPct val="100000"/>
              </a:lnSpc>
              <a:defRPr baseline="0">
                <a:solidFill>
                  <a:schemeClr val="tx2"/>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aseline="0">
                <a:solidFill>
                  <a:srgbClr val="323232"/>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dirty="0">
                <a:solidFill>
                  <a:srgbClr val="FFFFFF">
                    <a:lumMod val="85000"/>
                  </a:srgbClr>
                </a:solidFill>
              </a:rPr>
              <a:t>© Amadeus IT Group and its affiliates and subsidiaries</a:t>
            </a:r>
          </a:p>
        </p:txBody>
      </p:sp>
      <p:sp>
        <p:nvSpPr>
          <p:cNvPr id="3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28749460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ver NO photo l">
    <p:bg>
      <p:bgPr>
        <a:solidFill>
          <a:schemeClr val="bg1"/>
        </a:solidFill>
        <a:effectLst/>
      </p:bgPr>
    </p:bg>
    <p:spTree>
      <p:nvGrpSpPr>
        <p:cNvPr id="1" name=""/>
        <p:cNvGrpSpPr/>
        <p:nvPr/>
      </p:nvGrpSpPr>
      <p:grpSpPr>
        <a:xfrm>
          <a:off x="0" y="0"/>
          <a:ext cx="0" cy="0"/>
          <a:chOff x="0" y="0"/>
          <a:chExt cx="0" cy="0"/>
        </a:xfrm>
      </p:grpSpPr>
      <p:sp>
        <p:nvSpPr>
          <p:cNvPr id="13" name="Rectangle 1"/>
          <p:cNvSpPr/>
          <p:nvPr userDrawn="1"/>
        </p:nvSpPr>
        <p:spPr>
          <a:xfrm>
            <a:off x="1905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11" name="Freeform 5"/>
          <p:cNvSpPr>
            <a:spLocks/>
          </p:cNvSpPr>
          <p:nvPr userDrawn="1"/>
        </p:nvSpPr>
        <p:spPr bwMode="auto">
          <a:xfrm>
            <a:off x="-21430" y="0"/>
            <a:ext cx="6740885" cy="6858000"/>
          </a:xfrm>
          <a:custGeom>
            <a:avLst/>
            <a:gdLst>
              <a:gd name="T0" fmla="*/ 1140 w 1200"/>
              <a:gd name="T1" fmla="*/ 388 h 988"/>
              <a:gd name="T2" fmla="*/ 1140 w 1200"/>
              <a:gd name="T3" fmla="*/ 388 h 988"/>
              <a:gd name="T4" fmla="*/ 1069 w 1200"/>
              <a:gd name="T5" fmla="*/ 7 h 988"/>
              <a:gd name="T6" fmla="*/ 1062 w 1200"/>
              <a:gd name="T7" fmla="*/ 0 h 988"/>
              <a:gd name="T8" fmla="*/ 0 w 1200"/>
              <a:gd name="T9" fmla="*/ 0 h 988"/>
              <a:gd name="T10" fmla="*/ 0 w 1200"/>
              <a:gd name="T11" fmla="*/ 988 h 988"/>
              <a:gd name="T12" fmla="*/ 479 w 1200"/>
              <a:gd name="T13" fmla="*/ 988 h 988"/>
              <a:gd name="T14" fmla="*/ 986 w 1200"/>
              <a:gd name="T15" fmla="*/ 561 h 988"/>
              <a:gd name="T16" fmla="*/ 1140 w 1200"/>
              <a:gd name="T17" fmla="*/ 3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0" h="988">
                <a:moveTo>
                  <a:pt x="1140" y="388"/>
                </a:moveTo>
                <a:cubicBezTo>
                  <a:pt x="1140" y="388"/>
                  <a:pt x="1140" y="388"/>
                  <a:pt x="1140" y="388"/>
                </a:cubicBezTo>
                <a:cubicBezTo>
                  <a:pt x="1200" y="262"/>
                  <a:pt x="1167" y="104"/>
                  <a:pt x="1069" y="7"/>
                </a:cubicBezTo>
                <a:cubicBezTo>
                  <a:pt x="1067" y="4"/>
                  <a:pt x="1064" y="2"/>
                  <a:pt x="1062" y="0"/>
                </a:cubicBezTo>
                <a:cubicBezTo>
                  <a:pt x="0" y="0"/>
                  <a:pt x="0" y="0"/>
                  <a:pt x="0" y="0"/>
                </a:cubicBezTo>
                <a:cubicBezTo>
                  <a:pt x="0" y="988"/>
                  <a:pt x="0" y="988"/>
                  <a:pt x="0" y="988"/>
                </a:cubicBezTo>
                <a:cubicBezTo>
                  <a:pt x="479" y="988"/>
                  <a:pt x="479" y="988"/>
                  <a:pt x="479" y="988"/>
                </a:cubicBezTo>
                <a:cubicBezTo>
                  <a:pt x="986" y="561"/>
                  <a:pt x="986" y="561"/>
                  <a:pt x="986" y="561"/>
                </a:cubicBezTo>
                <a:cubicBezTo>
                  <a:pt x="1045" y="511"/>
                  <a:pt x="1105" y="463"/>
                  <a:pt x="1140" y="388"/>
                </a:cubicBezTo>
                <a:close/>
              </a:path>
            </a:pathLst>
          </a:custGeom>
          <a:gradFill>
            <a:gsLst>
              <a:gs pos="0">
                <a:srgbClr val="005EB8"/>
              </a:gs>
              <a:gs pos="100000">
                <a:srgbClr val="00A9E0">
                  <a:alpha val="70999"/>
                </a:srgbClr>
              </a:gs>
            </a:gsLst>
            <a:lin ang="5400000" scaled="1"/>
          </a:gradFill>
          <a:ln>
            <a:noFill/>
          </a:ln>
        </p:spPr>
        <p:txBody>
          <a:bodyPr vert="horz" wrap="square" lIns="68580" tIns="34290" rIns="68580" bIns="34290" numCol="1" anchor="t" anchorCtr="0" compatLnSpc="1">
            <a:prstTxWarp prst="textNoShape">
              <a:avLst/>
            </a:prstTxWarp>
          </a:bodyPr>
          <a:lstStyle/>
          <a:p>
            <a:endParaRPr lang="en-GB" sz="1350" dirty="0">
              <a:solidFill>
                <a:srgbClr val="005EB8"/>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6" name="Title 1"/>
          <p:cNvSpPr>
            <a:spLocks noGrp="1"/>
          </p:cNvSpPr>
          <p:nvPr>
            <p:ph type="title" hasCustomPrompt="1"/>
          </p:nvPr>
        </p:nvSpPr>
        <p:spPr>
          <a:xfrm>
            <a:off x="950456" y="549276"/>
            <a:ext cx="5877064" cy="3213981"/>
          </a:xfrm>
        </p:spPr>
        <p:txBody>
          <a:bodyPr anchor="b"/>
          <a:lstStyle>
            <a:lvl1pPr algn="l">
              <a:lnSpc>
                <a:spcPct val="100000"/>
              </a:lnSpc>
              <a:defRPr baseline="0">
                <a:solidFill>
                  <a:schemeClr val="bg1"/>
                </a:solidFill>
                <a:latin typeface="+mj-lt"/>
              </a:defRPr>
            </a:lvl1pPr>
          </a:lstStyle>
          <a:p>
            <a:r>
              <a:rPr lang="en-GB" noProof="0" dirty="0"/>
              <a:t>Add your title here</a:t>
            </a:r>
          </a:p>
        </p:txBody>
      </p:sp>
      <p:sp>
        <p:nvSpPr>
          <p:cNvPr id="17" name="Text Placeholder 19"/>
          <p:cNvSpPr>
            <a:spLocks noGrp="1"/>
          </p:cNvSpPr>
          <p:nvPr>
            <p:ph type="body" sz="quarter" idx="13" hasCustomPrompt="1"/>
          </p:nvPr>
        </p:nvSpPr>
        <p:spPr>
          <a:xfrm>
            <a:off x="950249" y="3863657"/>
            <a:ext cx="4231352" cy="1045757"/>
          </a:xfrm>
          <a:prstGeom prst="rect">
            <a:avLst/>
          </a:prstGeom>
        </p:spPr>
        <p:txBody>
          <a:bodyPr>
            <a:noAutofit/>
          </a:bodyPr>
          <a:lstStyle>
            <a:lvl1pPr marL="0" indent="0" algn="l">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8" name="Text Placeholder 97"/>
          <p:cNvSpPr>
            <a:spLocks noGrp="1"/>
          </p:cNvSpPr>
          <p:nvPr>
            <p:ph type="body" sz="quarter" idx="16" hasCustomPrompt="1"/>
          </p:nvPr>
        </p:nvSpPr>
        <p:spPr>
          <a:xfrm>
            <a:off x="950258" y="5438785"/>
            <a:ext cx="2619201" cy="1058862"/>
          </a:xfrm>
          <a:prstGeom prst="rect">
            <a:avLst/>
          </a:prstGeom>
        </p:spPr>
        <p:txBody>
          <a:bodyPr anchor="b">
            <a:normAutofit/>
          </a:bodyPr>
          <a:lstStyle>
            <a:lvl1pPr marL="0" indent="0" algn="l">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34"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4210695904"/>
      </p:ext>
    </p:extLst>
  </p:cSld>
  <p:clrMapOvr>
    <a:masterClrMapping/>
  </p:clrMapOvr>
  <p:extLst mod="1">
    <p:ext uri="{DCECCB84-F9BA-43D5-87BE-67443E8EF086}">
      <p15:sldGuideLst xmlns:p15="http://schemas.microsoft.com/office/powerpoint/2012/main">
        <p15:guide id="1" orient="horz" pos="4065">
          <p15:clr>
            <a:srgbClr val="FBAE40"/>
          </p15:clr>
        </p15:guide>
        <p15:guide id="2" orient="horz" pos="346">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lumMod val="50000"/>
                  </a:schemeClr>
                </a:solidFill>
              </a:defRPr>
            </a:lvl1pPr>
          </a:lstStyle>
          <a:p>
            <a:pPr marL="0" lvl="0" algn="ctr" defTabSz="342875">
              <a:lnSpc>
                <a:spcPts val="3075"/>
              </a:lnSpc>
            </a:pPr>
            <a:r>
              <a:rPr lang="en-GB" noProof="0" dirty="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GB" noProof="0" dirty="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dirty="0">
                <a:solidFill>
                  <a:srgbClr val="FFFFFF">
                    <a:lumMod val="85000"/>
                  </a:srgbClr>
                </a:solidFill>
              </a:rPr>
              <a:t>© Amadeus IT Group and its affiliates and subsidiaries</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GB" noProof="0" dirty="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5EB8"/>
              </a:solidFill>
            </a:endParaRPr>
          </a:p>
        </p:txBody>
      </p:sp>
    </p:spTree>
    <p:extLst>
      <p:ext uri="{BB962C8B-B14F-4D97-AF65-F5344CB8AC3E}">
        <p14:creationId xmlns:p14="http://schemas.microsoft.com/office/powerpoint/2010/main" val="27050060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1951686"/>
            <a:ext cx="3713163" cy="998708"/>
          </a:xfrm>
          <a:prstGeom prst="rect">
            <a:avLst/>
          </a:prstGeom>
          <a:solidFill>
            <a:schemeClr val="bg1"/>
          </a:solidFill>
        </p:spPr>
        <p:txBody>
          <a:bodyPr anchor="ctr">
            <a:normAutofit/>
          </a:bodyPr>
          <a:lstStyle>
            <a:lvl1pPr marL="0" indent="0" algn="ctr">
              <a:buNone/>
              <a:defRPr sz="3300" b="0">
                <a:solidFill>
                  <a:schemeClr val="accent2"/>
                </a:solidFill>
              </a:defRPr>
            </a:lvl1pPr>
          </a:lstStyle>
          <a:p>
            <a:pPr lvl="0"/>
            <a:r>
              <a:rPr lang="en-GB" noProof="0" dirty="0"/>
              <a:t>Title </a:t>
            </a:r>
          </a:p>
        </p:txBody>
      </p:sp>
      <p:sp>
        <p:nvSpPr>
          <p:cNvPr id="18" name="Content Placeholder 2"/>
          <p:cNvSpPr>
            <a:spLocks noGrp="1"/>
          </p:cNvSpPr>
          <p:nvPr>
            <p:ph idx="24" hasCustomPrompt="1"/>
          </p:nvPr>
        </p:nvSpPr>
        <p:spPr>
          <a:xfrm>
            <a:off x="8505017" y="3601205"/>
            <a:ext cx="2963793"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1" name="Text Placeholder 23"/>
          <p:cNvSpPr>
            <a:spLocks noGrp="1"/>
          </p:cNvSpPr>
          <p:nvPr>
            <p:ph type="body" sz="quarter" idx="25"/>
          </p:nvPr>
        </p:nvSpPr>
        <p:spPr>
          <a:xfrm>
            <a:off x="8502762" y="4122667"/>
            <a:ext cx="2994075" cy="1611665"/>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26" hasCustomPrompt="1"/>
          </p:nvPr>
        </p:nvSpPr>
        <p:spPr>
          <a:xfrm>
            <a:off x="4306799"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7"/>
          </p:nvPr>
        </p:nvSpPr>
        <p:spPr>
          <a:xfrm>
            <a:off x="4304551"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p:cNvSpPr>
            <a:spLocks noGrp="1"/>
          </p:cNvSpPr>
          <p:nvPr>
            <p:ph idx="28" hasCustomPrompt="1"/>
          </p:nvPr>
        </p:nvSpPr>
        <p:spPr>
          <a:xfrm>
            <a:off x="320948"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5" name="Text Placeholder 23"/>
          <p:cNvSpPr>
            <a:spLocks noGrp="1"/>
          </p:cNvSpPr>
          <p:nvPr>
            <p:ph type="body" sz="quarter" idx="29"/>
          </p:nvPr>
        </p:nvSpPr>
        <p:spPr>
          <a:xfrm>
            <a:off x="318700"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6"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9" name="Text Placeholder 19"/>
          <p:cNvSpPr>
            <a:spLocks noGrp="1"/>
          </p:cNvSpPr>
          <p:nvPr>
            <p:ph type="body" sz="quarter" idx="13" hasCustomPrompt="1"/>
          </p:nvPr>
        </p:nvSpPr>
        <p:spPr>
          <a:xfrm>
            <a:off x="268224" y="779413"/>
            <a:ext cx="11228613" cy="582662"/>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3"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Tree>
    <p:extLst>
      <p:ext uri="{BB962C8B-B14F-4D97-AF65-F5344CB8AC3E}">
        <p14:creationId xmlns:p14="http://schemas.microsoft.com/office/powerpoint/2010/main" val="19640998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21"/>
          </p:nvPr>
        </p:nvSpPr>
        <p:spPr>
          <a:xfrm>
            <a:off x="58402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Marcador de texto 4"/>
          <p:cNvSpPr>
            <a:spLocks noGrp="1"/>
          </p:cNvSpPr>
          <p:nvPr>
            <p:ph type="body" sz="quarter" idx="36" hasCustomPrompt="1"/>
          </p:nvPr>
        </p:nvSpPr>
        <p:spPr>
          <a:xfrm>
            <a:off x="1307634" y="2249487"/>
            <a:ext cx="1255923" cy="973138"/>
          </a:xfrm>
          <a:prstGeom prst="rect">
            <a:avLst/>
          </a:prstGeom>
        </p:spPr>
        <p:txBody>
          <a:bodyPr>
            <a:normAutofit/>
          </a:bodyPr>
          <a:lstStyle>
            <a:lvl1pPr marL="0" indent="0" algn="ctr">
              <a:buNone/>
              <a:defRPr sz="4500">
                <a:solidFill>
                  <a:schemeClr val="tx2"/>
                </a:solidFill>
              </a:defRPr>
            </a:lvl1pPr>
          </a:lstStyle>
          <a:p>
            <a:pPr lvl="0"/>
            <a:r>
              <a:rPr lang="en-GB" noProof="0" dirty="0"/>
              <a:t>1</a:t>
            </a:r>
          </a:p>
        </p:txBody>
      </p:sp>
      <p:sp>
        <p:nvSpPr>
          <p:cNvPr id="30" name="Content Placeholder 2"/>
          <p:cNvSpPr>
            <a:spLocks noGrp="1"/>
          </p:cNvSpPr>
          <p:nvPr>
            <p:ph idx="37" hasCustomPrompt="1"/>
          </p:nvPr>
        </p:nvSpPr>
        <p:spPr>
          <a:xfrm>
            <a:off x="340917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1" name="Text Placeholder 23"/>
          <p:cNvSpPr>
            <a:spLocks noGrp="1"/>
          </p:cNvSpPr>
          <p:nvPr>
            <p:ph type="body" sz="quarter" idx="38"/>
          </p:nvPr>
        </p:nvSpPr>
        <p:spPr>
          <a:xfrm>
            <a:off x="340896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4117730"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dirty="0"/>
              <a:t>2</a:t>
            </a:r>
          </a:p>
        </p:txBody>
      </p:sp>
      <p:sp>
        <p:nvSpPr>
          <p:cNvPr id="33" name="Content Placeholder 2"/>
          <p:cNvSpPr>
            <a:spLocks noGrp="1"/>
          </p:cNvSpPr>
          <p:nvPr>
            <p:ph idx="40" hasCustomPrompt="1"/>
          </p:nvPr>
        </p:nvSpPr>
        <p:spPr>
          <a:xfrm>
            <a:off x="6201823"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0161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911748"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dirty="0"/>
              <a:t>3</a:t>
            </a:r>
          </a:p>
        </p:txBody>
      </p:sp>
      <p:sp>
        <p:nvSpPr>
          <p:cNvPr id="36" name="Content Placeholder 2"/>
          <p:cNvSpPr>
            <a:spLocks noGrp="1"/>
          </p:cNvSpPr>
          <p:nvPr>
            <p:ph idx="43" hasCustomPrompt="1"/>
          </p:nvPr>
        </p:nvSpPr>
        <p:spPr>
          <a:xfrm>
            <a:off x="9026759"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02655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736687"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dirty="0"/>
              <a:t>4</a:t>
            </a:r>
          </a:p>
        </p:txBody>
      </p:sp>
      <p:sp>
        <p:nvSpPr>
          <p:cNvPr id="4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23"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4" name="Text Placeholder 19"/>
          <p:cNvSpPr>
            <a:spLocks noGrp="1"/>
          </p:cNvSpPr>
          <p:nvPr>
            <p:ph type="body" sz="quarter" idx="13" hasCustomPrompt="1"/>
          </p:nvPr>
        </p:nvSpPr>
        <p:spPr>
          <a:xfrm>
            <a:off x="268224" y="779413"/>
            <a:ext cx="11228613" cy="611237"/>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8"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Tree>
    <p:extLst>
      <p:ext uri="{BB962C8B-B14F-4D97-AF65-F5344CB8AC3E}">
        <p14:creationId xmlns:p14="http://schemas.microsoft.com/office/powerpoint/2010/main" val="11747320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0"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1"/>
          </p:nvPr>
        </p:nvSpPr>
        <p:spPr>
          <a:xfrm>
            <a:off x="755215"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38"/>
          </p:nvPr>
        </p:nvSpPr>
        <p:spPr>
          <a:xfrm>
            <a:off x="3543679"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94324"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133392"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4</a:t>
            </a:r>
          </a:p>
        </p:txBody>
      </p:sp>
      <p:sp>
        <p:nvSpPr>
          <p:cNvPr id="4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25"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9"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25932994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E57627FB-D816-4EA7-98E3-793F2D9BC93A}" type="slidenum">
              <a:rPr lang="en-GB" noProof="0" smtClean="0"/>
              <a:pPr/>
              <a:t>‹#›</a:t>
            </a:fld>
            <a:endParaRPr lang="en-GB" noProof="0" dirty="0"/>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7" name="Title 1"/>
          <p:cNvSpPr>
            <a:spLocks noGrp="1"/>
          </p:cNvSpPr>
          <p:nvPr>
            <p:ph type="title" hasCustomPrompt="1"/>
          </p:nvPr>
        </p:nvSpPr>
        <p:spPr>
          <a:xfrm>
            <a:off x="268224" y="296865"/>
            <a:ext cx="11253216" cy="482549"/>
          </a:xfrm>
          <a:prstGeom prst="rect">
            <a:avLst/>
          </a:prstGeom>
        </p:spPr>
        <p:txBody>
          <a:bodyPr anchor="t">
            <a:noAutofit/>
          </a:bodyPr>
          <a:lstStyle>
            <a:lvl1pPr>
              <a:defRPr sz="2800">
                <a:solidFill>
                  <a:schemeClr val="tx2"/>
                </a:solidFill>
                <a:latin typeface="+mj-lt"/>
              </a:defRPr>
            </a:lvl1pPr>
          </a:lstStyle>
          <a:p>
            <a:r>
              <a:rPr lang="en-GB" noProof="0" dirty="0"/>
              <a:t>Add your title here</a:t>
            </a:r>
          </a:p>
        </p:txBody>
      </p:sp>
      <p:sp>
        <p:nvSpPr>
          <p:cNvPr id="10" name="Text Placeholder 19"/>
          <p:cNvSpPr>
            <a:spLocks noGrp="1"/>
          </p:cNvSpPr>
          <p:nvPr>
            <p:ph type="body" sz="quarter" idx="13" hasCustomPrompt="1"/>
          </p:nvPr>
        </p:nvSpPr>
        <p:spPr>
          <a:xfrm>
            <a:off x="268224" y="795425"/>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18487166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2"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s-ES" smtClean="0"/>
              <a:pPr/>
              <a:t>‹#›</a:t>
            </a:fld>
            <a:endParaRPr lang="es-ES" dirty="0"/>
          </a:p>
        </p:txBody>
      </p:sp>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0" name="Marcador de texto 4"/>
          <p:cNvSpPr>
            <a:spLocks noGrp="1"/>
          </p:cNvSpPr>
          <p:nvPr>
            <p:ph type="body" sz="quarter" idx="36" hasCustomPrompt="1"/>
          </p:nvPr>
        </p:nvSpPr>
        <p:spPr>
          <a:xfrm>
            <a:off x="628190" y="2291032"/>
            <a:ext cx="956105" cy="663649"/>
          </a:xfrm>
          <a:prstGeom prst="rect">
            <a:avLst/>
          </a:prstGeom>
        </p:spPr>
        <p:txBody>
          <a:bodyPr>
            <a:noAutofit/>
          </a:bodyPr>
          <a:lstStyle>
            <a:lvl1pPr marL="0" indent="0" algn="ctr">
              <a:buNone/>
              <a:defRPr sz="4500">
                <a:solidFill>
                  <a:schemeClr val="tx1"/>
                </a:solidFill>
              </a:defRPr>
            </a:lvl1pPr>
          </a:lstStyle>
          <a:p>
            <a:pPr lvl="0"/>
            <a:r>
              <a:rPr lang="en-GB" noProof="0" dirty="0"/>
              <a:t>1.</a:t>
            </a:r>
          </a:p>
        </p:txBody>
      </p:sp>
      <p:sp>
        <p:nvSpPr>
          <p:cNvPr id="24" name="Marcador de texto 4"/>
          <p:cNvSpPr>
            <a:spLocks noGrp="1"/>
          </p:cNvSpPr>
          <p:nvPr>
            <p:ph type="body" sz="quarter" idx="38" hasCustomPrompt="1"/>
          </p:nvPr>
        </p:nvSpPr>
        <p:spPr>
          <a:xfrm>
            <a:off x="628190" y="3380951"/>
            <a:ext cx="956105" cy="663649"/>
          </a:xfrm>
          <a:prstGeom prst="rect">
            <a:avLst/>
          </a:prstGeom>
        </p:spPr>
        <p:txBody>
          <a:bodyPr>
            <a:noAutofit/>
          </a:bodyPr>
          <a:lstStyle>
            <a:lvl1pPr marL="0" indent="0" algn="ctr">
              <a:buNone/>
              <a:defRPr sz="4500">
                <a:solidFill>
                  <a:schemeClr val="tx1"/>
                </a:solidFill>
              </a:defRPr>
            </a:lvl1pPr>
          </a:lstStyle>
          <a:p>
            <a:pPr lvl="0"/>
            <a:r>
              <a:rPr lang="en-GB" noProof="0" dirty="0"/>
              <a:t>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7" name="Marcador de texto 4"/>
          <p:cNvSpPr>
            <a:spLocks noGrp="1"/>
          </p:cNvSpPr>
          <p:nvPr>
            <p:ph type="body" sz="quarter" idx="42" hasCustomPrompt="1"/>
          </p:nvPr>
        </p:nvSpPr>
        <p:spPr>
          <a:xfrm>
            <a:off x="628190" y="4459850"/>
            <a:ext cx="956105" cy="663649"/>
          </a:xfrm>
          <a:prstGeom prst="rect">
            <a:avLst/>
          </a:prstGeom>
        </p:spPr>
        <p:txBody>
          <a:bodyPr>
            <a:noAutofit/>
          </a:bodyPr>
          <a:lstStyle>
            <a:lvl1pPr marL="0" indent="0" algn="ctr">
              <a:buNone/>
              <a:defRPr sz="4500">
                <a:solidFill>
                  <a:schemeClr val="tx1"/>
                </a:solidFill>
              </a:defRPr>
            </a:lvl1pPr>
          </a:lstStyle>
          <a:p>
            <a:pPr lvl="0"/>
            <a:r>
              <a:rPr lang="en-GB" noProof="0" dirty="0"/>
              <a:t>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5"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3" name="Marcador de posición de imagen 28"/>
          <p:cNvSpPr>
            <a:spLocks noGrp="1"/>
          </p:cNvSpPr>
          <p:nvPr>
            <p:ph type="pic" sz="quarter" idx="44" hasCustomPrompt="1"/>
          </p:nvPr>
        </p:nvSpPr>
        <p:spPr>
          <a:xfrm>
            <a:off x="7695959" y="2218004"/>
            <a:ext cx="3359735" cy="3256492"/>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95000"/>
            </a:schemeClr>
          </a:solidFill>
        </p:spPr>
        <p:txBody>
          <a:bodyPr wrap="square" anchor="ctr">
            <a:noAutofit/>
          </a:bodyPr>
          <a:lstStyle>
            <a:lvl1pPr marL="0" indent="0" algn="l">
              <a:buNone/>
              <a:defRPr/>
            </a:lvl1pPr>
          </a:lstStyle>
          <a:p>
            <a:r>
              <a:rPr lang="en-GB" noProof="0" dirty="0"/>
              <a:t>     </a:t>
            </a:r>
            <a:br>
              <a:rPr lang="en-GB" noProof="0" dirty="0"/>
            </a:br>
            <a:br>
              <a:rPr lang="en-GB" noProof="0" dirty="0"/>
            </a:br>
            <a:r>
              <a:rPr lang="en-GB" noProof="0" dirty="0"/>
              <a:t> Insert your picture here</a:t>
            </a:r>
          </a:p>
        </p:txBody>
      </p:sp>
    </p:spTree>
    <p:extLst>
      <p:ext uri="{BB962C8B-B14F-4D97-AF65-F5344CB8AC3E}">
        <p14:creationId xmlns:p14="http://schemas.microsoft.com/office/powerpoint/2010/main" val="8285269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8"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000" baseline="0">
                <a:solidFill>
                  <a:schemeClr val="accent2"/>
                </a:solidFill>
              </a:defRPr>
            </a:lvl1pPr>
          </a:lstStyle>
          <a:p>
            <a:pPr lvl="0"/>
            <a:r>
              <a:rPr lang="en-GB" noProof="0" dirty="0"/>
              <a:t>Title here</a:t>
            </a:r>
          </a:p>
        </p:txBody>
      </p:sp>
      <p:sp>
        <p:nvSpPr>
          <p:cNvPr id="19" name="Marcador de texto 33"/>
          <p:cNvSpPr>
            <a:spLocks noGrp="1"/>
          </p:cNvSpPr>
          <p:nvPr>
            <p:ph type="body" sz="quarter" idx="16" hasCustomPrompt="1"/>
          </p:nvPr>
        </p:nvSpPr>
        <p:spPr>
          <a:xfrm>
            <a:off x="576481" y="4420860"/>
            <a:ext cx="2942647" cy="431800"/>
          </a:xfrm>
          <a:prstGeom prst="rect">
            <a:avLst/>
          </a:prstGeom>
        </p:spPr>
        <p:txBody>
          <a:bodyPr>
            <a:noAutofit/>
          </a:bodyPr>
          <a:lstStyle>
            <a:lvl1pPr marL="0" indent="0">
              <a:buNone/>
              <a:defRPr sz="2400" baseline="0">
                <a:solidFill>
                  <a:schemeClr val="accent2"/>
                </a:solidFill>
              </a:defRPr>
            </a:lvl1pPr>
          </a:lstStyle>
          <a:p>
            <a:pPr lvl="0"/>
            <a:r>
              <a:rPr lang="en-GB" noProof="0" dirty="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2800" baseline="0">
                <a:solidFill>
                  <a:schemeClr val="accent2"/>
                </a:solidFill>
              </a:defRPr>
            </a:lvl1pPr>
          </a:lstStyle>
          <a:p>
            <a:pPr lvl="0"/>
            <a:r>
              <a:rPr lang="en-GB" noProof="0" dirty="0"/>
              <a:t>Highlight here</a:t>
            </a:r>
          </a:p>
        </p:txBody>
      </p:sp>
      <p:sp>
        <p:nvSpPr>
          <p:cNvPr id="22" name="Marcador de texto 2"/>
          <p:cNvSpPr>
            <a:spLocks noGrp="1"/>
          </p:cNvSpPr>
          <p:nvPr>
            <p:ph type="body" sz="quarter" idx="18" hasCustomPrompt="1"/>
          </p:nvPr>
        </p:nvSpPr>
        <p:spPr>
          <a:xfrm>
            <a:off x="576481" y="4875698"/>
            <a:ext cx="2929143" cy="1307738"/>
          </a:xfrm>
          <a:prstGeom prst="rect">
            <a:avLst/>
          </a:prstGeom>
        </p:spPr>
        <p:txBody>
          <a:bodyPr>
            <a:normAutofit/>
          </a:bodyPr>
          <a:lstStyle>
            <a:lvl1pPr marL="130960" indent="-130960">
              <a:lnSpc>
                <a:spcPct val="100000"/>
              </a:lnSpc>
              <a:defRPr sz="2000">
                <a:solidFill>
                  <a:srgbClr val="323232"/>
                </a:solidFill>
              </a:defRPr>
            </a:lvl1pPr>
            <a:lvl2pPr marL="538163" indent="-139700">
              <a:lnSpc>
                <a:spcPct val="100000"/>
              </a:lnSpc>
              <a:defRPr sz="2000">
                <a:solidFill>
                  <a:srgbClr val="323232"/>
                </a:solidFill>
              </a:defRPr>
            </a:lvl2pPr>
            <a:lvl3pPr marL="985838" indent="-138113">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2000">
                <a:solidFill>
                  <a:srgbClr val="323232"/>
                </a:solidFill>
              </a:defRPr>
            </a:lvl2pPr>
            <a:lvl3pPr marL="1076325" indent="-161925">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1800">
                <a:solidFill>
                  <a:srgbClr val="323232"/>
                </a:solidFill>
              </a:defRPr>
            </a:lvl2pPr>
            <a:lvl3pPr marL="1076325" indent="-228600">
              <a:lnSpc>
                <a:spcPct val="100000"/>
              </a:lnSpc>
              <a:defRPr sz="1400">
                <a:solidFill>
                  <a:srgbClr val="323232"/>
                </a:solidFill>
              </a:defRPr>
            </a:lvl3pPr>
            <a:lvl4pPr marL="1371600" indent="0">
              <a:lnSpc>
                <a:spcPct val="100000"/>
              </a:lnSpc>
              <a:buNone/>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	</a:t>
            </a:r>
          </a:p>
        </p:txBody>
      </p:sp>
      <p:sp>
        <p:nvSpPr>
          <p:cNvPr id="27"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4"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42811141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17"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3" name="Text Placeholder 23"/>
          <p:cNvSpPr>
            <a:spLocks noGrp="1"/>
          </p:cNvSpPr>
          <p:nvPr>
            <p:ph type="body" sz="quarter" idx="21"/>
          </p:nvPr>
        </p:nvSpPr>
        <p:spPr>
          <a:xfrm>
            <a:off x="768777"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5" name="Text Placeholder 23"/>
          <p:cNvSpPr>
            <a:spLocks noGrp="1"/>
          </p:cNvSpPr>
          <p:nvPr>
            <p:ph type="body" sz="quarter" idx="31"/>
          </p:nvPr>
        </p:nvSpPr>
        <p:spPr>
          <a:xfrm>
            <a:off x="3563913"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3" name="Text Placeholder 23"/>
          <p:cNvSpPr>
            <a:spLocks noGrp="1"/>
          </p:cNvSpPr>
          <p:nvPr>
            <p:ph type="body" sz="quarter" idx="33"/>
          </p:nvPr>
        </p:nvSpPr>
        <p:spPr>
          <a:xfrm>
            <a:off x="6364567" y="4332130"/>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5" name="Text Placeholder 23"/>
          <p:cNvSpPr>
            <a:spLocks noGrp="1"/>
          </p:cNvSpPr>
          <p:nvPr>
            <p:ph type="body" sz="quarter" idx="35"/>
          </p:nvPr>
        </p:nvSpPr>
        <p:spPr>
          <a:xfrm>
            <a:off x="9135814"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9" name="Title 1"/>
          <p:cNvSpPr>
            <a:spLocks noGrp="1"/>
          </p:cNvSpPr>
          <p:nvPr>
            <p:ph type="title" hasCustomPrompt="1"/>
          </p:nvPr>
        </p:nvSpPr>
        <p:spPr>
          <a:xfrm>
            <a:off x="268224" y="296865"/>
            <a:ext cx="10915493" cy="482549"/>
          </a:xfrm>
        </p:spPr>
        <p:txBody>
          <a:bodyPr anchor="t">
            <a:noAutofit/>
          </a:bodyPr>
          <a:lstStyle>
            <a:lvl1pPr>
              <a:defRPr sz="2400">
                <a:solidFill>
                  <a:schemeClr val="tx2"/>
                </a:solidFill>
                <a:latin typeface="+mj-lt"/>
              </a:defRPr>
            </a:lvl1pPr>
          </a:lstStyle>
          <a:p>
            <a:r>
              <a:rPr lang="en-GB" noProof="0" dirty="0"/>
              <a:t>Add your title here</a:t>
            </a:r>
          </a:p>
        </p:txBody>
      </p:sp>
      <p:sp>
        <p:nvSpPr>
          <p:cNvPr id="20" name="Text Placeholder 19"/>
          <p:cNvSpPr>
            <a:spLocks noGrp="1"/>
          </p:cNvSpPr>
          <p:nvPr>
            <p:ph type="body" sz="quarter" idx="13"/>
          </p:nvPr>
        </p:nvSpPr>
        <p:spPr>
          <a:xfrm>
            <a:off x="268224" y="779412"/>
            <a:ext cx="10891629" cy="468000"/>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6029051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0" y="5905500"/>
            <a:ext cx="8715375" cy="952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dirty="0"/>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55" name="Text Placeholder 23"/>
          <p:cNvSpPr>
            <a:spLocks noGrp="1"/>
          </p:cNvSpPr>
          <p:nvPr>
            <p:ph type="body" sz="quarter" idx="38" hasCustomPrompt="1"/>
          </p:nvPr>
        </p:nvSpPr>
        <p:spPr>
          <a:xfrm>
            <a:off x="389804" y="6323083"/>
            <a:ext cx="1764284"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252913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hape 1">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4377712"/>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92608" y="779416"/>
            <a:ext cx="11228613" cy="411209"/>
          </a:xfrm>
          <a:prstGeom prst="rect">
            <a:avLst/>
          </a:prstGeom>
        </p:spPr>
        <p:txBody>
          <a:bodyPr>
            <a:noAutofit/>
          </a:bodyPr>
          <a:lstStyle>
            <a:lvl1pPr marL="0" indent="0">
              <a:lnSpc>
                <a:spcPct val="100000"/>
              </a:lnSpc>
              <a:buNone/>
              <a:defRPr sz="16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9" name="Picture Placeholder 18"/>
          <p:cNvSpPr>
            <a:spLocks noGrp="1"/>
          </p:cNvSpPr>
          <p:nvPr>
            <p:ph type="pic" sz="quarter" idx="19" hasCustomPrompt="1"/>
          </p:nvPr>
        </p:nvSpPr>
        <p:spPr>
          <a:xfrm>
            <a:off x="6434720" y="1753456"/>
            <a:ext cx="4556125" cy="3886200"/>
          </a:xfrm>
          <a:custGeom>
            <a:avLst/>
            <a:gdLst>
              <a:gd name="connsiteX0" fmla="*/ 3764756 w 4556125"/>
              <a:gd name="connsiteY0" fmla="*/ 0 h 3886200"/>
              <a:gd name="connsiteX1" fmla="*/ 3778647 w 4556125"/>
              <a:gd name="connsiteY1" fmla="*/ 0 h 3886200"/>
              <a:gd name="connsiteX2" fmla="*/ 3792538 w 4556125"/>
              <a:gd name="connsiteY2" fmla="*/ 397 h 3886200"/>
              <a:gd name="connsiteX3" fmla="*/ 3806031 w 4556125"/>
              <a:gd name="connsiteY3" fmla="*/ 1191 h 3886200"/>
              <a:gd name="connsiteX4" fmla="*/ 3819922 w 4556125"/>
              <a:gd name="connsiteY4" fmla="*/ 2381 h 3886200"/>
              <a:gd name="connsiteX5" fmla="*/ 3833019 w 4556125"/>
              <a:gd name="connsiteY5" fmla="*/ 3969 h 3886200"/>
              <a:gd name="connsiteX6" fmla="*/ 3846512 w 4556125"/>
              <a:gd name="connsiteY6" fmla="*/ 5953 h 3886200"/>
              <a:gd name="connsiteX7" fmla="*/ 3859610 w 4556125"/>
              <a:gd name="connsiteY7" fmla="*/ 8731 h 3886200"/>
              <a:gd name="connsiteX8" fmla="*/ 3871912 w 4556125"/>
              <a:gd name="connsiteY8" fmla="*/ 11510 h 3886200"/>
              <a:gd name="connsiteX9" fmla="*/ 3885010 w 4556125"/>
              <a:gd name="connsiteY9" fmla="*/ 14685 h 3886200"/>
              <a:gd name="connsiteX10" fmla="*/ 3897710 w 4556125"/>
              <a:gd name="connsiteY10" fmla="*/ 18256 h 3886200"/>
              <a:gd name="connsiteX11" fmla="*/ 3910410 w 4556125"/>
              <a:gd name="connsiteY11" fmla="*/ 22622 h 3886200"/>
              <a:gd name="connsiteX12" fmla="*/ 3923110 w 4556125"/>
              <a:gd name="connsiteY12" fmla="*/ 26591 h 3886200"/>
              <a:gd name="connsiteX13" fmla="*/ 3935016 w 4556125"/>
              <a:gd name="connsiteY13" fmla="*/ 31750 h 3886200"/>
              <a:gd name="connsiteX14" fmla="*/ 3947716 w 4556125"/>
              <a:gd name="connsiteY14" fmla="*/ 36910 h 3886200"/>
              <a:gd name="connsiteX15" fmla="*/ 3959622 w 4556125"/>
              <a:gd name="connsiteY15" fmla="*/ 42863 h 3886200"/>
              <a:gd name="connsiteX16" fmla="*/ 3971131 w 4556125"/>
              <a:gd name="connsiteY16" fmla="*/ 48419 h 3886200"/>
              <a:gd name="connsiteX17" fmla="*/ 3983434 w 4556125"/>
              <a:gd name="connsiteY17" fmla="*/ 54769 h 3886200"/>
              <a:gd name="connsiteX18" fmla="*/ 3994944 w 4556125"/>
              <a:gd name="connsiteY18" fmla="*/ 61516 h 3886200"/>
              <a:gd name="connsiteX19" fmla="*/ 4006453 w 4556125"/>
              <a:gd name="connsiteY19" fmla="*/ 68660 h 3886200"/>
              <a:gd name="connsiteX20" fmla="*/ 4017962 w 4556125"/>
              <a:gd name="connsiteY20" fmla="*/ 76200 h 3886200"/>
              <a:gd name="connsiteX21" fmla="*/ 4029075 w 4556125"/>
              <a:gd name="connsiteY21" fmla="*/ 83741 h 3886200"/>
              <a:gd name="connsiteX22" fmla="*/ 4040188 w 4556125"/>
              <a:gd name="connsiteY22" fmla="*/ 91678 h 3886200"/>
              <a:gd name="connsiteX23" fmla="*/ 4051300 w 4556125"/>
              <a:gd name="connsiteY23" fmla="*/ 100013 h 3886200"/>
              <a:gd name="connsiteX24" fmla="*/ 4062412 w 4556125"/>
              <a:gd name="connsiteY24" fmla="*/ 108744 h 3886200"/>
              <a:gd name="connsiteX25" fmla="*/ 4073128 w 4556125"/>
              <a:gd name="connsiteY25" fmla="*/ 117872 h 3886200"/>
              <a:gd name="connsiteX26" fmla="*/ 4083844 w 4556125"/>
              <a:gd name="connsiteY26" fmla="*/ 127000 h 3886200"/>
              <a:gd name="connsiteX27" fmla="*/ 4094560 w 4556125"/>
              <a:gd name="connsiteY27" fmla="*/ 136525 h 3886200"/>
              <a:gd name="connsiteX28" fmla="*/ 4104481 w 4556125"/>
              <a:gd name="connsiteY28" fmla="*/ 146447 h 3886200"/>
              <a:gd name="connsiteX29" fmla="*/ 4125119 w 4556125"/>
              <a:gd name="connsiteY29" fmla="*/ 167084 h 3886200"/>
              <a:gd name="connsiteX30" fmla="*/ 4145360 w 4556125"/>
              <a:gd name="connsiteY30" fmla="*/ 188913 h 3886200"/>
              <a:gd name="connsiteX31" fmla="*/ 4164410 w 4556125"/>
              <a:gd name="connsiteY31" fmla="*/ 211931 h 3886200"/>
              <a:gd name="connsiteX32" fmla="*/ 4183856 w 4556125"/>
              <a:gd name="connsiteY32" fmla="*/ 235744 h 3886200"/>
              <a:gd name="connsiteX33" fmla="*/ 4202112 w 4556125"/>
              <a:gd name="connsiteY33" fmla="*/ 260350 h 3886200"/>
              <a:gd name="connsiteX34" fmla="*/ 4219972 w 4556125"/>
              <a:gd name="connsiteY34" fmla="*/ 286544 h 3886200"/>
              <a:gd name="connsiteX35" fmla="*/ 4237434 w 4556125"/>
              <a:gd name="connsiteY35" fmla="*/ 313135 h 3886200"/>
              <a:gd name="connsiteX36" fmla="*/ 4254500 w 4556125"/>
              <a:gd name="connsiteY36" fmla="*/ 340519 h 3886200"/>
              <a:gd name="connsiteX37" fmla="*/ 4271169 w 4556125"/>
              <a:gd name="connsiteY37" fmla="*/ 369094 h 3886200"/>
              <a:gd name="connsiteX38" fmla="*/ 4286647 w 4556125"/>
              <a:gd name="connsiteY38" fmla="*/ 398463 h 3886200"/>
              <a:gd name="connsiteX39" fmla="*/ 4302522 w 4556125"/>
              <a:gd name="connsiteY39" fmla="*/ 427831 h 3886200"/>
              <a:gd name="connsiteX40" fmla="*/ 4317603 w 4556125"/>
              <a:gd name="connsiteY40" fmla="*/ 458391 h 3886200"/>
              <a:gd name="connsiteX41" fmla="*/ 4332288 w 4556125"/>
              <a:gd name="connsiteY41" fmla="*/ 489347 h 3886200"/>
              <a:gd name="connsiteX42" fmla="*/ 4346178 w 4556125"/>
              <a:gd name="connsiteY42" fmla="*/ 521097 h 3886200"/>
              <a:gd name="connsiteX43" fmla="*/ 4359672 w 4556125"/>
              <a:gd name="connsiteY43" fmla="*/ 553244 h 3886200"/>
              <a:gd name="connsiteX44" fmla="*/ 4372769 w 4556125"/>
              <a:gd name="connsiteY44" fmla="*/ 586185 h 3886200"/>
              <a:gd name="connsiteX45" fmla="*/ 4385469 w 4556125"/>
              <a:gd name="connsiteY45" fmla="*/ 619522 h 3886200"/>
              <a:gd name="connsiteX46" fmla="*/ 4398169 w 4556125"/>
              <a:gd name="connsiteY46" fmla="*/ 652463 h 3886200"/>
              <a:gd name="connsiteX47" fmla="*/ 4409678 w 4556125"/>
              <a:gd name="connsiteY47" fmla="*/ 686991 h 3886200"/>
              <a:gd name="connsiteX48" fmla="*/ 4420790 w 4556125"/>
              <a:gd name="connsiteY48" fmla="*/ 721122 h 3886200"/>
              <a:gd name="connsiteX49" fmla="*/ 4431903 w 4556125"/>
              <a:gd name="connsiteY49" fmla="*/ 755253 h 3886200"/>
              <a:gd name="connsiteX50" fmla="*/ 4441825 w 4556125"/>
              <a:gd name="connsiteY50" fmla="*/ 790178 h 3886200"/>
              <a:gd name="connsiteX51" fmla="*/ 4451747 w 4556125"/>
              <a:gd name="connsiteY51" fmla="*/ 824706 h 3886200"/>
              <a:gd name="connsiteX52" fmla="*/ 4461669 w 4556125"/>
              <a:gd name="connsiteY52" fmla="*/ 859631 h 3886200"/>
              <a:gd name="connsiteX53" fmla="*/ 4470003 w 4556125"/>
              <a:gd name="connsiteY53" fmla="*/ 894953 h 3886200"/>
              <a:gd name="connsiteX54" fmla="*/ 4478734 w 4556125"/>
              <a:gd name="connsiteY54" fmla="*/ 929878 h 3886200"/>
              <a:gd name="connsiteX55" fmla="*/ 4486672 w 4556125"/>
              <a:gd name="connsiteY55" fmla="*/ 964803 h 3886200"/>
              <a:gd name="connsiteX56" fmla="*/ 4494212 w 4556125"/>
              <a:gd name="connsiteY56" fmla="*/ 1000125 h 3886200"/>
              <a:gd name="connsiteX57" fmla="*/ 4501753 w 4556125"/>
              <a:gd name="connsiteY57" fmla="*/ 1034653 h 3886200"/>
              <a:gd name="connsiteX58" fmla="*/ 4508500 w 4556125"/>
              <a:gd name="connsiteY58" fmla="*/ 1069578 h 3886200"/>
              <a:gd name="connsiteX59" fmla="*/ 4514453 w 4556125"/>
              <a:gd name="connsiteY59" fmla="*/ 1104106 h 3886200"/>
              <a:gd name="connsiteX60" fmla="*/ 4520406 w 4556125"/>
              <a:gd name="connsiteY60" fmla="*/ 1138635 h 3886200"/>
              <a:gd name="connsiteX61" fmla="*/ 4525566 w 4556125"/>
              <a:gd name="connsiteY61" fmla="*/ 1172369 h 3886200"/>
              <a:gd name="connsiteX62" fmla="*/ 4530328 w 4556125"/>
              <a:gd name="connsiteY62" fmla="*/ 1206103 h 3886200"/>
              <a:gd name="connsiteX63" fmla="*/ 4535090 w 4556125"/>
              <a:gd name="connsiteY63" fmla="*/ 1239044 h 3886200"/>
              <a:gd name="connsiteX64" fmla="*/ 4539060 w 4556125"/>
              <a:gd name="connsiteY64" fmla="*/ 1271985 h 3886200"/>
              <a:gd name="connsiteX65" fmla="*/ 4542631 w 4556125"/>
              <a:gd name="connsiteY65" fmla="*/ 1304528 h 3886200"/>
              <a:gd name="connsiteX66" fmla="*/ 4546203 w 4556125"/>
              <a:gd name="connsiteY66" fmla="*/ 1336278 h 3886200"/>
              <a:gd name="connsiteX67" fmla="*/ 4548584 w 4556125"/>
              <a:gd name="connsiteY67" fmla="*/ 1367631 h 3886200"/>
              <a:gd name="connsiteX68" fmla="*/ 4550966 w 4556125"/>
              <a:gd name="connsiteY68" fmla="*/ 1398191 h 3886200"/>
              <a:gd name="connsiteX69" fmla="*/ 4552950 w 4556125"/>
              <a:gd name="connsiteY69" fmla="*/ 1428353 h 3886200"/>
              <a:gd name="connsiteX70" fmla="*/ 4554538 w 4556125"/>
              <a:gd name="connsiteY70" fmla="*/ 1458119 h 3886200"/>
              <a:gd name="connsiteX71" fmla="*/ 4555728 w 4556125"/>
              <a:gd name="connsiteY71" fmla="*/ 1486297 h 3886200"/>
              <a:gd name="connsiteX72" fmla="*/ 4556125 w 4556125"/>
              <a:gd name="connsiteY72" fmla="*/ 1514475 h 3886200"/>
              <a:gd name="connsiteX73" fmla="*/ 4556125 w 4556125"/>
              <a:gd name="connsiteY73" fmla="*/ 1541463 h 3886200"/>
              <a:gd name="connsiteX74" fmla="*/ 4556125 w 4556125"/>
              <a:gd name="connsiteY74" fmla="*/ 1572022 h 3886200"/>
              <a:gd name="connsiteX75" fmla="*/ 4555728 w 4556125"/>
              <a:gd name="connsiteY75" fmla="*/ 1602185 h 3886200"/>
              <a:gd name="connsiteX76" fmla="*/ 4554538 w 4556125"/>
              <a:gd name="connsiteY76" fmla="*/ 1631950 h 3886200"/>
              <a:gd name="connsiteX77" fmla="*/ 4552950 w 4556125"/>
              <a:gd name="connsiteY77" fmla="*/ 1662113 h 3886200"/>
              <a:gd name="connsiteX78" fmla="*/ 4551760 w 4556125"/>
              <a:gd name="connsiteY78" fmla="*/ 1692275 h 3886200"/>
              <a:gd name="connsiteX79" fmla="*/ 4549775 w 4556125"/>
              <a:gd name="connsiteY79" fmla="*/ 1722041 h 3886200"/>
              <a:gd name="connsiteX80" fmla="*/ 4546997 w 4556125"/>
              <a:gd name="connsiteY80" fmla="*/ 1751806 h 3886200"/>
              <a:gd name="connsiteX81" fmla="*/ 4544219 w 4556125"/>
              <a:gd name="connsiteY81" fmla="*/ 1781572 h 3886200"/>
              <a:gd name="connsiteX82" fmla="*/ 4541044 w 4556125"/>
              <a:gd name="connsiteY82" fmla="*/ 1810544 h 3886200"/>
              <a:gd name="connsiteX83" fmla="*/ 4537472 w 4556125"/>
              <a:gd name="connsiteY83" fmla="*/ 1840310 h 3886200"/>
              <a:gd name="connsiteX84" fmla="*/ 4533503 w 4556125"/>
              <a:gd name="connsiteY84" fmla="*/ 1869678 h 3886200"/>
              <a:gd name="connsiteX85" fmla="*/ 4529534 w 4556125"/>
              <a:gd name="connsiteY85" fmla="*/ 1898650 h 3886200"/>
              <a:gd name="connsiteX86" fmla="*/ 4524375 w 4556125"/>
              <a:gd name="connsiteY86" fmla="*/ 1927622 h 3886200"/>
              <a:gd name="connsiteX87" fmla="*/ 4520010 w 4556125"/>
              <a:gd name="connsiteY87" fmla="*/ 1956594 h 3886200"/>
              <a:gd name="connsiteX88" fmla="*/ 4514453 w 4556125"/>
              <a:gd name="connsiteY88" fmla="*/ 1985566 h 3886200"/>
              <a:gd name="connsiteX89" fmla="*/ 4508897 w 4556125"/>
              <a:gd name="connsiteY89" fmla="*/ 2014141 h 3886200"/>
              <a:gd name="connsiteX90" fmla="*/ 4502944 w 4556125"/>
              <a:gd name="connsiteY90" fmla="*/ 2042716 h 3886200"/>
              <a:gd name="connsiteX91" fmla="*/ 4496197 w 4556125"/>
              <a:gd name="connsiteY91" fmla="*/ 2070894 h 3886200"/>
              <a:gd name="connsiteX92" fmla="*/ 4489847 w 4556125"/>
              <a:gd name="connsiteY92" fmla="*/ 2099072 h 3886200"/>
              <a:gd name="connsiteX93" fmla="*/ 4482703 w 4556125"/>
              <a:gd name="connsiteY93" fmla="*/ 2127250 h 3886200"/>
              <a:gd name="connsiteX94" fmla="*/ 4475162 w 4556125"/>
              <a:gd name="connsiteY94" fmla="*/ 2155428 h 3886200"/>
              <a:gd name="connsiteX95" fmla="*/ 4467622 w 4556125"/>
              <a:gd name="connsiteY95" fmla="*/ 2183210 h 3886200"/>
              <a:gd name="connsiteX96" fmla="*/ 4459684 w 4556125"/>
              <a:gd name="connsiteY96" fmla="*/ 2210991 h 3886200"/>
              <a:gd name="connsiteX97" fmla="*/ 4450953 w 4556125"/>
              <a:gd name="connsiteY97" fmla="*/ 2238772 h 3886200"/>
              <a:gd name="connsiteX98" fmla="*/ 4442222 w 4556125"/>
              <a:gd name="connsiteY98" fmla="*/ 2266553 h 3886200"/>
              <a:gd name="connsiteX99" fmla="*/ 4433490 w 4556125"/>
              <a:gd name="connsiteY99" fmla="*/ 2293541 h 3886200"/>
              <a:gd name="connsiteX100" fmla="*/ 4423569 w 4556125"/>
              <a:gd name="connsiteY100" fmla="*/ 2320925 h 3886200"/>
              <a:gd name="connsiteX101" fmla="*/ 4414044 w 4556125"/>
              <a:gd name="connsiteY101" fmla="*/ 2347913 h 3886200"/>
              <a:gd name="connsiteX102" fmla="*/ 4404122 w 4556125"/>
              <a:gd name="connsiteY102" fmla="*/ 2374503 h 3886200"/>
              <a:gd name="connsiteX103" fmla="*/ 4393406 w 4556125"/>
              <a:gd name="connsiteY103" fmla="*/ 2401491 h 3886200"/>
              <a:gd name="connsiteX104" fmla="*/ 4383088 w 4556125"/>
              <a:gd name="connsiteY104" fmla="*/ 2428081 h 3886200"/>
              <a:gd name="connsiteX105" fmla="*/ 4371975 w 4556125"/>
              <a:gd name="connsiteY105" fmla="*/ 2454275 h 3886200"/>
              <a:gd name="connsiteX106" fmla="*/ 4360862 w 4556125"/>
              <a:gd name="connsiteY106" fmla="*/ 2480469 h 3886200"/>
              <a:gd name="connsiteX107" fmla="*/ 4349353 w 4556125"/>
              <a:gd name="connsiteY107" fmla="*/ 2506663 h 3886200"/>
              <a:gd name="connsiteX108" fmla="*/ 4337050 w 4556125"/>
              <a:gd name="connsiteY108" fmla="*/ 2532063 h 3886200"/>
              <a:gd name="connsiteX109" fmla="*/ 4325144 w 4556125"/>
              <a:gd name="connsiteY109" fmla="*/ 2557860 h 3886200"/>
              <a:gd name="connsiteX110" fmla="*/ 4312444 w 4556125"/>
              <a:gd name="connsiteY110" fmla="*/ 2583656 h 3886200"/>
              <a:gd name="connsiteX111" fmla="*/ 4299744 w 4556125"/>
              <a:gd name="connsiteY111" fmla="*/ 2608660 h 3886200"/>
              <a:gd name="connsiteX112" fmla="*/ 4286647 w 4556125"/>
              <a:gd name="connsiteY112" fmla="*/ 2634060 h 3886200"/>
              <a:gd name="connsiteX113" fmla="*/ 4273153 w 4556125"/>
              <a:gd name="connsiteY113" fmla="*/ 2659063 h 3886200"/>
              <a:gd name="connsiteX114" fmla="*/ 4259660 w 4556125"/>
              <a:gd name="connsiteY114" fmla="*/ 2683669 h 3886200"/>
              <a:gd name="connsiteX115" fmla="*/ 4245769 w 4556125"/>
              <a:gd name="connsiteY115" fmla="*/ 2708275 h 3886200"/>
              <a:gd name="connsiteX116" fmla="*/ 4231481 w 4556125"/>
              <a:gd name="connsiteY116" fmla="*/ 2733278 h 3886200"/>
              <a:gd name="connsiteX117" fmla="*/ 4216797 w 4556125"/>
              <a:gd name="connsiteY117" fmla="*/ 2757488 h 3886200"/>
              <a:gd name="connsiteX118" fmla="*/ 4202112 w 4556125"/>
              <a:gd name="connsiteY118" fmla="*/ 2781300 h 3886200"/>
              <a:gd name="connsiteX119" fmla="*/ 4187031 w 4556125"/>
              <a:gd name="connsiteY119" fmla="*/ 2805113 h 3886200"/>
              <a:gd name="connsiteX120" fmla="*/ 4171553 w 4556125"/>
              <a:gd name="connsiteY120" fmla="*/ 2828925 h 3886200"/>
              <a:gd name="connsiteX121" fmla="*/ 4156075 w 4556125"/>
              <a:gd name="connsiteY121" fmla="*/ 2852341 h 3886200"/>
              <a:gd name="connsiteX122" fmla="*/ 4139803 w 4556125"/>
              <a:gd name="connsiteY122" fmla="*/ 2875756 h 3886200"/>
              <a:gd name="connsiteX123" fmla="*/ 4123928 w 4556125"/>
              <a:gd name="connsiteY123" fmla="*/ 2898775 h 3886200"/>
              <a:gd name="connsiteX124" fmla="*/ 4107260 w 4556125"/>
              <a:gd name="connsiteY124" fmla="*/ 2921794 h 3886200"/>
              <a:gd name="connsiteX125" fmla="*/ 4090590 w 4556125"/>
              <a:gd name="connsiteY125" fmla="*/ 2944416 h 3886200"/>
              <a:gd name="connsiteX126" fmla="*/ 4073525 w 4556125"/>
              <a:gd name="connsiteY126" fmla="*/ 2966641 h 3886200"/>
              <a:gd name="connsiteX127" fmla="*/ 4056460 w 4556125"/>
              <a:gd name="connsiteY127" fmla="*/ 2988866 h 3886200"/>
              <a:gd name="connsiteX128" fmla="*/ 4038600 w 4556125"/>
              <a:gd name="connsiteY128" fmla="*/ 3011091 h 3886200"/>
              <a:gd name="connsiteX129" fmla="*/ 4021138 w 4556125"/>
              <a:gd name="connsiteY129" fmla="*/ 3033316 h 3886200"/>
              <a:gd name="connsiteX130" fmla="*/ 4002881 w 4556125"/>
              <a:gd name="connsiteY130" fmla="*/ 3054350 h 3886200"/>
              <a:gd name="connsiteX131" fmla="*/ 3985022 w 4556125"/>
              <a:gd name="connsiteY131" fmla="*/ 3076178 h 3886200"/>
              <a:gd name="connsiteX132" fmla="*/ 3966369 w 4556125"/>
              <a:gd name="connsiteY132" fmla="*/ 3097213 h 3886200"/>
              <a:gd name="connsiteX133" fmla="*/ 3947716 w 4556125"/>
              <a:gd name="connsiteY133" fmla="*/ 3117850 h 3886200"/>
              <a:gd name="connsiteX134" fmla="*/ 3928666 w 4556125"/>
              <a:gd name="connsiteY134" fmla="*/ 3138885 h 3886200"/>
              <a:gd name="connsiteX135" fmla="*/ 3908822 w 4556125"/>
              <a:gd name="connsiteY135" fmla="*/ 3159125 h 3886200"/>
              <a:gd name="connsiteX136" fmla="*/ 3889772 w 4556125"/>
              <a:gd name="connsiteY136" fmla="*/ 3179366 h 3886200"/>
              <a:gd name="connsiteX137" fmla="*/ 3869531 w 4556125"/>
              <a:gd name="connsiteY137" fmla="*/ 3199210 h 3886200"/>
              <a:gd name="connsiteX138" fmla="*/ 3850084 w 4556125"/>
              <a:gd name="connsiteY138" fmla="*/ 3219053 h 3886200"/>
              <a:gd name="connsiteX139" fmla="*/ 3829447 w 4556125"/>
              <a:gd name="connsiteY139" fmla="*/ 3238500 h 3886200"/>
              <a:gd name="connsiteX140" fmla="*/ 3809206 w 4556125"/>
              <a:gd name="connsiteY140" fmla="*/ 3258344 h 3886200"/>
              <a:gd name="connsiteX141" fmla="*/ 3788569 w 4556125"/>
              <a:gd name="connsiteY141" fmla="*/ 3276997 h 3886200"/>
              <a:gd name="connsiteX142" fmla="*/ 3767534 w 4556125"/>
              <a:gd name="connsiteY142" fmla="*/ 3296047 h 3886200"/>
              <a:gd name="connsiteX143" fmla="*/ 3746103 w 4556125"/>
              <a:gd name="connsiteY143" fmla="*/ 3314700 h 3886200"/>
              <a:gd name="connsiteX144" fmla="*/ 3725069 w 4556125"/>
              <a:gd name="connsiteY144" fmla="*/ 3332956 h 3886200"/>
              <a:gd name="connsiteX145" fmla="*/ 3703638 w 4556125"/>
              <a:gd name="connsiteY145" fmla="*/ 3350816 h 3886200"/>
              <a:gd name="connsiteX146" fmla="*/ 3681412 w 4556125"/>
              <a:gd name="connsiteY146" fmla="*/ 3368675 h 3886200"/>
              <a:gd name="connsiteX147" fmla="*/ 3659584 w 4556125"/>
              <a:gd name="connsiteY147" fmla="*/ 3386138 h 3886200"/>
              <a:gd name="connsiteX148" fmla="*/ 3636962 w 4556125"/>
              <a:gd name="connsiteY148" fmla="*/ 3403203 h 3886200"/>
              <a:gd name="connsiteX149" fmla="*/ 3614738 w 4556125"/>
              <a:gd name="connsiteY149" fmla="*/ 3420269 h 3886200"/>
              <a:gd name="connsiteX150" fmla="*/ 3592116 w 4556125"/>
              <a:gd name="connsiteY150" fmla="*/ 3436938 h 3886200"/>
              <a:gd name="connsiteX151" fmla="*/ 3569097 w 4556125"/>
              <a:gd name="connsiteY151" fmla="*/ 3453606 h 3886200"/>
              <a:gd name="connsiteX152" fmla="*/ 3546078 w 4556125"/>
              <a:gd name="connsiteY152" fmla="*/ 3469878 h 3886200"/>
              <a:gd name="connsiteX153" fmla="*/ 3522662 w 4556125"/>
              <a:gd name="connsiteY153" fmla="*/ 3485753 h 3886200"/>
              <a:gd name="connsiteX154" fmla="*/ 3499644 w 4556125"/>
              <a:gd name="connsiteY154" fmla="*/ 3501628 h 3886200"/>
              <a:gd name="connsiteX155" fmla="*/ 3475831 w 4556125"/>
              <a:gd name="connsiteY155" fmla="*/ 3517106 h 3886200"/>
              <a:gd name="connsiteX156" fmla="*/ 3452019 w 4556125"/>
              <a:gd name="connsiteY156" fmla="*/ 3532188 h 3886200"/>
              <a:gd name="connsiteX157" fmla="*/ 3427810 w 4556125"/>
              <a:gd name="connsiteY157" fmla="*/ 3546872 h 3886200"/>
              <a:gd name="connsiteX158" fmla="*/ 3403600 w 4556125"/>
              <a:gd name="connsiteY158" fmla="*/ 3561556 h 3886200"/>
              <a:gd name="connsiteX159" fmla="*/ 3379390 w 4556125"/>
              <a:gd name="connsiteY159" fmla="*/ 3575447 h 3886200"/>
              <a:gd name="connsiteX160" fmla="*/ 3354784 w 4556125"/>
              <a:gd name="connsiteY160" fmla="*/ 3589735 h 3886200"/>
              <a:gd name="connsiteX161" fmla="*/ 3329384 w 4556125"/>
              <a:gd name="connsiteY161" fmla="*/ 3603228 h 3886200"/>
              <a:gd name="connsiteX162" fmla="*/ 3304778 w 4556125"/>
              <a:gd name="connsiteY162" fmla="*/ 3616722 h 3886200"/>
              <a:gd name="connsiteX163" fmla="*/ 3279775 w 4556125"/>
              <a:gd name="connsiteY163" fmla="*/ 3629819 h 3886200"/>
              <a:gd name="connsiteX164" fmla="*/ 3253978 w 4556125"/>
              <a:gd name="connsiteY164" fmla="*/ 3642519 h 3886200"/>
              <a:gd name="connsiteX165" fmla="*/ 3228975 w 4556125"/>
              <a:gd name="connsiteY165" fmla="*/ 3655219 h 3886200"/>
              <a:gd name="connsiteX166" fmla="*/ 3202781 w 4556125"/>
              <a:gd name="connsiteY166" fmla="*/ 3667125 h 3886200"/>
              <a:gd name="connsiteX167" fmla="*/ 3176984 w 4556125"/>
              <a:gd name="connsiteY167" fmla="*/ 3679428 h 3886200"/>
              <a:gd name="connsiteX168" fmla="*/ 3150790 w 4556125"/>
              <a:gd name="connsiteY168" fmla="*/ 3690938 h 3886200"/>
              <a:gd name="connsiteX169" fmla="*/ 3124597 w 4556125"/>
              <a:gd name="connsiteY169" fmla="*/ 3702050 h 3886200"/>
              <a:gd name="connsiteX170" fmla="*/ 3098403 w 4556125"/>
              <a:gd name="connsiteY170" fmla="*/ 3713163 h 3886200"/>
              <a:gd name="connsiteX171" fmla="*/ 3071812 w 4556125"/>
              <a:gd name="connsiteY171" fmla="*/ 3723481 h 3886200"/>
              <a:gd name="connsiteX172" fmla="*/ 3045222 w 4556125"/>
              <a:gd name="connsiteY172" fmla="*/ 3734197 h 3886200"/>
              <a:gd name="connsiteX173" fmla="*/ 3018631 w 4556125"/>
              <a:gd name="connsiteY173" fmla="*/ 3744119 h 3886200"/>
              <a:gd name="connsiteX174" fmla="*/ 2991247 w 4556125"/>
              <a:gd name="connsiteY174" fmla="*/ 3753644 h 3886200"/>
              <a:gd name="connsiteX175" fmla="*/ 2964260 w 4556125"/>
              <a:gd name="connsiteY175" fmla="*/ 3763169 h 3886200"/>
              <a:gd name="connsiteX176" fmla="*/ 2936875 w 4556125"/>
              <a:gd name="connsiteY176" fmla="*/ 3771900 h 3886200"/>
              <a:gd name="connsiteX177" fmla="*/ 2909094 w 4556125"/>
              <a:gd name="connsiteY177" fmla="*/ 3781028 h 3886200"/>
              <a:gd name="connsiteX178" fmla="*/ 2882106 w 4556125"/>
              <a:gd name="connsiteY178" fmla="*/ 3789363 h 3886200"/>
              <a:gd name="connsiteX179" fmla="*/ 2853928 w 4556125"/>
              <a:gd name="connsiteY179" fmla="*/ 3797697 h 3886200"/>
              <a:gd name="connsiteX180" fmla="*/ 2826147 w 4556125"/>
              <a:gd name="connsiteY180" fmla="*/ 3805238 h 3886200"/>
              <a:gd name="connsiteX181" fmla="*/ 2797969 w 4556125"/>
              <a:gd name="connsiteY181" fmla="*/ 3812778 h 3886200"/>
              <a:gd name="connsiteX182" fmla="*/ 2770188 w 4556125"/>
              <a:gd name="connsiteY182" fmla="*/ 3819922 h 3886200"/>
              <a:gd name="connsiteX183" fmla="*/ 2741612 w 4556125"/>
              <a:gd name="connsiteY183" fmla="*/ 3826272 h 3886200"/>
              <a:gd name="connsiteX184" fmla="*/ 2713434 w 4556125"/>
              <a:gd name="connsiteY184" fmla="*/ 3833019 h 3886200"/>
              <a:gd name="connsiteX185" fmla="*/ 2684860 w 4556125"/>
              <a:gd name="connsiteY185" fmla="*/ 3838972 h 3886200"/>
              <a:gd name="connsiteX186" fmla="*/ 2655888 w 4556125"/>
              <a:gd name="connsiteY186" fmla="*/ 3844528 h 3886200"/>
              <a:gd name="connsiteX187" fmla="*/ 2627312 w 4556125"/>
              <a:gd name="connsiteY187" fmla="*/ 3849291 h 3886200"/>
              <a:gd name="connsiteX188" fmla="*/ 2598738 w 4556125"/>
              <a:gd name="connsiteY188" fmla="*/ 3854450 h 3886200"/>
              <a:gd name="connsiteX189" fmla="*/ 2569369 w 4556125"/>
              <a:gd name="connsiteY189" fmla="*/ 3859610 h 3886200"/>
              <a:gd name="connsiteX190" fmla="*/ 2540397 w 4556125"/>
              <a:gd name="connsiteY190" fmla="*/ 3863578 h 3886200"/>
              <a:gd name="connsiteX191" fmla="*/ 2511028 w 4556125"/>
              <a:gd name="connsiteY191" fmla="*/ 3867547 h 3886200"/>
              <a:gd name="connsiteX192" fmla="*/ 2481262 w 4556125"/>
              <a:gd name="connsiteY192" fmla="*/ 3871119 h 3886200"/>
              <a:gd name="connsiteX193" fmla="*/ 2452290 w 4556125"/>
              <a:gd name="connsiteY193" fmla="*/ 3874294 h 3886200"/>
              <a:gd name="connsiteX194" fmla="*/ 2422525 w 4556125"/>
              <a:gd name="connsiteY194" fmla="*/ 3877072 h 3886200"/>
              <a:gd name="connsiteX195" fmla="*/ 2392760 w 4556125"/>
              <a:gd name="connsiteY195" fmla="*/ 3879850 h 3886200"/>
              <a:gd name="connsiteX196" fmla="*/ 2362994 w 4556125"/>
              <a:gd name="connsiteY196" fmla="*/ 3881835 h 3886200"/>
              <a:gd name="connsiteX197" fmla="*/ 2332831 w 4556125"/>
              <a:gd name="connsiteY197" fmla="*/ 3883025 h 3886200"/>
              <a:gd name="connsiteX198" fmla="*/ 2303066 w 4556125"/>
              <a:gd name="connsiteY198" fmla="*/ 3884613 h 3886200"/>
              <a:gd name="connsiteX199" fmla="*/ 2272903 w 4556125"/>
              <a:gd name="connsiteY199" fmla="*/ 3885803 h 3886200"/>
              <a:gd name="connsiteX200" fmla="*/ 2242740 w 4556125"/>
              <a:gd name="connsiteY200" fmla="*/ 3886200 h 3886200"/>
              <a:gd name="connsiteX201" fmla="*/ 2212578 w 4556125"/>
              <a:gd name="connsiteY201" fmla="*/ 3886200 h 3886200"/>
              <a:gd name="connsiteX202" fmla="*/ 2169716 w 4556125"/>
              <a:gd name="connsiteY202" fmla="*/ 3885803 h 3886200"/>
              <a:gd name="connsiteX203" fmla="*/ 2127647 w 4556125"/>
              <a:gd name="connsiteY203" fmla="*/ 3884613 h 3886200"/>
              <a:gd name="connsiteX204" fmla="*/ 2085975 w 4556125"/>
              <a:gd name="connsiteY204" fmla="*/ 3883025 h 3886200"/>
              <a:gd name="connsiteX205" fmla="*/ 2043906 w 4556125"/>
              <a:gd name="connsiteY205" fmla="*/ 3880247 h 3886200"/>
              <a:gd name="connsiteX206" fmla="*/ 2002234 w 4556125"/>
              <a:gd name="connsiteY206" fmla="*/ 3877072 h 3886200"/>
              <a:gd name="connsiteX207" fmla="*/ 1960960 w 4556125"/>
              <a:gd name="connsiteY207" fmla="*/ 3873103 h 3886200"/>
              <a:gd name="connsiteX208" fmla="*/ 1919685 w 4556125"/>
              <a:gd name="connsiteY208" fmla="*/ 3867944 h 3886200"/>
              <a:gd name="connsiteX209" fmla="*/ 1878410 w 4556125"/>
              <a:gd name="connsiteY209" fmla="*/ 3862388 h 3886200"/>
              <a:gd name="connsiteX210" fmla="*/ 1837531 w 4556125"/>
              <a:gd name="connsiteY210" fmla="*/ 3856435 h 3886200"/>
              <a:gd name="connsiteX211" fmla="*/ 1797050 w 4556125"/>
              <a:gd name="connsiteY211" fmla="*/ 3849291 h 3886200"/>
              <a:gd name="connsiteX212" fmla="*/ 1756569 w 4556125"/>
              <a:gd name="connsiteY212" fmla="*/ 3841750 h 3886200"/>
              <a:gd name="connsiteX213" fmla="*/ 1716881 w 4556125"/>
              <a:gd name="connsiteY213" fmla="*/ 3833813 h 3886200"/>
              <a:gd name="connsiteX214" fmla="*/ 1677194 w 4556125"/>
              <a:gd name="connsiteY214" fmla="*/ 3824685 h 3886200"/>
              <a:gd name="connsiteX215" fmla="*/ 1637506 w 4556125"/>
              <a:gd name="connsiteY215" fmla="*/ 3815160 h 3886200"/>
              <a:gd name="connsiteX216" fmla="*/ 1598216 w 4556125"/>
              <a:gd name="connsiteY216" fmla="*/ 3804444 h 3886200"/>
              <a:gd name="connsiteX217" fmla="*/ 1558925 w 4556125"/>
              <a:gd name="connsiteY217" fmla="*/ 3794125 h 3886200"/>
              <a:gd name="connsiteX218" fmla="*/ 1520031 w 4556125"/>
              <a:gd name="connsiteY218" fmla="*/ 3782616 h 3886200"/>
              <a:gd name="connsiteX219" fmla="*/ 1481931 w 4556125"/>
              <a:gd name="connsiteY219" fmla="*/ 3769916 h 3886200"/>
              <a:gd name="connsiteX220" fmla="*/ 1443435 w 4556125"/>
              <a:gd name="connsiteY220" fmla="*/ 3757216 h 3886200"/>
              <a:gd name="connsiteX221" fmla="*/ 1405731 w 4556125"/>
              <a:gd name="connsiteY221" fmla="*/ 3743722 h 3886200"/>
              <a:gd name="connsiteX222" fmla="*/ 1368028 w 4556125"/>
              <a:gd name="connsiteY222" fmla="*/ 3729435 h 3886200"/>
              <a:gd name="connsiteX223" fmla="*/ 1330722 w 4556125"/>
              <a:gd name="connsiteY223" fmla="*/ 3714353 h 3886200"/>
              <a:gd name="connsiteX224" fmla="*/ 1294210 w 4556125"/>
              <a:gd name="connsiteY224" fmla="*/ 3699272 h 3886200"/>
              <a:gd name="connsiteX225" fmla="*/ 1257300 w 4556125"/>
              <a:gd name="connsiteY225" fmla="*/ 3683397 h 3886200"/>
              <a:gd name="connsiteX226" fmla="*/ 1221185 w 4556125"/>
              <a:gd name="connsiteY226" fmla="*/ 3666728 h 3886200"/>
              <a:gd name="connsiteX227" fmla="*/ 1184672 w 4556125"/>
              <a:gd name="connsiteY227" fmla="*/ 3649663 h 3886200"/>
              <a:gd name="connsiteX228" fmla="*/ 1148953 w 4556125"/>
              <a:gd name="connsiteY228" fmla="*/ 3631803 h 3886200"/>
              <a:gd name="connsiteX229" fmla="*/ 1114028 w 4556125"/>
              <a:gd name="connsiteY229" fmla="*/ 3613150 h 3886200"/>
              <a:gd name="connsiteX230" fmla="*/ 1079103 w 4556125"/>
              <a:gd name="connsiteY230" fmla="*/ 3594100 h 3886200"/>
              <a:gd name="connsiteX231" fmla="*/ 1044575 w 4556125"/>
              <a:gd name="connsiteY231" fmla="*/ 3575050 h 3886200"/>
              <a:gd name="connsiteX232" fmla="*/ 1010047 w 4556125"/>
              <a:gd name="connsiteY232" fmla="*/ 3554810 h 3886200"/>
              <a:gd name="connsiteX233" fmla="*/ 976313 w 4556125"/>
              <a:gd name="connsiteY233" fmla="*/ 3534172 h 3886200"/>
              <a:gd name="connsiteX234" fmla="*/ 943372 w 4556125"/>
              <a:gd name="connsiteY234" fmla="*/ 3513138 h 3886200"/>
              <a:gd name="connsiteX235" fmla="*/ 910035 w 4556125"/>
              <a:gd name="connsiteY235" fmla="*/ 3490913 h 3886200"/>
              <a:gd name="connsiteX236" fmla="*/ 877491 w 4556125"/>
              <a:gd name="connsiteY236" fmla="*/ 3468688 h 3886200"/>
              <a:gd name="connsiteX237" fmla="*/ 844947 w 4556125"/>
              <a:gd name="connsiteY237" fmla="*/ 3446066 h 3886200"/>
              <a:gd name="connsiteX238" fmla="*/ 813197 w 4556125"/>
              <a:gd name="connsiteY238" fmla="*/ 3422650 h 3886200"/>
              <a:gd name="connsiteX239" fmla="*/ 781844 w 4556125"/>
              <a:gd name="connsiteY239" fmla="*/ 3398838 h 3886200"/>
              <a:gd name="connsiteX240" fmla="*/ 750888 w 4556125"/>
              <a:gd name="connsiteY240" fmla="*/ 3374231 h 3886200"/>
              <a:gd name="connsiteX241" fmla="*/ 720328 w 4556125"/>
              <a:gd name="connsiteY241" fmla="*/ 3349625 h 3886200"/>
              <a:gd name="connsiteX242" fmla="*/ 690166 w 4556125"/>
              <a:gd name="connsiteY242" fmla="*/ 3324225 h 3886200"/>
              <a:gd name="connsiteX243" fmla="*/ 660400 w 4556125"/>
              <a:gd name="connsiteY243" fmla="*/ 3298031 h 3886200"/>
              <a:gd name="connsiteX244" fmla="*/ 630635 w 4556125"/>
              <a:gd name="connsiteY244" fmla="*/ 3271838 h 3886200"/>
              <a:gd name="connsiteX245" fmla="*/ 602060 w 4556125"/>
              <a:gd name="connsiteY245" fmla="*/ 3244850 h 3886200"/>
              <a:gd name="connsiteX246" fmla="*/ 573881 w 4556125"/>
              <a:gd name="connsiteY246" fmla="*/ 3217466 h 3886200"/>
              <a:gd name="connsiteX247" fmla="*/ 545703 w 4556125"/>
              <a:gd name="connsiteY247" fmla="*/ 3189685 h 3886200"/>
              <a:gd name="connsiteX248" fmla="*/ 518319 w 4556125"/>
              <a:gd name="connsiteY248" fmla="*/ 3161506 h 3886200"/>
              <a:gd name="connsiteX249" fmla="*/ 491331 w 4556125"/>
              <a:gd name="connsiteY249" fmla="*/ 3132931 h 3886200"/>
              <a:gd name="connsiteX250" fmla="*/ 464741 w 4556125"/>
              <a:gd name="connsiteY250" fmla="*/ 3103563 h 3886200"/>
              <a:gd name="connsiteX251" fmla="*/ 438944 w 4556125"/>
              <a:gd name="connsiteY251" fmla="*/ 3074194 h 3886200"/>
              <a:gd name="connsiteX252" fmla="*/ 413147 w 4556125"/>
              <a:gd name="connsiteY252" fmla="*/ 3043635 h 3886200"/>
              <a:gd name="connsiteX253" fmla="*/ 388144 w 4556125"/>
              <a:gd name="connsiteY253" fmla="*/ 3013472 h 3886200"/>
              <a:gd name="connsiteX254" fmla="*/ 363538 w 4556125"/>
              <a:gd name="connsiteY254" fmla="*/ 2982516 h 3886200"/>
              <a:gd name="connsiteX255" fmla="*/ 339725 w 4556125"/>
              <a:gd name="connsiteY255" fmla="*/ 2951163 h 3886200"/>
              <a:gd name="connsiteX256" fmla="*/ 315913 w 4556125"/>
              <a:gd name="connsiteY256" fmla="*/ 2919413 h 3886200"/>
              <a:gd name="connsiteX257" fmla="*/ 292894 w 4556125"/>
              <a:gd name="connsiteY257" fmla="*/ 2887266 h 3886200"/>
              <a:gd name="connsiteX258" fmla="*/ 270669 w 4556125"/>
              <a:gd name="connsiteY258" fmla="*/ 2854325 h 3886200"/>
              <a:gd name="connsiteX259" fmla="*/ 248841 w 4556125"/>
              <a:gd name="connsiteY259" fmla="*/ 2821781 h 3886200"/>
              <a:gd name="connsiteX260" fmla="*/ 227410 w 4556125"/>
              <a:gd name="connsiteY260" fmla="*/ 2788444 h 3886200"/>
              <a:gd name="connsiteX261" fmla="*/ 206375 w 4556125"/>
              <a:gd name="connsiteY261" fmla="*/ 2754710 h 3886200"/>
              <a:gd name="connsiteX262" fmla="*/ 186135 w 4556125"/>
              <a:gd name="connsiteY262" fmla="*/ 2720578 h 3886200"/>
              <a:gd name="connsiteX263" fmla="*/ 166688 w 4556125"/>
              <a:gd name="connsiteY263" fmla="*/ 2685653 h 3886200"/>
              <a:gd name="connsiteX264" fmla="*/ 147638 w 4556125"/>
              <a:gd name="connsiteY264" fmla="*/ 2651125 h 3886200"/>
              <a:gd name="connsiteX265" fmla="*/ 128985 w 4556125"/>
              <a:gd name="connsiteY265" fmla="*/ 2615803 h 3886200"/>
              <a:gd name="connsiteX266" fmla="*/ 114697 w 4556125"/>
              <a:gd name="connsiteY266" fmla="*/ 2589213 h 3886200"/>
              <a:gd name="connsiteX267" fmla="*/ 101600 w 4556125"/>
              <a:gd name="connsiteY267" fmla="*/ 2561828 h 3886200"/>
              <a:gd name="connsiteX268" fmla="*/ 89694 w 4556125"/>
              <a:gd name="connsiteY268" fmla="*/ 2534841 h 3886200"/>
              <a:gd name="connsiteX269" fmla="*/ 78185 w 4556125"/>
              <a:gd name="connsiteY269" fmla="*/ 2507060 h 3886200"/>
              <a:gd name="connsiteX270" fmla="*/ 67072 w 4556125"/>
              <a:gd name="connsiteY270" fmla="*/ 2479278 h 3886200"/>
              <a:gd name="connsiteX271" fmla="*/ 57547 w 4556125"/>
              <a:gd name="connsiteY271" fmla="*/ 2451100 h 3886200"/>
              <a:gd name="connsiteX272" fmla="*/ 47625 w 4556125"/>
              <a:gd name="connsiteY272" fmla="*/ 2422922 h 3886200"/>
              <a:gd name="connsiteX273" fmla="*/ 39688 w 4556125"/>
              <a:gd name="connsiteY273" fmla="*/ 2394347 h 3886200"/>
              <a:gd name="connsiteX274" fmla="*/ 32147 w 4556125"/>
              <a:gd name="connsiteY274" fmla="*/ 2365375 h 3886200"/>
              <a:gd name="connsiteX275" fmla="*/ 25797 w 4556125"/>
              <a:gd name="connsiteY275" fmla="*/ 2336800 h 3886200"/>
              <a:gd name="connsiteX276" fmla="*/ 19447 w 4556125"/>
              <a:gd name="connsiteY276" fmla="*/ 2308225 h 3886200"/>
              <a:gd name="connsiteX277" fmla="*/ 14685 w 4556125"/>
              <a:gd name="connsiteY277" fmla="*/ 2278856 h 3886200"/>
              <a:gd name="connsiteX278" fmla="*/ 9922 w 4556125"/>
              <a:gd name="connsiteY278" fmla="*/ 2250281 h 3886200"/>
              <a:gd name="connsiteX279" fmla="*/ 6350 w 4556125"/>
              <a:gd name="connsiteY279" fmla="*/ 2220913 h 3886200"/>
              <a:gd name="connsiteX280" fmla="*/ 3572 w 4556125"/>
              <a:gd name="connsiteY280" fmla="*/ 2191941 h 3886200"/>
              <a:gd name="connsiteX281" fmla="*/ 1588 w 4556125"/>
              <a:gd name="connsiteY281" fmla="*/ 2162175 h 3886200"/>
              <a:gd name="connsiteX282" fmla="*/ 397 w 4556125"/>
              <a:gd name="connsiteY282" fmla="*/ 2132806 h 3886200"/>
              <a:gd name="connsiteX283" fmla="*/ 0 w 4556125"/>
              <a:gd name="connsiteY283" fmla="*/ 2103835 h 3886200"/>
              <a:gd name="connsiteX284" fmla="*/ 0 w 4556125"/>
              <a:gd name="connsiteY284" fmla="*/ 2074466 h 3886200"/>
              <a:gd name="connsiteX285" fmla="*/ 1588 w 4556125"/>
              <a:gd name="connsiteY285" fmla="*/ 2044700 h 3886200"/>
              <a:gd name="connsiteX286" fmla="*/ 3175 w 4556125"/>
              <a:gd name="connsiteY286" fmla="*/ 2015728 h 3886200"/>
              <a:gd name="connsiteX287" fmla="*/ 5556 w 4556125"/>
              <a:gd name="connsiteY287" fmla="*/ 1986360 h 3886200"/>
              <a:gd name="connsiteX288" fmla="*/ 9128 w 4556125"/>
              <a:gd name="connsiteY288" fmla="*/ 1957388 h 3886200"/>
              <a:gd name="connsiteX289" fmla="*/ 13097 w 4556125"/>
              <a:gd name="connsiteY289" fmla="*/ 1928019 h 3886200"/>
              <a:gd name="connsiteX290" fmla="*/ 18256 w 4556125"/>
              <a:gd name="connsiteY290" fmla="*/ 1898650 h 3886200"/>
              <a:gd name="connsiteX291" fmla="*/ 23813 w 4556125"/>
              <a:gd name="connsiteY291" fmla="*/ 1870075 h 3886200"/>
              <a:gd name="connsiteX292" fmla="*/ 29766 w 4556125"/>
              <a:gd name="connsiteY292" fmla="*/ 1841500 h 3886200"/>
              <a:gd name="connsiteX293" fmla="*/ 36910 w 4556125"/>
              <a:gd name="connsiteY293" fmla="*/ 1812528 h 3886200"/>
              <a:gd name="connsiteX294" fmla="*/ 44847 w 4556125"/>
              <a:gd name="connsiteY294" fmla="*/ 1783953 h 3886200"/>
              <a:gd name="connsiteX295" fmla="*/ 53181 w 4556125"/>
              <a:gd name="connsiteY295" fmla="*/ 1755775 h 3886200"/>
              <a:gd name="connsiteX296" fmla="*/ 62310 w 4556125"/>
              <a:gd name="connsiteY296" fmla="*/ 1727597 h 3886200"/>
              <a:gd name="connsiteX297" fmla="*/ 72628 w 4556125"/>
              <a:gd name="connsiteY297" fmla="*/ 1699419 h 3886200"/>
              <a:gd name="connsiteX298" fmla="*/ 83741 w 4556125"/>
              <a:gd name="connsiteY298" fmla="*/ 1671638 h 3886200"/>
              <a:gd name="connsiteX299" fmla="*/ 94456 w 4556125"/>
              <a:gd name="connsiteY299" fmla="*/ 1644650 h 3886200"/>
              <a:gd name="connsiteX300" fmla="*/ 106760 w 4556125"/>
              <a:gd name="connsiteY300" fmla="*/ 1617266 h 3886200"/>
              <a:gd name="connsiteX301" fmla="*/ 119856 w 4556125"/>
              <a:gd name="connsiteY301" fmla="*/ 1590278 h 3886200"/>
              <a:gd name="connsiteX302" fmla="*/ 133350 w 4556125"/>
              <a:gd name="connsiteY302" fmla="*/ 1563291 h 3886200"/>
              <a:gd name="connsiteX303" fmla="*/ 148035 w 4556125"/>
              <a:gd name="connsiteY303" fmla="*/ 1537097 h 3886200"/>
              <a:gd name="connsiteX304" fmla="*/ 162719 w 4556125"/>
              <a:gd name="connsiteY304" fmla="*/ 1510903 h 3886200"/>
              <a:gd name="connsiteX305" fmla="*/ 178594 w 4556125"/>
              <a:gd name="connsiteY305" fmla="*/ 1485503 h 3886200"/>
              <a:gd name="connsiteX306" fmla="*/ 194866 w 4556125"/>
              <a:gd name="connsiteY306" fmla="*/ 1460103 h 3886200"/>
              <a:gd name="connsiteX307" fmla="*/ 211931 w 4556125"/>
              <a:gd name="connsiteY307" fmla="*/ 1435100 h 3886200"/>
              <a:gd name="connsiteX308" fmla="*/ 230188 w 4556125"/>
              <a:gd name="connsiteY308" fmla="*/ 1410494 h 3886200"/>
              <a:gd name="connsiteX309" fmla="*/ 248047 w 4556125"/>
              <a:gd name="connsiteY309" fmla="*/ 1386285 h 3886200"/>
              <a:gd name="connsiteX310" fmla="*/ 267891 w 4556125"/>
              <a:gd name="connsiteY310" fmla="*/ 1362472 h 3886200"/>
              <a:gd name="connsiteX311" fmla="*/ 287338 w 4556125"/>
              <a:gd name="connsiteY311" fmla="*/ 1339056 h 3886200"/>
              <a:gd name="connsiteX312" fmla="*/ 307975 w 4556125"/>
              <a:gd name="connsiteY312" fmla="*/ 1316038 h 3886200"/>
              <a:gd name="connsiteX313" fmla="*/ 329010 w 4556125"/>
              <a:gd name="connsiteY313" fmla="*/ 1293416 h 3886200"/>
              <a:gd name="connsiteX314" fmla="*/ 351235 w 4556125"/>
              <a:gd name="connsiteY314" fmla="*/ 1271588 h 3886200"/>
              <a:gd name="connsiteX315" fmla="*/ 373856 w 4556125"/>
              <a:gd name="connsiteY315" fmla="*/ 1249760 h 3886200"/>
              <a:gd name="connsiteX316" fmla="*/ 397272 w 4556125"/>
              <a:gd name="connsiteY316" fmla="*/ 1229122 h 3886200"/>
              <a:gd name="connsiteX317" fmla="*/ 421481 w 4556125"/>
              <a:gd name="connsiteY317" fmla="*/ 1208485 h 3886200"/>
              <a:gd name="connsiteX318" fmla="*/ 445294 w 4556125"/>
              <a:gd name="connsiteY318" fmla="*/ 1188641 h 3886200"/>
              <a:gd name="connsiteX319" fmla="*/ 471091 w 4556125"/>
              <a:gd name="connsiteY319" fmla="*/ 1169194 h 3886200"/>
              <a:gd name="connsiteX320" fmla="*/ 496888 w 4556125"/>
              <a:gd name="connsiteY320" fmla="*/ 1150541 h 3886200"/>
              <a:gd name="connsiteX321" fmla="*/ 523478 w 4556125"/>
              <a:gd name="connsiteY321" fmla="*/ 1132285 h 3886200"/>
              <a:gd name="connsiteX322" fmla="*/ 550466 w 4556125"/>
              <a:gd name="connsiteY322" fmla="*/ 1114822 h 3886200"/>
              <a:gd name="connsiteX323" fmla="*/ 578644 w 4556125"/>
              <a:gd name="connsiteY323" fmla="*/ 1097756 h 3886200"/>
              <a:gd name="connsiteX324" fmla="*/ 606822 w 4556125"/>
              <a:gd name="connsiteY324" fmla="*/ 1081088 h 3886200"/>
              <a:gd name="connsiteX325" fmla="*/ 636191 w 4556125"/>
              <a:gd name="connsiteY325" fmla="*/ 1065610 h 3886200"/>
              <a:gd name="connsiteX326" fmla="*/ 666353 w 4556125"/>
              <a:gd name="connsiteY326" fmla="*/ 1050528 h 3886200"/>
              <a:gd name="connsiteX327" fmla="*/ 696516 w 4556125"/>
              <a:gd name="connsiteY327" fmla="*/ 1036241 h 3886200"/>
              <a:gd name="connsiteX328" fmla="*/ 727869 w 4556125"/>
              <a:gd name="connsiteY328" fmla="*/ 1022747 h 3886200"/>
              <a:gd name="connsiteX329" fmla="*/ 759619 w 4556125"/>
              <a:gd name="connsiteY329" fmla="*/ 1009650 h 3886200"/>
              <a:gd name="connsiteX330" fmla="*/ 3618310 w 4556125"/>
              <a:gd name="connsiteY330" fmla="*/ 26591 h 3886200"/>
              <a:gd name="connsiteX331" fmla="*/ 3633390 w 4556125"/>
              <a:gd name="connsiteY331" fmla="*/ 22225 h 3886200"/>
              <a:gd name="connsiteX332" fmla="*/ 3648472 w 4556125"/>
              <a:gd name="connsiteY332" fmla="*/ 17463 h 3886200"/>
              <a:gd name="connsiteX333" fmla="*/ 3663553 w 4556125"/>
              <a:gd name="connsiteY333" fmla="*/ 13494 h 3886200"/>
              <a:gd name="connsiteX334" fmla="*/ 3678634 w 4556125"/>
              <a:gd name="connsiteY334" fmla="*/ 10716 h 3886200"/>
              <a:gd name="connsiteX335" fmla="*/ 3693319 w 4556125"/>
              <a:gd name="connsiteY335" fmla="*/ 7541 h 3886200"/>
              <a:gd name="connsiteX336" fmla="*/ 3708003 w 4556125"/>
              <a:gd name="connsiteY336" fmla="*/ 5159 h 3886200"/>
              <a:gd name="connsiteX337" fmla="*/ 3722290 w 4556125"/>
              <a:gd name="connsiteY337" fmla="*/ 3175 h 3886200"/>
              <a:gd name="connsiteX338" fmla="*/ 3736578 w 4556125"/>
              <a:gd name="connsiteY338" fmla="*/ 1588 h 3886200"/>
              <a:gd name="connsiteX339" fmla="*/ 3750866 w 4556125"/>
              <a:gd name="connsiteY339" fmla="*/ 397 h 38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4556125" h="3886200">
                <a:moveTo>
                  <a:pt x="3764756" y="0"/>
                </a:moveTo>
                <a:lnTo>
                  <a:pt x="3778647" y="0"/>
                </a:lnTo>
                <a:lnTo>
                  <a:pt x="3792538" y="397"/>
                </a:lnTo>
                <a:lnTo>
                  <a:pt x="3806031" y="1191"/>
                </a:lnTo>
                <a:lnTo>
                  <a:pt x="3819922" y="2381"/>
                </a:lnTo>
                <a:lnTo>
                  <a:pt x="3833019" y="3969"/>
                </a:lnTo>
                <a:lnTo>
                  <a:pt x="3846512" y="5953"/>
                </a:lnTo>
                <a:lnTo>
                  <a:pt x="3859610" y="8731"/>
                </a:lnTo>
                <a:lnTo>
                  <a:pt x="3871912" y="11510"/>
                </a:lnTo>
                <a:lnTo>
                  <a:pt x="3885010" y="14685"/>
                </a:lnTo>
                <a:lnTo>
                  <a:pt x="3897710" y="18256"/>
                </a:lnTo>
                <a:lnTo>
                  <a:pt x="3910410" y="22622"/>
                </a:lnTo>
                <a:lnTo>
                  <a:pt x="3923110" y="26591"/>
                </a:lnTo>
                <a:lnTo>
                  <a:pt x="3935016" y="31750"/>
                </a:lnTo>
                <a:lnTo>
                  <a:pt x="3947716" y="36910"/>
                </a:lnTo>
                <a:lnTo>
                  <a:pt x="3959622" y="42863"/>
                </a:lnTo>
                <a:lnTo>
                  <a:pt x="3971131" y="48419"/>
                </a:lnTo>
                <a:lnTo>
                  <a:pt x="3983434" y="54769"/>
                </a:lnTo>
                <a:lnTo>
                  <a:pt x="3994944" y="61516"/>
                </a:lnTo>
                <a:lnTo>
                  <a:pt x="4006453" y="68660"/>
                </a:lnTo>
                <a:lnTo>
                  <a:pt x="4017962" y="76200"/>
                </a:lnTo>
                <a:lnTo>
                  <a:pt x="4029075" y="83741"/>
                </a:lnTo>
                <a:lnTo>
                  <a:pt x="4040188" y="91678"/>
                </a:lnTo>
                <a:lnTo>
                  <a:pt x="4051300" y="100013"/>
                </a:lnTo>
                <a:lnTo>
                  <a:pt x="4062412" y="108744"/>
                </a:lnTo>
                <a:lnTo>
                  <a:pt x="4073128" y="117872"/>
                </a:lnTo>
                <a:lnTo>
                  <a:pt x="4083844" y="127000"/>
                </a:lnTo>
                <a:lnTo>
                  <a:pt x="4094560" y="136525"/>
                </a:lnTo>
                <a:lnTo>
                  <a:pt x="4104481" y="146447"/>
                </a:lnTo>
                <a:lnTo>
                  <a:pt x="4125119" y="167084"/>
                </a:lnTo>
                <a:lnTo>
                  <a:pt x="4145360" y="188913"/>
                </a:lnTo>
                <a:lnTo>
                  <a:pt x="4164410" y="211931"/>
                </a:lnTo>
                <a:lnTo>
                  <a:pt x="4183856" y="235744"/>
                </a:lnTo>
                <a:lnTo>
                  <a:pt x="4202112" y="260350"/>
                </a:lnTo>
                <a:lnTo>
                  <a:pt x="4219972" y="286544"/>
                </a:lnTo>
                <a:lnTo>
                  <a:pt x="4237434" y="313135"/>
                </a:lnTo>
                <a:lnTo>
                  <a:pt x="4254500" y="340519"/>
                </a:lnTo>
                <a:lnTo>
                  <a:pt x="4271169" y="369094"/>
                </a:lnTo>
                <a:lnTo>
                  <a:pt x="4286647" y="398463"/>
                </a:lnTo>
                <a:lnTo>
                  <a:pt x="4302522" y="427831"/>
                </a:lnTo>
                <a:lnTo>
                  <a:pt x="4317603" y="458391"/>
                </a:lnTo>
                <a:lnTo>
                  <a:pt x="4332288" y="489347"/>
                </a:lnTo>
                <a:lnTo>
                  <a:pt x="4346178" y="521097"/>
                </a:lnTo>
                <a:lnTo>
                  <a:pt x="4359672" y="553244"/>
                </a:lnTo>
                <a:lnTo>
                  <a:pt x="4372769" y="586185"/>
                </a:lnTo>
                <a:lnTo>
                  <a:pt x="4385469" y="619522"/>
                </a:lnTo>
                <a:lnTo>
                  <a:pt x="4398169" y="652463"/>
                </a:lnTo>
                <a:lnTo>
                  <a:pt x="4409678" y="686991"/>
                </a:lnTo>
                <a:lnTo>
                  <a:pt x="4420790" y="721122"/>
                </a:lnTo>
                <a:lnTo>
                  <a:pt x="4431903" y="755253"/>
                </a:lnTo>
                <a:lnTo>
                  <a:pt x="4441825" y="790178"/>
                </a:lnTo>
                <a:lnTo>
                  <a:pt x="4451747" y="824706"/>
                </a:lnTo>
                <a:lnTo>
                  <a:pt x="4461669" y="859631"/>
                </a:lnTo>
                <a:lnTo>
                  <a:pt x="4470003" y="894953"/>
                </a:lnTo>
                <a:lnTo>
                  <a:pt x="4478734" y="929878"/>
                </a:lnTo>
                <a:lnTo>
                  <a:pt x="4486672" y="964803"/>
                </a:lnTo>
                <a:lnTo>
                  <a:pt x="4494212" y="1000125"/>
                </a:lnTo>
                <a:lnTo>
                  <a:pt x="4501753" y="1034653"/>
                </a:lnTo>
                <a:lnTo>
                  <a:pt x="4508500" y="1069578"/>
                </a:lnTo>
                <a:lnTo>
                  <a:pt x="4514453" y="1104106"/>
                </a:lnTo>
                <a:lnTo>
                  <a:pt x="4520406" y="1138635"/>
                </a:lnTo>
                <a:lnTo>
                  <a:pt x="4525566" y="1172369"/>
                </a:lnTo>
                <a:lnTo>
                  <a:pt x="4530328" y="1206103"/>
                </a:lnTo>
                <a:lnTo>
                  <a:pt x="4535090" y="1239044"/>
                </a:lnTo>
                <a:lnTo>
                  <a:pt x="4539060" y="1271985"/>
                </a:lnTo>
                <a:lnTo>
                  <a:pt x="4542631" y="1304528"/>
                </a:lnTo>
                <a:lnTo>
                  <a:pt x="4546203" y="1336278"/>
                </a:lnTo>
                <a:lnTo>
                  <a:pt x="4548584" y="1367631"/>
                </a:lnTo>
                <a:lnTo>
                  <a:pt x="4550966" y="1398191"/>
                </a:lnTo>
                <a:lnTo>
                  <a:pt x="4552950" y="1428353"/>
                </a:lnTo>
                <a:lnTo>
                  <a:pt x="4554538" y="1458119"/>
                </a:lnTo>
                <a:lnTo>
                  <a:pt x="4555728" y="1486297"/>
                </a:lnTo>
                <a:lnTo>
                  <a:pt x="4556125" y="1514475"/>
                </a:lnTo>
                <a:lnTo>
                  <a:pt x="4556125" y="1541463"/>
                </a:lnTo>
                <a:lnTo>
                  <a:pt x="4556125" y="1572022"/>
                </a:lnTo>
                <a:lnTo>
                  <a:pt x="4555728" y="1602185"/>
                </a:lnTo>
                <a:lnTo>
                  <a:pt x="4554538" y="1631950"/>
                </a:lnTo>
                <a:lnTo>
                  <a:pt x="4552950" y="1662113"/>
                </a:lnTo>
                <a:lnTo>
                  <a:pt x="4551760" y="1692275"/>
                </a:lnTo>
                <a:lnTo>
                  <a:pt x="4549775" y="1722041"/>
                </a:lnTo>
                <a:lnTo>
                  <a:pt x="4546997" y="1751806"/>
                </a:lnTo>
                <a:lnTo>
                  <a:pt x="4544219" y="1781572"/>
                </a:lnTo>
                <a:lnTo>
                  <a:pt x="4541044" y="1810544"/>
                </a:lnTo>
                <a:lnTo>
                  <a:pt x="4537472" y="1840310"/>
                </a:lnTo>
                <a:lnTo>
                  <a:pt x="4533503" y="1869678"/>
                </a:lnTo>
                <a:lnTo>
                  <a:pt x="4529534" y="1898650"/>
                </a:lnTo>
                <a:lnTo>
                  <a:pt x="4524375" y="1927622"/>
                </a:lnTo>
                <a:lnTo>
                  <a:pt x="4520010" y="1956594"/>
                </a:lnTo>
                <a:lnTo>
                  <a:pt x="4514453" y="1985566"/>
                </a:lnTo>
                <a:lnTo>
                  <a:pt x="4508897" y="2014141"/>
                </a:lnTo>
                <a:lnTo>
                  <a:pt x="4502944" y="2042716"/>
                </a:lnTo>
                <a:lnTo>
                  <a:pt x="4496197" y="2070894"/>
                </a:lnTo>
                <a:lnTo>
                  <a:pt x="4489847" y="2099072"/>
                </a:lnTo>
                <a:lnTo>
                  <a:pt x="4482703" y="2127250"/>
                </a:lnTo>
                <a:lnTo>
                  <a:pt x="4475162" y="2155428"/>
                </a:lnTo>
                <a:lnTo>
                  <a:pt x="4467622" y="2183210"/>
                </a:lnTo>
                <a:lnTo>
                  <a:pt x="4459684" y="2210991"/>
                </a:lnTo>
                <a:lnTo>
                  <a:pt x="4450953" y="2238772"/>
                </a:lnTo>
                <a:lnTo>
                  <a:pt x="4442222" y="2266553"/>
                </a:lnTo>
                <a:lnTo>
                  <a:pt x="4433490" y="2293541"/>
                </a:lnTo>
                <a:lnTo>
                  <a:pt x="4423569" y="2320925"/>
                </a:lnTo>
                <a:lnTo>
                  <a:pt x="4414044" y="2347913"/>
                </a:lnTo>
                <a:lnTo>
                  <a:pt x="4404122" y="2374503"/>
                </a:lnTo>
                <a:lnTo>
                  <a:pt x="4393406" y="2401491"/>
                </a:lnTo>
                <a:lnTo>
                  <a:pt x="4383088" y="2428081"/>
                </a:lnTo>
                <a:lnTo>
                  <a:pt x="4371975" y="2454275"/>
                </a:lnTo>
                <a:lnTo>
                  <a:pt x="4360862" y="2480469"/>
                </a:lnTo>
                <a:lnTo>
                  <a:pt x="4349353" y="2506663"/>
                </a:lnTo>
                <a:lnTo>
                  <a:pt x="4337050" y="2532063"/>
                </a:lnTo>
                <a:lnTo>
                  <a:pt x="4325144" y="2557860"/>
                </a:lnTo>
                <a:lnTo>
                  <a:pt x="4312444" y="2583656"/>
                </a:lnTo>
                <a:lnTo>
                  <a:pt x="4299744" y="2608660"/>
                </a:lnTo>
                <a:lnTo>
                  <a:pt x="4286647" y="2634060"/>
                </a:lnTo>
                <a:lnTo>
                  <a:pt x="4273153" y="2659063"/>
                </a:lnTo>
                <a:lnTo>
                  <a:pt x="4259660" y="2683669"/>
                </a:lnTo>
                <a:lnTo>
                  <a:pt x="4245769" y="2708275"/>
                </a:lnTo>
                <a:lnTo>
                  <a:pt x="4231481" y="2733278"/>
                </a:lnTo>
                <a:lnTo>
                  <a:pt x="4216797" y="2757488"/>
                </a:lnTo>
                <a:lnTo>
                  <a:pt x="4202112" y="2781300"/>
                </a:lnTo>
                <a:lnTo>
                  <a:pt x="4187031" y="2805113"/>
                </a:lnTo>
                <a:lnTo>
                  <a:pt x="4171553" y="2828925"/>
                </a:lnTo>
                <a:lnTo>
                  <a:pt x="4156075" y="2852341"/>
                </a:lnTo>
                <a:lnTo>
                  <a:pt x="4139803" y="2875756"/>
                </a:lnTo>
                <a:lnTo>
                  <a:pt x="4123928" y="2898775"/>
                </a:lnTo>
                <a:lnTo>
                  <a:pt x="4107260" y="2921794"/>
                </a:lnTo>
                <a:lnTo>
                  <a:pt x="4090590" y="2944416"/>
                </a:lnTo>
                <a:lnTo>
                  <a:pt x="4073525" y="2966641"/>
                </a:lnTo>
                <a:lnTo>
                  <a:pt x="4056460" y="2988866"/>
                </a:lnTo>
                <a:lnTo>
                  <a:pt x="4038600" y="3011091"/>
                </a:lnTo>
                <a:lnTo>
                  <a:pt x="4021138" y="3033316"/>
                </a:lnTo>
                <a:lnTo>
                  <a:pt x="4002881" y="3054350"/>
                </a:lnTo>
                <a:lnTo>
                  <a:pt x="3985022" y="3076178"/>
                </a:lnTo>
                <a:lnTo>
                  <a:pt x="3966369" y="3097213"/>
                </a:lnTo>
                <a:lnTo>
                  <a:pt x="3947716" y="3117850"/>
                </a:lnTo>
                <a:lnTo>
                  <a:pt x="3928666" y="3138885"/>
                </a:lnTo>
                <a:lnTo>
                  <a:pt x="3908822" y="3159125"/>
                </a:lnTo>
                <a:lnTo>
                  <a:pt x="3889772" y="3179366"/>
                </a:lnTo>
                <a:lnTo>
                  <a:pt x="3869531" y="3199210"/>
                </a:lnTo>
                <a:lnTo>
                  <a:pt x="3850084" y="3219053"/>
                </a:lnTo>
                <a:lnTo>
                  <a:pt x="3829447" y="3238500"/>
                </a:lnTo>
                <a:lnTo>
                  <a:pt x="3809206" y="3258344"/>
                </a:lnTo>
                <a:lnTo>
                  <a:pt x="3788569" y="3276997"/>
                </a:lnTo>
                <a:lnTo>
                  <a:pt x="3767534" y="3296047"/>
                </a:lnTo>
                <a:lnTo>
                  <a:pt x="3746103" y="3314700"/>
                </a:lnTo>
                <a:lnTo>
                  <a:pt x="3725069" y="3332956"/>
                </a:lnTo>
                <a:lnTo>
                  <a:pt x="3703638" y="3350816"/>
                </a:lnTo>
                <a:lnTo>
                  <a:pt x="3681412" y="3368675"/>
                </a:lnTo>
                <a:lnTo>
                  <a:pt x="3659584" y="3386138"/>
                </a:lnTo>
                <a:lnTo>
                  <a:pt x="3636962" y="3403203"/>
                </a:lnTo>
                <a:lnTo>
                  <a:pt x="3614738" y="3420269"/>
                </a:lnTo>
                <a:lnTo>
                  <a:pt x="3592116" y="3436938"/>
                </a:lnTo>
                <a:lnTo>
                  <a:pt x="3569097" y="3453606"/>
                </a:lnTo>
                <a:lnTo>
                  <a:pt x="3546078" y="3469878"/>
                </a:lnTo>
                <a:lnTo>
                  <a:pt x="3522662" y="3485753"/>
                </a:lnTo>
                <a:lnTo>
                  <a:pt x="3499644" y="3501628"/>
                </a:lnTo>
                <a:lnTo>
                  <a:pt x="3475831" y="3517106"/>
                </a:lnTo>
                <a:lnTo>
                  <a:pt x="3452019" y="3532188"/>
                </a:lnTo>
                <a:lnTo>
                  <a:pt x="3427810" y="3546872"/>
                </a:lnTo>
                <a:lnTo>
                  <a:pt x="3403600" y="3561556"/>
                </a:lnTo>
                <a:lnTo>
                  <a:pt x="3379390" y="3575447"/>
                </a:lnTo>
                <a:lnTo>
                  <a:pt x="3354784" y="3589735"/>
                </a:lnTo>
                <a:lnTo>
                  <a:pt x="3329384" y="3603228"/>
                </a:lnTo>
                <a:lnTo>
                  <a:pt x="3304778" y="3616722"/>
                </a:lnTo>
                <a:lnTo>
                  <a:pt x="3279775" y="3629819"/>
                </a:lnTo>
                <a:lnTo>
                  <a:pt x="3253978" y="3642519"/>
                </a:lnTo>
                <a:lnTo>
                  <a:pt x="3228975" y="3655219"/>
                </a:lnTo>
                <a:lnTo>
                  <a:pt x="3202781" y="3667125"/>
                </a:lnTo>
                <a:lnTo>
                  <a:pt x="3176984" y="3679428"/>
                </a:lnTo>
                <a:lnTo>
                  <a:pt x="3150790" y="3690938"/>
                </a:lnTo>
                <a:lnTo>
                  <a:pt x="3124597" y="3702050"/>
                </a:lnTo>
                <a:lnTo>
                  <a:pt x="3098403" y="3713163"/>
                </a:lnTo>
                <a:lnTo>
                  <a:pt x="3071812" y="3723481"/>
                </a:lnTo>
                <a:lnTo>
                  <a:pt x="3045222" y="3734197"/>
                </a:lnTo>
                <a:lnTo>
                  <a:pt x="3018631" y="3744119"/>
                </a:lnTo>
                <a:lnTo>
                  <a:pt x="2991247" y="3753644"/>
                </a:lnTo>
                <a:lnTo>
                  <a:pt x="2964260" y="3763169"/>
                </a:lnTo>
                <a:lnTo>
                  <a:pt x="2936875" y="3771900"/>
                </a:lnTo>
                <a:lnTo>
                  <a:pt x="2909094" y="3781028"/>
                </a:lnTo>
                <a:lnTo>
                  <a:pt x="2882106" y="3789363"/>
                </a:lnTo>
                <a:lnTo>
                  <a:pt x="2853928" y="3797697"/>
                </a:lnTo>
                <a:lnTo>
                  <a:pt x="2826147" y="3805238"/>
                </a:lnTo>
                <a:lnTo>
                  <a:pt x="2797969" y="3812778"/>
                </a:lnTo>
                <a:lnTo>
                  <a:pt x="2770188" y="3819922"/>
                </a:lnTo>
                <a:lnTo>
                  <a:pt x="2741612" y="3826272"/>
                </a:lnTo>
                <a:lnTo>
                  <a:pt x="2713434" y="3833019"/>
                </a:lnTo>
                <a:lnTo>
                  <a:pt x="2684860" y="3838972"/>
                </a:lnTo>
                <a:lnTo>
                  <a:pt x="2655888" y="3844528"/>
                </a:lnTo>
                <a:lnTo>
                  <a:pt x="2627312" y="3849291"/>
                </a:lnTo>
                <a:lnTo>
                  <a:pt x="2598738" y="3854450"/>
                </a:lnTo>
                <a:lnTo>
                  <a:pt x="2569369" y="3859610"/>
                </a:lnTo>
                <a:lnTo>
                  <a:pt x="2540397" y="3863578"/>
                </a:lnTo>
                <a:lnTo>
                  <a:pt x="2511028" y="3867547"/>
                </a:lnTo>
                <a:lnTo>
                  <a:pt x="2481262" y="3871119"/>
                </a:lnTo>
                <a:lnTo>
                  <a:pt x="2452290" y="3874294"/>
                </a:lnTo>
                <a:lnTo>
                  <a:pt x="2422525" y="3877072"/>
                </a:lnTo>
                <a:lnTo>
                  <a:pt x="2392760" y="3879850"/>
                </a:lnTo>
                <a:lnTo>
                  <a:pt x="2362994" y="3881835"/>
                </a:lnTo>
                <a:lnTo>
                  <a:pt x="2332831" y="3883025"/>
                </a:lnTo>
                <a:lnTo>
                  <a:pt x="2303066" y="3884613"/>
                </a:lnTo>
                <a:lnTo>
                  <a:pt x="2272903" y="3885803"/>
                </a:lnTo>
                <a:lnTo>
                  <a:pt x="2242740" y="3886200"/>
                </a:lnTo>
                <a:lnTo>
                  <a:pt x="2212578" y="3886200"/>
                </a:lnTo>
                <a:lnTo>
                  <a:pt x="2169716" y="3885803"/>
                </a:lnTo>
                <a:lnTo>
                  <a:pt x="2127647" y="3884613"/>
                </a:lnTo>
                <a:lnTo>
                  <a:pt x="2085975" y="3883025"/>
                </a:lnTo>
                <a:lnTo>
                  <a:pt x="2043906" y="3880247"/>
                </a:lnTo>
                <a:lnTo>
                  <a:pt x="2002234" y="3877072"/>
                </a:lnTo>
                <a:lnTo>
                  <a:pt x="1960960" y="3873103"/>
                </a:lnTo>
                <a:lnTo>
                  <a:pt x="1919685" y="3867944"/>
                </a:lnTo>
                <a:lnTo>
                  <a:pt x="1878410" y="3862388"/>
                </a:lnTo>
                <a:lnTo>
                  <a:pt x="1837531" y="3856435"/>
                </a:lnTo>
                <a:lnTo>
                  <a:pt x="1797050" y="3849291"/>
                </a:lnTo>
                <a:lnTo>
                  <a:pt x="1756569" y="3841750"/>
                </a:lnTo>
                <a:lnTo>
                  <a:pt x="1716881" y="3833813"/>
                </a:lnTo>
                <a:lnTo>
                  <a:pt x="1677194" y="3824685"/>
                </a:lnTo>
                <a:lnTo>
                  <a:pt x="1637506" y="3815160"/>
                </a:lnTo>
                <a:lnTo>
                  <a:pt x="1598216" y="3804444"/>
                </a:lnTo>
                <a:lnTo>
                  <a:pt x="1558925" y="3794125"/>
                </a:lnTo>
                <a:lnTo>
                  <a:pt x="1520031" y="3782616"/>
                </a:lnTo>
                <a:lnTo>
                  <a:pt x="1481931" y="3769916"/>
                </a:lnTo>
                <a:lnTo>
                  <a:pt x="1443435" y="3757216"/>
                </a:lnTo>
                <a:lnTo>
                  <a:pt x="1405731" y="3743722"/>
                </a:lnTo>
                <a:lnTo>
                  <a:pt x="1368028" y="3729435"/>
                </a:lnTo>
                <a:lnTo>
                  <a:pt x="1330722" y="3714353"/>
                </a:lnTo>
                <a:lnTo>
                  <a:pt x="1294210" y="3699272"/>
                </a:lnTo>
                <a:lnTo>
                  <a:pt x="1257300" y="3683397"/>
                </a:lnTo>
                <a:lnTo>
                  <a:pt x="1221185" y="3666728"/>
                </a:lnTo>
                <a:lnTo>
                  <a:pt x="1184672" y="3649663"/>
                </a:lnTo>
                <a:lnTo>
                  <a:pt x="1148953" y="3631803"/>
                </a:lnTo>
                <a:lnTo>
                  <a:pt x="1114028" y="3613150"/>
                </a:lnTo>
                <a:lnTo>
                  <a:pt x="1079103" y="3594100"/>
                </a:lnTo>
                <a:lnTo>
                  <a:pt x="1044575" y="3575050"/>
                </a:lnTo>
                <a:lnTo>
                  <a:pt x="1010047" y="3554810"/>
                </a:lnTo>
                <a:lnTo>
                  <a:pt x="976313" y="3534172"/>
                </a:lnTo>
                <a:lnTo>
                  <a:pt x="943372" y="3513138"/>
                </a:lnTo>
                <a:lnTo>
                  <a:pt x="910035" y="3490913"/>
                </a:lnTo>
                <a:lnTo>
                  <a:pt x="877491" y="3468688"/>
                </a:lnTo>
                <a:lnTo>
                  <a:pt x="844947" y="3446066"/>
                </a:lnTo>
                <a:lnTo>
                  <a:pt x="813197" y="3422650"/>
                </a:lnTo>
                <a:lnTo>
                  <a:pt x="781844" y="3398838"/>
                </a:lnTo>
                <a:lnTo>
                  <a:pt x="750888" y="3374231"/>
                </a:lnTo>
                <a:lnTo>
                  <a:pt x="720328" y="3349625"/>
                </a:lnTo>
                <a:lnTo>
                  <a:pt x="690166" y="3324225"/>
                </a:lnTo>
                <a:lnTo>
                  <a:pt x="660400" y="3298031"/>
                </a:lnTo>
                <a:lnTo>
                  <a:pt x="630635" y="3271838"/>
                </a:lnTo>
                <a:lnTo>
                  <a:pt x="602060" y="3244850"/>
                </a:lnTo>
                <a:lnTo>
                  <a:pt x="573881" y="3217466"/>
                </a:lnTo>
                <a:lnTo>
                  <a:pt x="545703" y="3189685"/>
                </a:lnTo>
                <a:lnTo>
                  <a:pt x="518319" y="3161506"/>
                </a:lnTo>
                <a:lnTo>
                  <a:pt x="491331" y="3132931"/>
                </a:lnTo>
                <a:lnTo>
                  <a:pt x="464741" y="3103563"/>
                </a:lnTo>
                <a:lnTo>
                  <a:pt x="438944" y="3074194"/>
                </a:lnTo>
                <a:lnTo>
                  <a:pt x="413147" y="3043635"/>
                </a:lnTo>
                <a:lnTo>
                  <a:pt x="388144" y="3013472"/>
                </a:lnTo>
                <a:lnTo>
                  <a:pt x="363538" y="2982516"/>
                </a:lnTo>
                <a:lnTo>
                  <a:pt x="339725" y="2951163"/>
                </a:lnTo>
                <a:lnTo>
                  <a:pt x="315913" y="2919413"/>
                </a:lnTo>
                <a:lnTo>
                  <a:pt x="292894" y="2887266"/>
                </a:lnTo>
                <a:lnTo>
                  <a:pt x="270669" y="2854325"/>
                </a:lnTo>
                <a:lnTo>
                  <a:pt x="248841" y="2821781"/>
                </a:lnTo>
                <a:lnTo>
                  <a:pt x="227410" y="2788444"/>
                </a:lnTo>
                <a:lnTo>
                  <a:pt x="206375" y="2754710"/>
                </a:lnTo>
                <a:lnTo>
                  <a:pt x="186135" y="2720578"/>
                </a:lnTo>
                <a:lnTo>
                  <a:pt x="166688" y="2685653"/>
                </a:lnTo>
                <a:lnTo>
                  <a:pt x="147638" y="2651125"/>
                </a:lnTo>
                <a:lnTo>
                  <a:pt x="128985" y="2615803"/>
                </a:lnTo>
                <a:lnTo>
                  <a:pt x="114697" y="2589213"/>
                </a:lnTo>
                <a:lnTo>
                  <a:pt x="101600" y="2561828"/>
                </a:lnTo>
                <a:lnTo>
                  <a:pt x="89694" y="2534841"/>
                </a:lnTo>
                <a:lnTo>
                  <a:pt x="78185" y="2507060"/>
                </a:lnTo>
                <a:lnTo>
                  <a:pt x="67072" y="2479278"/>
                </a:lnTo>
                <a:lnTo>
                  <a:pt x="57547" y="2451100"/>
                </a:lnTo>
                <a:lnTo>
                  <a:pt x="47625" y="2422922"/>
                </a:lnTo>
                <a:lnTo>
                  <a:pt x="39688" y="2394347"/>
                </a:lnTo>
                <a:lnTo>
                  <a:pt x="32147" y="2365375"/>
                </a:lnTo>
                <a:lnTo>
                  <a:pt x="25797" y="2336800"/>
                </a:lnTo>
                <a:lnTo>
                  <a:pt x="19447" y="2308225"/>
                </a:lnTo>
                <a:lnTo>
                  <a:pt x="14685" y="2278856"/>
                </a:lnTo>
                <a:lnTo>
                  <a:pt x="9922" y="2250281"/>
                </a:lnTo>
                <a:lnTo>
                  <a:pt x="6350" y="2220913"/>
                </a:lnTo>
                <a:lnTo>
                  <a:pt x="3572" y="2191941"/>
                </a:lnTo>
                <a:lnTo>
                  <a:pt x="1588" y="2162175"/>
                </a:lnTo>
                <a:lnTo>
                  <a:pt x="397" y="2132806"/>
                </a:lnTo>
                <a:lnTo>
                  <a:pt x="0" y="2103835"/>
                </a:lnTo>
                <a:lnTo>
                  <a:pt x="0" y="2074466"/>
                </a:lnTo>
                <a:lnTo>
                  <a:pt x="1588" y="2044700"/>
                </a:lnTo>
                <a:lnTo>
                  <a:pt x="3175" y="2015728"/>
                </a:lnTo>
                <a:lnTo>
                  <a:pt x="5556" y="1986360"/>
                </a:lnTo>
                <a:lnTo>
                  <a:pt x="9128" y="1957388"/>
                </a:lnTo>
                <a:lnTo>
                  <a:pt x="13097" y="1928019"/>
                </a:lnTo>
                <a:lnTo>
                  <a:pt x="18256" y="1898650"/>
                </a:lnTo>
                <a:lnTo>
                  <a:pt x="23813" y="1870075"/>
                </a:lnTo>
                <a:lnTo>
                  <a:pt x="29766" y="1841500"/>
                </a:lnTo>
                <a:lnTo>
                  <a:pt x="36910" y="1812528"/>
                </a:lnTo>
                <a:lnTo>
                  <a:pt x="44847" y="1783953"/>
                </a:lnTo>
                <a:lnTo>
                  <a:pt x="53181" y="1755775"/>
                </a:lnTo>
                <a:lnTo>
                  <a:pt x="62310" y="1727597"/>
                </a:lnTo>
                <a:lnTo>
                  <a:pt x="72628" y="1699419"/>
                </a:lnTo>
                <a:lnTo>
                  <a:pt x="83741" y="1671638"/>
                </a:lnTo>
                <a:lnTo>
                  <a:pt x="94456" y="1644650"/>
                </a:lnTo>
                <a:lnTo>
                  <a:pt x="106760" y="1617266"/>
                </a:lnTo>
                <a:lnTo>
                  <a:pt x="119856" y="1590278"/>
                </a:lnTo>
                <a:lnTo>
                  <a:pt x="133350" y="1563291"/>
                </a:lnTo>
                <a:lnTo>
                  <a:pt x="148035" y="1537097"/>
                </a:lnTo>
                <a:lnTo>
                  <a:pt x="162719" y="1510903"/>
                </a:lnTo>
                <a:lnTo>
                  <a:pt x="178594" y="1485503"/>
                </a:lnTo>
                <a:lnTo>
                  <a:pt x="194866" y="1460103"/>
                </a:lnTo>
                <a:lnTo>
                  <a:pt x="211931" y="1435100"/>
                </a:lnTo>
                <a:lnTo>
                  <a:pt x="230188" y="1410494"/>
                </a:lnTo>
                <a:lnTo>
                  <a:pt x="248047" y="1386285"/>
                </a:lnTo>
                <a:lnTo>
                  <a:pt x="267891" y="1362472"/>
                </a:lnTo>
                <a:lnTo>
                  <a:pt x="287338" y="1339056"/>
                </a:lnTo>
                <a:lnTo>
                  <a:pt x="307975" y="1316038"/>
                </a:lnTo>
                <a:lnTo>
                  <a:pt x="329010" y="1293416"/>
                </a:lnTo>
                <a:lnTo>
                  <a:pt x="351235" y="1271588"/>
                </a:lnTo>
                <a:lnTo>
                  <a:pt x="373856" y="1249760"/>
                </a:lnTo>
                <a:lnTo>
                  <a:pt x="397272" y="1229122"/>
                </a:lnTo>
                <a:lnTo>
                  <a:pt x="421481" y="1208485"/>
                </a:lnTo>
                <a:lnTo>
                  <a:pt x="445294" y="1188641"/>
                </a:lnTo>
                <a:lnTo>
                  <a:pt x="471091" y="1169194"/>
                </a:lnTo>
                <a:lnTo>
                  <a:pt x="496888" y="1150541"/>
                </a:lnTo>
                <a:lnTo>
                  <a:pt x="523478" y="1132285"/>
                </a:lnTo>
                <a:lnTo>
                  <a:pt x="550466" y="1114822"/>
                </a:lnTo>
                <a:lnTo>
                  <a:pt x="578644" y="1097756"/>
                </a:lnTo>
                <a:lnTo>
                  <a:pt x="606822" y="1081088"/>
                </a:lnTo>
                <a:lnTo>
                  <a:pt x="636191" y="1065610"/>
                </a:lnTo>
                <a:lnTo>
                  <a:pt x="666353" y="1050528"/>
                </a:lnTo>
                <a:lnTo>
                  <a:pt x="696516" y="1036241"/>
                </a:lnTo>
                <a:lnTo>
                  <a:pt x="727869" y="1022747"/>
                </a:lnTo>
                <a:lnTo>
                  <a:pt x="759619" y="1009650"/>
                </a:lnTo>
                <a:lnTo>
                  <a:pt x="3618310" y="26591"/>
                </a:lnTo>
                <a:lnTo>
                  <a:pt x="3633390" y="22225"/>
                </a:lnTo>
                <a:lnTo>
                  <a:pt x="3648472" y="17463"/>
                </a:lnTo>
                <a:lnTo>
                  <a:pt x="3663553" y="13494"/>
                </a:lnTo>
                <a:lnTo>
                  <a:pt x="3678634" y="10716"/>
                </a:lnTo>
                <a:lnTo>
                  <a:pt x="3693319" y="7541"/>
                </a:lnTo>
                <a:lnTo>
                  <a:pt x="3708003" y="5159"/>
                </a:lnTo>
                <a:lnTo>
                  <a:pt x="3722290" y="3175"/>
                </a:lnTo>
                <a:lnTo>
                  <a:pt x="3736578" y="1588"/>
                </a:lnTo>
                <a:lnTo>
                  <a:pt x="3750866" y="397"/>
                </a:lnTo>
                <a:close/>
              </a:path>
            </a:pathLst>
          </a:custGeom>
          <a:solidFill>
            <a:schemeClr val="bg1">
              <a:lumMod val="85000"/>
            </a:schemeClr>
          </a:solidFill>
        </p:spPr>
        <p:txBody>
          <a:bodyPr wrap="square" anchor="ctr">
            <a:noAutofit/>
          </a:bodyPr>
          <a:lstStyle>
            <a:lvl1pPr marL="0" indent="0" algn="ctr">
              <a:buNone/>
              <a:defRPr/>
            </a:lvl1pPr>
          </a:lstStyle>
          <a:p>
            <a:r>
              <a:rPr lang="en-GB" dirty="0"/>
              <a:t>Insert your photo</a:t>
            </a:r>
          </a:p>
        </p:txBody>
      </p:sp>
    </p:spTree>
    <p:extLst>
      <p:ext uri="{BB962C8B-B14F-4D97-AF65-F5344CB8AC3E}">
        <p14:creationId xmlns:p14="http://schemas.microsoft.com/office/powerpoint/2010/main" val="14898222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hape 2">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3987186"/>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92608" y="779416"/>
            <a:ext cx="11228613" cy="420734"/>
          </a:xfrm>
          <a:prstGeom prst="rect">
            <a:avLst/>
          </a:prstGeom>
        </p:spPr>
        <p:txBody>
          <a:bodyPr>
            <a:noAutofit/>
          </a:bodyPr>
          <a:lstStyle>
            <a:lvl1pPr marL="0" indent="0">
              <a:lnSpc>
                <a:spcPct val="100000"/>
              </a:lnSpc>
              <a:buNone/>
              <a:defRPr sz="16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8" name="Marcador de posición de imagen 28"/>
          <p:cNvSpPr>
            <a:spLocks noGrp="1"/>
          </p:cNvSpPr>
          <p:nvPr>
            <p:ph type="pic" sz="quarter" idx="16" hasCustomPrompt="1"/>
          </p:nvPr>
        </p:nvSpPr>
        <p:spPr>
          <a:xfrm>
            <a:off x="6632254" y="1903298"/>
            <a:ext cx="4479647" cy="3982295"/>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85000"/>
            </a:schemeClr>
          </a:solidFill>
        </p:spPr>
        <p:txBody>
          <a:bodyPr wrap="square" anchor="ctr">
            <a:noAutofit/>
          </a:bodyPr>
          <a:lstStyle>
            <a:lvl1pPr marL="0" indent="0" algn="ctr">
              <a:buNone/>
              <a:defRPr/>
            </a:lvl1pPr>
          </a:lstStyle>
          <a:p>
            <a:r>
              <a:rPr lang="en-GB" noProof="0" dirty="0"/>
              <a:t>     </a:t>
            </a:r>
            <a:br>
              <a:rPr lang="en-GB" noProof="0" dirty="0"/>
            </a:br>
            <a:br>
              <a:rPr lang="en-GB" noProof="0" dirty="0"/>
            </a:br>
            <a:r>
              <a:rPr lang="en-GB" noProof="0" dirty="0"/>
              <a:t> Insert your picture here</a:t>
            </a:r>
          </a:p>
        </p:txBody>
      </p:sp>
    </p:spTree>
    <p:extLst>
      <p:ext uri="{BB962C8B-B14F-4D97-AF65-F5344CB8AC3E}">
        <p14:creationId xmlns:p14="http://schemas.microsoft.com/office/powerpoint/2010/main" val="25804975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hape 3">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92608" y="779416"/>
            <a:ext cx="11228613" cy="404633"/>
          </a:xfrm>
          <a:prstGeom prst="rect">
            <a:avLst/>
          </a:prstGeom>
        </p:spPr>
        <p:txBody>
          <a:bodyPr>
            <a:noAutofit/>
          </a:bodyPr>
          <a:lstStyle>
            <a:lvl1pPr marL="0" indent="0">
              <a:lnSpc>
                <a:spcPct val="100000"/>
              </a:lnSpc>
              <a:buNone/>
              <a:defRPr sz="16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2" name="Picture Placeholder 11"/>
          <p:cNvSpPr>
            <a:spLocks noGrp="1"/>
          </p:cNvSpPr>
          <p:nvPr>
            <p:ph type="pic" sz="quarter" idx="19" hasCustomPrompt="1"/>
          </p:nvPr>
        </p:nvSpPr>
        <p:spPr>
          <a:xfrm>
            <a:off x="6722269" y="1939925"/>
            <a:ext cx="4443412" cy="3992562"/>
          </a:xfrm>
          <a:custGeom>
            <a:avLst/>
            <a:gdLst>
              <a:gd name="connsiteX0" fmla="*/ 3649988 w 4443412"/>
              <a:gd name="connsiteY0" fmla="*/ 0 h 3992562"/>
              <a:gd name="connsiteX1" fmla="*/ 3667849 w 4443412"/>
              <a:gd name="connsiteY1" fmla="*/ 0 h 3992562"/>
              <a:gd name="connsiteX2" fmla="*/ 3685710 w 4443412"/>
              <a:gd name="connsiteY2" fmla="*/ 397 h 3992562"/>
              <a:gd name="connsiteX3" fmla="*/ 3703174 w 4443412"/>
              <a:gd name="connsiteY3" fmla="*/ 1588 h 3992562"/>
              <a:gd name="connsiteX4" fmla="*/ 3720638 w 4443412"/>
              <a:gd name="connsiteY4" fmla="*/ 2381 h 3992562"/>
              <a:gd name="connsiteX5" fmla="*/ 3737705 w 4443412"/>
              <a:gd name="connsiteY5" fmla="*/ 4366 h 3992562"/>
              <a:gd name="connsiteX6" fmla="*/ 3755169 w 4443412"/>
              <a:gd name="connsiteY6" fmla="*/ 7144 h 3992562"/>
              <a:gd name="connsiteX7" fmla="*/ 3771839 w 4443412"/>
              <a:gd name="connsiteY7" fmla="*/ 9525 h 3992562"/>
              <a:gd name="connsiteX8" fmla="*/ 3788510 w 4443412"/>
              <a:gd name="connsiteY8" fmla="*/ 12303 h 3992562"/>
              <a:gd name="connsiteX9" fmla="*/ 3805180 w 4443412"/>
              <a:gd name="connsiteY9" fmla="*/ 16669 h 3992562"/>
              <a:gd name="connsiteX10" fmla="*/ 3821057 w 4443412"/>
              <a:gd name="connsiteY10" fmla="*/ 20638 h 3992562"/>
              <a:gd name="connsiteX11" fmla="*/ 3836933 w 4443412"/>
              <a:gd name="connsiteY11" fmla="*/ 25003 h 3992562"/>
              <a:gd name="connsiteX12" fmla="*/ 3853206 w 4443412"/>
              <a:gd name="connsiteY12" fmla="*/ 29369 h 3992562"/>
              <a:gd name="connsiteX13" fmla="*/ 3869083 w 4443412"/>
              <a:gd name="connsiteY13" fmla="*/ 34925 h 3992562"/>
              <a:gd name="connsiteX14" fmla="*/ 3884165 w 4443412"/>
              <a:gd name="connsiteY14" fmla="*/ 40481 h 3992562"/>
              <a:gd name="connsiteX15" fmla="*/ 3899645 w 4443412"/>
              <a:gd name="connsiteY15" fmla="*/ 46434 h 3992562"/>
              <a:gd name="connsiteX16" fmla="*/ 3914331 w 4443412"/>
              <a:gd name="connsiteY16" fmla="*/ 52784 h 3992562"/>
              <a:gd name="connsiteX17" fmla="*/ 3929016 w 4443412"/>
              <a:gd name="connsiteY17" fmla="*/ 59928 h 3992562"/>
              <a:gd name="connsiteX18" fmla="*/ 3943305 w 4443412"/>
              <a:gd name="connsiteY18" fmla="*/ 67072 h 3992562"/>
              <a:gd name="connsiteX19" fmla="*/ 3957991 w 4443412"/>
              <a:gd name="connsiteY19" fmla="*/ 74613 h 3992562"/>
              <a:gd name="connsiteX20" fmla="*/ 3971883 w 4443412"/>
              <a:gd name="connsiteY20" fmla="*/ 82550 h 3992562"/>
              <a:gd name="connsiteX21" fmla="*/ 3985774 w 4443412"/>
              <a:gd name="connsiteY21" fmla="*/ 90885 h 3992562"/>
              <a:gd name="connsiteX22" fmla="*/ 3999269 w 4443412"/>
              <a:gd name="connsiteY22" fmla="*/ 100013 h 3992562"/>
              <a:gd name="connsiteX23" fmla="*/ 4012764 w 4443412"/>
              <a:gd name="connsiteY23" fmla="*/ 108744 h 3992562"/>
              <a:gd name="connsiteX24" fmla="*/ 4025862 w 4443412"/>
              <a:gd name="connsiteY24" fmla="*/ 118269 h 3992562"/>
              <a:gd name="connsiteX25" fmla="*/ 4038167 w 4443412"/>
              <a:gd name="connsiteY25" fmla="*/ 127794 h 3992562"/>
              <a:gd name="connsiteX26" fmla="*/ 4050867 w 4443412"/>
              <a:gd name="connsiteY26" fmla="*/ 137716 h 3992562"/>
              <a:gd name="connsiteX27" fmla="*/ 4063172 w 4443412"/>
              <a:gd name="connsiteY27" fmla="*/ 148431 h 3992562"/>
              <a:gd name="connsiteX28" fmla="*/ 4075476 w 4443412"/>
              <a:gd name="connsiteY28" fmla="*/ 159147 h 3992562"/>
              <a:gd name="connsiteX29" fmla="*/ 4087383 w 4443412"/>
              <a:gd name="connsiteY29" fmla="*/ 170259 h 3992562"/>
              <a:gd name="connsiteX30" fmla="*/ 4098894 w 4443412"/>
              <a:gd name="connsiteY30" fmla="*/ 181769 h 3992562"/>
              <a:gd name="connsiteX31" fmla="*/ 4109610 w 4443412"/>
              <a:gd name="connsiteY31" fmla="*/ 193278 h 3992562"/>
              <a:gd name="connsiteX32" fmla="*/ 4120724 w 4443412"/>
              <a:gd name="connsiteY32" fmla="*/ 205184 h 3992562"/>
              <a:gd name="connsiteX33" fmla="*/ 4131043 w 4443412"/>
              <a:gd name="connsiteY33" fmla="*/ 217884 h 3992562"/>
              <a:gd name="connsiteX34" fmla="*/ 4141760 w 4443412"/>
              <a:gd name="connsiteY34" fmla="*/ 230188 h 3992562"/>
              <a:gd name="connsiteX35" fmla="*/ 4151683 w 4443412"/>
              <a:gd name="connsiteY35" fmla="*/ 243284 h 3992562"/>
              <a:gd name="connsiteX36" fmla="*/ 4161605 w 4443412"/>
              <a:gd name="connsiteY36" fmla="*/ 256381 h 3992562"/>
              <a:gd name="connsiteX37" fmla="*/ 4171131 w 4443412"/>
              <a:gd name="connsiteY37" fmla="*/ 269875 h 3992562"/>
              <a:gd name="connsiteX38" fmla="*/ 4180261 w 4443412"/>
              <a:gd name="connsiteY38" fmla="*/ 283766 h 3992562"/>
              <a:gd name="connsiteX39" fmla="*/ 4188993 w 4443412"/>
              <a:gd name="connsiteY39" fmla="*/ 297656 h 3992562"/>
              <a:gd name="connsiteX40" fmla="*/ 4197725 w 4443412"/>
              <a:gd name="connsiteY40" fmla="*/ 312341 h 3992562"/>
              <a:gd name="connsiteX41" fmla="*/ 4206059 w 4443412"/>
              <a:gd name="connsiteY41" fmla="*/ 326628 h 3992562"/>
              <a:gd name="connsiteX42" fmla="*/ 4213998 w 4443412"/>
              <a:gd name="connsiteY42" fmla="*/ 341313 h 3992562"/>
              <a:gd name="connsiteX43" fmla="*/ 4221539 w 4443412"/>
              <a:gd name="connsiteY43" fmla="*/ 355997 h 3992562"/>
              <a:gd name="connsiteX44" fmla="*/ 4229081 w 4443412"/>
              <a:gd name="connsiteY44" fmla="*/ 371475 h 3992562"/>
              <a:gd name="connsiteX45" fmla="*/ 4236225 w 4443412"/>
              <a:gd name="connsiteY45" fmla="*/ 386953 h 3992562"/>
              <a:gd name="connsiteX46" fmla="*/ 4242575 w 4443412"/>
              <a:gd name="connsiteY46" fmla="*/ 403225 h 3992562"/>
              <a:gd name="connsiteX47" fmla="*/ 4248926 w 4443412"/>
              <a:gd name="connsiteY47" fmla="*/ 419100 h 3992562"/>
              <a:gd name="connsiteX48" fmla="*/ 4254879 w 4443412"/>
              <a:gd name="connsiteY48" fmla="*/ 434975 h 3992562"/>
              <a:gd name="connsiteX49" fmla="*/ 4260437 w 4443412"/>
              <a:gd name="connsiteY49" fmla="*/ 451644 h 3992562"/>
              <a:gd name="connsiteX50" fmla="*/ 4265993 w 4443412"/>
              <a:gd name="connsiteY50" fmla="*/ 468709 h 3992562"/>
              <a:gd name="connsiteX51" fmla="*/ 4271153 w 4443412"/>
              <a:gd name="connsiteY51" fmla="*/ 484981 h 3992562"/>
              <a:gd name="connsiteX52" fmla="*/ 4275916 w 4443412"/>
              <a:gd name="connsiteY52" fmla="*/ 502444 h 3992562"/>
              <a:gd name="connsiteX53" fmla="*/ 4279885 w 4443412"/>
              <a:gd name="connsiteY53" fmla="*/ 519509 h 3992562"/>
              <a:gd name="connsiteX54" fmla="*/ 4283854 w 4443412"/>
              <a:gd name="connsiteY54" fmla="*/ 536972 h 3992562"/>
              <a:gd name="connsiteX55" fmla="*/ 4287823 w 4443412"/>
              <a:gd name="connsiteY55" fmla="*/ 554434 h 3992562"/>
              <a:gd name="connsiteX56" fmla="*/ 4290999 w 4443412"/>
              <a:gd name="connsiteY56" fmla="*/ 572294 h 3992562"/>
              <a:gd name="connsiteX57" fmla="*/ 4294173 w 4443412"/>
              <a:gd name="connsiteY57" fmla="*/ 590550 h 3992562"/>
              <a:gd name="connsiteX58" fmla="*/ 4296555 w 4443412"/>
              <a:gd name="connsiteY58" fmla="*/ 608806 h 3992562"/>
              <a:gd name="connsiteX59" fmla="*/ 4298539 w 4443412"/>
              <a:gd name="connsiteY59" fmla="*/ 627063 h 3992562"/>
              <a:gd name="connsiteX60" fmla="*/ 4300525 w 4443412"/>
              <a:gd name="connsiteY60" fmla="*/ 645319 h 3992562"/>
              <a:gd name="connsiteX61" fmla="*/ 4439840 w 4443412"/>
              <a:gd name="connsiteY61" fmla="*/ 2872581 h 3992562"/>
              <a:gd name="connsiteX62" fmla="*/ 4441825 w 4443412"/>
              <a:gd name="connsiteY62" fmla="*/ 2916634 h 3992562"/>
              <a:gd name="connsiteX63" fmla="*/ 4442618 w 4443412"/>
              <a:gd name="connsiteY63" fmla="*/ 2959100 h 3992562"/>
              <a:gd name="connsiteX64" fmla="*/ 4443412 w 4443412"/>
              <a:gd name="connsiteY64" fmla="*/ 3000375 h 3992562"/>
              <a:gd name="connsiteX65" fmla="*/ 4443412 w 4443412"/>
              <a:gd name="connsiteY65" fmla="*/ 3041650 h 3992562"/>
              <a:gd name="connsiteX66" fmla="*/ 4442618 w 4443412"/>
              <a:gd name="connsiteY66" fmla="*/ 3081337 h 3992562"/>
              <a:gd name="connsiteX67" fmla="*/ 4440633 w 4443412"/>
              <a:gd name="connsiteY67" fmla="*/ 3121025 h 3992562"/>
              <a:gd name="connsiteX68" fmla="*/ 4439443 w 4443412"/>
              <a:gd name="connsiteY68" fmla="*/ 3140472 h 3992562"/>
              <a:gd name="connsiteX69" fmla="*/ 4437855 w 4443412"/>
              <a:gd name="connsiteY69" fmla="*/ 3159918 h 3992562"/>
              <a:gd name="connsiteX70" fmla="*/ 4435871 w 4443412"/>
              <a:gd name="connsiteY70" fmla="*/ 3179365 h 3992562"/>
              <a:gd name="connsiteX71" fmla="*/ 4433489 w 4443412"/>
              <a:gd name="connsiteY71" fmla="*/ 3198812 h 3992562"/>
              <a:gd name="connsiteX72" fmla="*/ 4430711 w 4443412"/>
              <a:gd name="connsiteY72" fmla="*/ 3218259 h 3992562"/>
              <a:gd name="connsiteX73" fmla="*/ 4427933 w 4443412"/>
              <a:gd name="connsiteY73" fmla="*/ 3237309 h 3992562"/>
              <a:gd name="connsiteX74" fmla="*/ 4424757 w 4443412"/>
              <a:gd name="connsiteY74" fmla="*/ 3256756 h 3992562"/>
              <a:gd name="connsiteX75" fmla="*/ 4420788 w 4443412"/>
              <a:gd name="connsiteY75" fmla="*/ 3276203 h 3992562"/>
              <a:gd name="connsiteX76" fmla="*/ 4416819 w 4443412"/>
              <a:gd name="connsiteY76" fmla="*/ 3295253 h 3992562"/>
              <a:gd name="connsiteX77" fmla="*/ 4412453 w 4443412"/>
              <a:gd name="connsiteY77" fmla="*/ 3314700 h 3992562"/>
              <a:gd name="connsiteX78" fmla="*/ 4407293 w 4443412"/>
              <a:gd name="connsiteY78" fmla="*/ 3334147 h 3992562"/>
              <a:gd name="connsiteX79" fmla="*/ 4401737 w 4443412"/>
              <a:gd name="connsiteY79" fmla="*/ 3353593 h 3992562"/>
              <a:gd name="connsiteX80" fmla="*/ 4395783 w 4443412"/>
              <a:gd name="connsiteY80" fmla="*/ 3373040 h 3992562"/>
              <a:gd name="connsiteX81" fmla="*/ 4389432 w 4443412"/>
              <a:gd name="connsiteY81" fmla="*/ 3392487 h 3992562"/>
              <a:gd name="connsiteX82" fmla="*/ 4382288 w 4443412"/>
              <a:gd name="connsiteY82" fmla="*/ 3412331 h 3992562"/>
              <a:gd name="connsiteX83" fmla="*/ 4374747 w 4443412"/>
              <a:gd name="connsiteY83" fmla="*/ 3432175 h 3992562"/>
              <a:gd name="connsiteX84" fmla="*/ 4366809 w 4443412"/>
              <a:gd name="connsiteY84" fmla="*/ 3452018 h 3992562"/>
              <a:gd name="connsiteX85" fmla="*/ 4358473 w 4443412"/>
              <a:gd name="connsiteY85" fmla="*/ 3472259 h 3992562"/>
              <a:gd name="connsiteX86" fmla="*/ 4349344 w 4443412"/>
              <a:gd name="connsiteY86" fmla="*/ 3492500 h 3992562"/>
              <a:gd name="connsiteX87" fmla="*/ 4339819 w 4443412"/>
              <a:gd name="connsiteY87" fmla="*/ 3513137 h 3992562"/>
              <a:gd name="connsiteX88" fmla="*/ 4329499 w 4443412"/>
              <a:gd name="connsiteY88" fmla="*/ 3534172 h 3992562"/>
              <a:gd name="connsiteX89" fmla="*/ 4318385 w 4443412"/>
              <a:gd name="connsiteY89" fmla="*/ 3554809 h 3992562"/>
              <a:gd name="connsiteX90" fmla="*/ 4306875 w 4443412"/>
              <a:gd name="connsiteY90" fmla="*/ 3575447 h 3992562"/>
              <a:gd name="connsiteX91" fmla="*/ 4294967 w 4443412"/>
              <a:gd name="connsiteY91" fmla="*/ 3595290 h 3992562"/>
              <a:gd name="connsiteX92" fmla="*/ 4283060 w 4443412"/>
              <a:gd name="connsiteY92" fmla="*/ 3615531 h 3992562"/>
              <a:gd name="connsiteX93" fmla="*/ 4269962 w 4443412"/>
              <a:gd name="connsiteY93" fmla="*/ 3634978 h 3992562"/>
              <a:gd name="connsiteX94" fmla="*/ 4256864 w 4443412"/>
              <a:gd name="connsiteY94" fmla="*/ 3654028 h 3992562"/>
              <a:gd name="connsiteX95" fmla="*/ 4242972 w 4443412"/>
              <a:gd name="connsiteY95" fmla="*/ 3672284 h 3992562"/>
              <a:gd name="connsiteX96" fmla="*/ 4229081 w 4443412"/>
              <a:gd name="connsiteY96" fmla="*/ 3690937 h 3992562"/>
              <a:gd name="connsiteX97" fmla="*/ 4214791 w 4443412"/>
              <a:gd name="connsiteY97" fmla="*/ 3708797 h 3992562"/>
              <a:gd name="connsiteX98" fmla="*/ 4199709 w 4443412"/>
              <a:gd name="connsiteY98" fmla="*/ 3726259 h 3992562"/>
              <a:gd name="connsiteX99" fmla="*/ 4184627 w 4443412"/>
              <a:gd name="connsiteY99" fmla="*/ 3743325 h 3992562"/>
              <a:gd name="connsiteX100" fmla="*/ 4168750 w 4443412"/>
              <a:gd name="connsiteY100" fmla="*/ 3760390 h 3992562"/>
              <a:gd name="connsiteX101" fmla="*/ 4152873 w 4443412"/>
              <a:gd name="connsiteY101" fmla="*/ 3776265 h 3992562"/>
              <a:gd name="connsiteX102" fmla="*/ 4136203 w 4443412"/>
              <a:gd name="connsiteY102" fmla="*/ 3792140 h 3992562"/>
              <a:gd name="connsiteX103" fmla="*/ 4119136 w 4443412"/>
              <a:gd name="connsiteY103" fmla="*/ 3807222 h 3992562"/>
              <a:gd name="connsiteX104" fmla="*/ 4101672 w 4443412"/>
              <a:gd name="connsiteY104" fmla="*/ 3822303 h 3992562"/>
              <a:gd name="connsiteX105" fmla="*/ 4083811 w 4443412"/>
              <a:gd name="connsiteY105" fmla="*/ 3836193 h 3992562"/>
              <a:gd name="connsiteX106" fmla="*/ 4065950 w 4443412"/>
              <a:gd name="connsiteY106" fmla="*/ 3850084 h 3992562"/>
              <a:gd name="connsiteX107" fmla="*/ 4047295 w 4443412"/>
              <a:gd name="connsiteY107" fmla="*/ 3863181 h 3992562"/>
              <a:gd name="connsiteX108" fmla="*/ 4028244 w 4443412"/>
              <a:gd name="connsiteY108" fmla="*/ 3875484 h 3992562"/>
              <a:gd name="connsiteX109" fmla="*/ 4008795 w 4443412"/>
              <a:gd name="connsiteY109" fmla="*/ 3888184 h 3992562"/>
              <a:gd name="connsiteX110" fmla="*/ 3989347 w 4443412"/>
              <a:gd name="connsiteY110" fmla="*/ 3899693 h 3992562"/>
              <a:gd name="connsiteX111" fmla="*/ 3969501 w 4443412"/>
              <a:gd name="connsiteY111" fmla="*/ 3910012 h 3992562"/>
              <a:gd name="connsiteX112" fmla="*/ 3948862 w 4443412"/>
              <a:gd name="connsiteY112" fmla="*/ 3920728 h 3992562"/>
              <a:gd name="connsiteX113" fmla="*/ 3927825 w 4443412"/>
              <a:gd name="connsiteY113" fmla="*/ 3930253 h 3992562"/>
              <a:gd name="connsiteX114" fmla="*/ 3907186 w 4443412"/>
              <a:gd name="connsiteY114" fmla="*/ 3938984 h 3992562"/>
              <a:gd name="connsiteX115" fmla="*/ 3885356 w 4443412"/>
              <a:gd name="connsiteY115" fmla="*/ 3947715 h 3992562"/>
              <a:gd name="connsiteX116" fmla="*/ 3863526 w 4443412"/>
              <a:gd name="connsiteY116" fmla="*/ 3955256 h 3992562"/>
              <a:gd name="connsiteX117" fmla="*/ 3840902 w 4443412"/>
              <a:gd name="connsiteY117" fmla="*/ 3962400 h 3992562"/>
              <a:gd name="connsiteX118" fmla="*/ 3818675 w 4443412"/>
              <a:gd name="connsiteY118" fmla="*/ 3968750 h 3992562"/>
              <a:gd name="connsiteX119" fmla="*/ 3795654 w 4443412"/>
              <a:gd name="connsiteY119" fmla="*/ 3973909 h 3992562"/>
              <a:gd name="connsiteX120" fmla="*/ 3768664 w 4443412"/>
              <a:gd name="connsiteY120" fmla="*/ 3980259 h 3992562"/>
              <a:gd name="connsiteX121" fmla="*/ 3741277 w 4443412"/>
              <a:gd name="connsiteY121" fmla="*/ 3984625 h 3992562"/>
              <a:gd name="connsiteX122" fmla="*/ 3714287 w 4443412"/>
              <a:gd name="connsiteY122" fmla="*/ 3988197 h 3992562"/>
              <a:gd name="connsiteX123" fmla="*/ 3686901 w 4443412"/>
              <a:gd name="connsiteY123" fmla="*/ 3990578 h 3992562"/>
              <a:gd name="connsiteX124" fmla="*/ 3659117 w 4443412"/>
              <a:gd name="connsiteY124" fmla="*/ 3992165 h 3992562"/>
              <a:gd name="connsiteX125" fmla="*/ 3631730 w 4443412"/>
              <a:gd name="connsiteY125" fmla="*/ 3992562 h 3992562"/>
              <a:gd name="connsiteX126" fmla="*/ 3604343 w 4443412"/>
              <a:gd name="connsiteY126" fmla="*/ 3992562 h 3992562"/>
              <a:gd name="connsiteX127" fmla="*/ 3576560 w 4443412"/>
              <a:gd name="connsiteY127" fmla="*/ 3990975 h 3992562"/>
              <a:gd name="connsiteX128" fmla="*/ 3548379 w 4443412"/>
              <a:gd name="connsiteY128" fmla="*/ 3988990 h 3992562"/>
              <a:gd name="connsiteX129" fmla="*/ 3520595 w 4443412"/>
              <a:gd name="connsiteY129" fmla="*/ 3986609 h 3992562"/>
              <a:gd name="connsiteX130" fmla="*/ 3492415 w 4443412"/>
              <a:gd name="connsiteY130" fmla="*/ 3982640 h 3992562"/>
              <a:gd name="connsiteX131" fmla="*/ 3464631 w 4443412"/>
              <a:gd name="connsiteY131" fmla="*/ 3978672 h 3992562"/>
              <a:gd name="connsiteX132" fmla="*/ 3436053 w 4443412"/>
              <a:gd name="connsiteY132" fmla="*/ 3973115 h 3992562"/>
              <a:gd name="connsiteX133" fmla="*/ 3407476 w 4443412"/>
              <a:gd name="connsiteY133" fmla="*/ 3967559 h 3992562"/>
              <a:gd name="connsiteX134" fmla="*/ 3379295 w 4443412"/>
              <a:gd name="connsiteY134" fmla="*/ 3961209 h 3992562"/>
              <a:gd name="connsiteX135" fmla="*/ 3350321 w 4443412"/>
              <a:gd name="connsiteY135" fmla="*/ 3954065 h 3992562"/>
              <a:gd name="connsiteX136" fmla="*/ 3321346 w 4443412"/>
              <a:gd name="connsiteY136" fmla="*/ 3946128 h 3992562"/>
              <a:gd name="connsiteX137" fmla="*/ 3291975 w 4443412"/>
              <a:gd name="connsiteY137" fmla="*/ 3938190 h 3992562"/>
              <a:gd name="connsiteX138" fmla="*/ 3263001 w 4443412"/>
              <a:gd name="connsiteY138" fmla="*/ 3929062 h 3992562"/>
              <a:gd name="connsiteX139" fmla="*/ 3233232 w 4443412"/>
              <a:gd name="connsiteY139" fmla="*/ 3919537 h 3992562"/>
              <a:gd name="connsiteX140" fmla="*/ 3203464 w 4443412"/>
              <a:gd name="connsiteY140" fmla="*/ 3910012 h 3992562"/>
              <a:gd name="connsiteX141" fmla="*/ 3173299 w 4443412"/>
              <a:gd name="connsiteY141" fmla="*/ 3899693 h 3992562"/>
              <a:gd name="connsiteX142" fmla="*/ 3112571 w 4443412"/>
              <a:gd name="connsiteY142" fmla="*/ 3878262 h 3992562"/>
              <a:gd name="connsiteX143" fmla="*/ 3051050 w 4443412"/>
              <a:gd name="connsiteY143" fmla="*/ 3855243 h 3992562"/>
              <a:gd name="connsiteX144" fmla="*/ 2988735 w 4443412"/>
              <a:gd name="connsiteY144" fmla="*/ 3831034 h 3992562"/>
              <a:gd name="connsiteX145" fmla="*/ 2860533 w 4443412"/>
              <a:gd name="connsiteY145" fmla="*/ 3780631 h 3992562"/>
              <a:gd name="connsiteX146" fmla="*/ 818429 w 4443412"/>
              <a:gd name="connsiteY146" fmla="*/ 2887662 h 3992562"/>
              <a:gd name="connsiteX147" fmla="*/ 753733 w 4443412"/>
              <a:gd name="connsiteY147" fmla="*/ 2858294 h 3992562"/>
              <a:gd name="connsiteX148" fmla="*/ 686655 w 4443412"/>
              <a:gd name="connsiteY148" fmla="*/ 2828131 h 3992562"/>
              <a:gd name="connsiteX149" fmla="*/ 617593 w 4443412"/>
              <a:gd name="connsiteY149" fmla="*/ 2797175 h 3992562"/>
              <a:gd name="connsiteX150" fmla="*/ 582665 w 4443412"/>
              <a:gd name="connsiteY150" fmla="*/ 2781300 h 3992562"/>
              <a:gd name="connsiteX151" fmla="*/ 548133 w 4443412"/>
              <a:gd name="connsiteY151" fmla="*/ 2765425 h 3992562"/>
              <a:gd name="connsiteX152" fmla="*/ 513205 w 4443412"/>
              <a:gd name="connsiteY152" fmla="*/ 2748359 h 3992562"/>
              <a:gd name="connsiteX153" fmla="*/ 479071 w 4443412"/>
              <a:gd name="connsiteY153" fmla="*/ 2730897 h 3992562"/>
              <a:gd name="connsiteX154" fmla="*/ 444937 w 4443412"/>
              <a:gd name="connsiteY154" fmla="*/ 2712640 h 3992562"/>
              <a:gd name="connsiteX155" fmla="*/ 410803 w 4443412"/>
              <a:gd name="connsiteY155" fmla="*/ 2694384 h 3992562"/>
              <a:gd name="connsiteX156" fmla="*/ 377859 w 4443412"/>
              <a:gd name="connsiteY156" fmla="*/ 2675334 h 3992562"/>
              <a:gd name="connsiteX157" fmla="*/ 345709 w 4443412"/>
              <a:gd name="connsiteY157" fmla="*/ 2655490 h 3992562"/>
              <a:gd name="connsiteX158" fmla="*/ 313559 w 4443412"/>
              <a:gd name="connsiteY158" fmla="*/ 2634853 h 3992562"/>
              <a:gd name="connsiteX159" fmla="*/ 298080 w 4443412"/>
              <a:gd name="connsiteY159" fmla="*/ 2623740 h 3992562"/>
              <a:gd name="connsiteX160" fmla="*/ 282600 w 4443412"/>
              <a:gd name="connsiteY160" fmla="*/ 2613422 h 3992562"/>
              <a:gd name="connsiteX161" fmla="*/ 267518 w 4443412"/>
              <a:gd name="connsiteY161" fmla="*/ 2602309 h 3992562"/>
              <a:gd name="connsiteX162" fmla="*/ 252832 w 4443412"/>
              <a:gd name="connsiteY162" fmla="*/ 2590800 h 3992562"/>
              <a:gd name="connsiteX163" fmla="*/ 238146 w 4443412"/>
              <a:gd name="connsiteY163" fmla="*/ 2579290 h 3992562"/>
              <a:gd name="connsiteX164" fmla="*/ 223858 w 4443412"/>
              <a:gd name="connsiteY164" fmla="*/ 2567781 h 3992562"/>
              <a:gd name="connsiteX165" fmla="*/ 209569 w 4443412"/>
              <a:gd name="connsiteY165" fmla="*/ 2555875 h 3992562"/>
              <a:gd name="connsiteX166" fmla="*/ 196074 w 4443412"/>
              <a:gd name="connsiteY166" fmla="*/ 2543572 h 3992562"/>
              <a:gd name="connsiteX167" fmla="*/ 182579 w 4443412"/>
              <a:gd name="connsiteY167" fmla="*/ 2530872 h 3992562"/>
              <a:gd name="connsiteX168" fmla="*/ 169878 w 4443412"/>
              <a:gd name="connsiteY168" fmla="*/ 2518569 h 3992562"/>
              <a:gd name="connsiteX169" fmla="*/ 157177 w 4443412"/>
              <a:gd name="connsiteY169" fmla="*/ 2505472 h 3992562"/>
              <a:gd name="connsiteX170" fmla="*/ 144873 w 4443412"/>
              <a:gd name="connsiteY170" fmla="*/ 2491978 h 3992562"/>
              <a:gd name="connsiteX171" fmla="*/ 133362 w 4443412"/>
              <a:gd name="connsiteY171" fmla="*/ 2478484 h 3992562"/>
              <a:gd name="connsiteX172" fmla="*/ 121852 w 4443412"/>
              <a:gd name="connsiteY172" fmla="*/ 2464594 h 3992562"/>
              <a:gd name="connsiteX173" fmla="*/ 110738 w 4443412"/>
              <a:gd name="connsiteY173" fmla="*/ 2450703 h 3992562"/>
              <a:gd name="connsiteX174" fmla="*/ 100419 w 4443412"/>
              <a:gd name="connsiteY174" fmla="*/ 2436019 h 3992562"/>
              <a:gd name="connsiteX175" fmla="*/ 89702 w 4443412"/>
              <a:gd name="connsiteY175" fmla="*/ 2421731 h 3992562"/>
              <a:gd name="connsiteX176" fmla="*/ 80573 w 4443412"/>
              <a:gd name="connsiteY176" fmla="*/ 2406650 h 3992562"/>
              <a:gd name="connsiteX177" fmla="*/ 71047 w 4443412"/>
              <a:gd name="connsiteY177" fmla="*/ 2391172 h 3992562"/>
              <a:gd name="connsiteX178" fmla="*/ 62315 w 4443412"/>
              <a:gd name="connsiteY178" fmla="*/ 2375297 h 3992562"/>
              <a:gd name="connsiteX179" fmla="*/ 54377 w 4443412"/>
              <a:gd name="connsiteY179" fmla="*/ 2359025 h 3992562"/>
              <a:gd name="connsiteX180" fmla="*/ 46439 w 4443412"/>
              <a:gd name="connsiteY180" fmla="*/ 2343150 h 3992562"/>
              <a:gd name="connsiteX181" fmla="*/ 39294 w 4443412"/>
              <a:gd name="connsiteY181" fmla="*/ 2326084 h 3992562"/>
              <a:gd name="connsiteX182" fmla="*/ 32944 w 4443412"/>
              <a:gd name="connsiteY182" fmla="*/ 2309415 h 3992562"/>
              <a:gd name="connsiteX183" fmla="*/ 26990 w 4443412"/>
              <a:gd name="connsiteY183" fmla="*/ 2292350 h 3992562"/>
              <a:gd name="connsiteX184" fmla="*/ 21433 w 4443412"/>
              <a:gd name="connsiteY184" fmla="*/ 2274094 h 3992562"/>
              <a:gd name="connsiteX185" fmla="*/ 16670 w 4443412"/>
              <a:gd name="connsiteY185" fmla="*/ 2256234 h 3992562"/>
              <a:gd name="connsiteX186" fmla="*/ 11908 w 4443412"/>
              <a:gd name="connsiteY186" fmla="*/ 2237978 h 3992562"/>
              <a:gd name="connsiteX187" fmla="*/ 8335 w 4443412"/>
              <a:gd name="connsiteY187" fmla="*/ 2218928 h 3992562"/>
              <a:gd name="connsiteX188" fmla="*/ 5557 w 4443412"/>
              <a:gd name="connsiteY188" fmla="*/ 2199878 h 3992562"/>
              <a:gd name="connsiteX189" fmla="*/ 3176 w 4443412"/>
              <a:gd name="connsiteY189" fmla="*/ 2180034 h 3992562"/>
              <a:gd name="connsiteX190" fmla="*/ 1588 w 4443412"/>
              <a:gd name="connsiteY190" fmla="*/ 2159794 h 3992562"/>
              <a:gd name="connsiteX191" fmla="*/ 397 w 4443412"/>
              <a:gd name="connsiteY191" fmla="*/ 2139553 h 3992562"/>
              <a:gd name="connsiteX192" fmla="*/ 0 w 4443412"/>
              <a:gd name="connsiteY192" fmla="*/ 2118915 h 3992562"/>
              <a:gd name="connsiteX193" fmla="*/ 0 w 4443412"/>
              <a:gd name="connsiteY193" fmla="*/ 1397794 h 3992562"/>
              <a:gd name="connsiteX194" fmla="*/ 0 w 4443412"/>
              <a:gd name="connsiteY194" fmla="*/ 1352153 h 3992562"/>
              <a:gd name="connsiteX195" fmla="*/ 397 w 4443412"/>
              <a:gd name="connsiteY195" fmla="*/ 1307703 h 3992562"/>
              <a:gd name="connsiteX196" fmla="*/ 1985 w 4443412"/>
              <a:gd name="connsiteY196" fmla="*/ 1263253 h 3992562"/>
              <a:gd name="connsiteX197" fmla="*/ 3572 w 4443412"/>
              <a:gd name="connsiteY197" fmla="*/ 1219200 h 3992562"/>
              <a:gd name="connsiteX198" fmla="*/ 6351 w 4443412"/>
              <a:gd name="connsiteY198" fmla="*/ 1176338 h 3992562"/>
              <a:gd name="connsiteX199" fmla="*/ 8335 w 4443412"/>
              <a:gd name="connsiteY199" fmla="*/ 1154509 h 3992562"/>
              <a:gd name="connsiteX200" fmla="*/ 10320 w 4443412"/>
              <a:gd name="connsiteY200" fmla="*/ 1133475 h 3992562"/>
              <a:gd name="connsiteX201" fmla="*/ 13098 w 4443412"/>
              <a:gd name="connsiteY201" fmla="*/ 1112044 h 3992562"/>
              <a:gd name="connsiteX202" fmla="*/ 15877 w 4443412"/>
              <a:gd name="connsiteY202" fmla="*/ 1091009 h 3992562"/>
              <a:gd name="connsiteX203" fmla="*/ 19052 w 4443412"/>
              <a:gd name="connsiteY203" fmla="*/ 1069975 h 3992562"/>
              <a:gd name="connsiteX204" fmla="*/ 23021 w 4443412"/>
              <a:gd name="connsiteY204" fmla="*/ 1048941 h 3992562"/>
              <a:gd name="connsiteX205" fmla="*/ 26990 w 4443412"/>
              <a:gd name="connsiteY205" fmla="*/ 1027906 h 3992562"/>
              <a:gd name="connsiteX206" fmla="*/ 31356 w 4443412"/>
              <a:gd name="connsiteY206" fmla="*/ 1007666 h 3992562"/>
              <a:gd name="connsiteX207" fmla="*/ 36516 w 4443412"/>
              <a:gd name="connsiteY207" fmla="*/ 986631 h 3992562"/>
              <a:gd name="connsiteX208" fmla="*/ 42073 w 4443412"/>
              <a:gd name="connsiteY208" fmla="*/ 965994 h 3992562"/>
              <a:gd name="connsiteX209" fmla="*/ 48026 w 4443412"/>
              <a:gd name="connsiteY209" fmla="*/ 945753 h 3992562"/>
              <a:gd name="connsiteX210" fmla="*/ 54377 w 4443412"/>
              <a:gd name="connsiteY210" fmla="*/ 925513 h 3992562"/>
              <a:gd name="connsiteX211" fmla="*/ 61918 w 4443412"/>
              <a:gd name="connsiteY211" fmla="*/ 905272 h 3992562"/>
              <a:gd name="connsiteX212" fmla="*/ 69856 w 4443412"/>
              <a:gd name="connsiteY212" fmla="*/ 885031 h 3992562"/>
              <a:gd name="connsiteX213" fmla="*/ 77795 w 4443412"/>
              <a:gd name="connsiteY213" fmla="*/ 865188 h 3992562"/>
              <a:gd name="connsiteX214" fmla="*/ 87321 w 4443412"/>
              <a:gd name="connsiteY214" fmla="*/ 845344 h 3992562"/>
              <a:gd name="connsiteX215" fmla="*/ 96846 w 4443412"/>
              <a:gd name="connsiteY215" fmla="*/ 825500 h 3992562"/>
              <a:gd name="connsiteX216" fmla="*/ 107166 w 4443412"/>
              <a:gd name="connsiteY216" fmla="*/ 805656 h 3992562"/>
              <a:gd name="connsiteX217" fmla="*/ 118676 w 4443412"/>
              <a:gd name="connsiteY217" fmla="*/ 786209 h 3992562"/>
              <a:gd name="connsiteX218" fmla="*/ 130981 w 4443412"/>
              <a:gd name="connsiteY218" fmla="*/ 766763 h 3992562"/>
              <a:gd name="connsiteX219" fmla="*/ 143285 w 4443412"/>
              <a:gd name="connsiteY219" fmla="*/ 747713 h 3992562"/>
              <a:gd name="connsiteX220" fmla="*/ 156780 w 4443412"/>
              <a:gd name="connsiteY220" fmla="*/ 728266 h 3992562"/>
              <a:gd name="connsiteX221" fmla="*/ 166703 w 4443412"/>
              <a:gd name="connsiteY221" fmla="*/ 715169 h 3992562"/>
              <a:gd name="connsiteX222" fmla="*/ 176625 w 4443412"/>
              <a:gd name="connsiteY222" fmla="*/ 702469 h 3992562"/>
              <a:gd name="connsiteX223" fmla="*/ 187342 w 4443412"/>
              <a:gd name="connsiteY223" fmla="*/ 689769 h 3992562"/>
              <a:gd name="connsiteX224" fmla="*/ 197265 w 4443412"/>
              <a:gd name="connsiteY224" fmla="*/ 677863 h 3992562"/>
              <a:gd name="connsiteX225" fmla="*/ 208378 w 4443412"/>
              <a:gd name="connsiteY225" fmla="*/ 666353 h 3992562"/>
              <a:gd name="connsiteX226" fmla="*/ 219095 w 4443412"/>
              <a:gd name="connsiteY226" fmla="*/ 654844 h 3992562"/>
              <a:gd name="connsiteX227" fmla="*/ 230208 w 4443412"/>
              <a:gd name="connsiteY227" fmla="*/ 643731 h 3992562"/>
              <a:gd name="connsiteX228" fmla="*/ 241322 w 4443412"/>
              <a:gd name="connsiteY228" fmla="*/ 633016 h 3992562"/>
              <a:gd name="connsiteX229" fmla="*/ 252832 w 4443412"/>
              <a:gd name="connsiteY229" fmla="*/ 622697 h 3992562"/>
              <a:gd name="connsiteX230" fmla="*/ 264343 w 4443412"/>
              <a:gd name="connsiteY230" fmla="*/ 612378 h 3992562"/>
              <a:gd name="connsiteX231" fmla="*/ 276250 w 4443412"/>
              <a:gd name="connsiteY231" fmla="*/ 602853 h 3992562"/>
              <a:gd name="connsiteX232" fmla="*/ 288157 w 4443412"/>
              <a:gd name="connsiteY232" fmla="*/ 593328 h 3992562"/>
              <a:gd name="connsiteX233" fmla="*/ 300065 w 4443412"/>
              <a:gd name="connsiteY233" fmla="*/ 583803 h 3992562"/>
              <a:gd name="connsiteX234" fmla="*/ 312766 w 4443412"/>
              <a:gd name="connsiteY234" fmla="*/ 575072 h 3992562"/>
              <a:gd name="connsiteX235" fmla="*/ 325070 w 4443412"/>
              <a:gd name="connsiteY235" fmla="*/ 566341 h 3992562"/>
              <a:gd name="connsiteX236" fmla="*/ 337374 w 4443412"/>
              <a:gd name="connsiteY236" fmla="*/ 558006 h 3992562"/>
              <a:gd name="connsiteX237" fmla="*/ 350472 w 4443412"/>
              <a:gd name="connsiteY237" fmla="*/ 550069 h 3992562"/>
              <a:gd name="connsiteX238" fmla="*/ 363570 w 4443412"/>
              <a:gd name="connsiteY238" fmla="*/ 542131 h 3992562"/>
              <a:gd name="connsiteX239" fmla="*/ 390163 w 4443412"/>
              <a:gd name="connsiteY239" fmla="*/ 527050 h 3992562"/>
              <a:gd name="connsiteX240" fmla="*/ 417153 w 4443412"/>
              <a:gd name="connsiteY240" fmla="*/ 513159 h 3992562"/>
              <a:gd name="connsiteX241" fmla="*/ 444540 w 4443412"/>
              <a:gd name="connsiteY241" fmla="*/ 499666 h 3992562"/>
              <a:gd name="connsiteX242" fmla="*/ 472324 w 4443412"/>
              <a:gd name="connsiteY242" fmla="*/ 487363 h 3992562"/>
              <a:gd name="connsiteX243" fmla="*/ 500504 w 4443412"/>
              <a:gd name="connsiteY243" fmla="*/ 475853 h 3992562"/>
              <a:gd name="connsiteX244" fmla="*/ 529479 w 4443412"/>
              <a:gd name="connsiteY244" fmla="*/ 465534 h 3992562"/>
              <a:gd name="connsiteX245" fmla="*/ 558850 w 4443412"/>
              <a:gd name="connsiteY245" fmla="*/ 455613 h 3992562"/>
              <a:gd name="connsiteX246" fmla="*/ 588221 w 4443412"/>
              <a:gd name="connsiteY246" fmla="*/ 446088 h 3992562"/>
              <a:gd name="connsiteX247" fmla="*/ 618387 w 4443412"/>
              <a:gd name="connsiteY247" fmla="*/ 437753 h 3992562"/>
              <a:gd name="connsiteX248" fmla="*/ 648155 w 4443412"/>
              <a:gd name="connsiteY248" fmla="*/ 429022 h 3992562"/>
              <a:gd name="connsiteX249" fmla="*/ 678717 w 4443412"/>
              <a:gd name="connsiteY249" fmla="*/ 421481 h 3992562"/>
              <a:gd name="connsiteX250" fmla="*/ 709279 w 4443412"/>
              <a:gd name="connsiteY250" fmla="*/ 414734 h 3992562"/>
              <a:gd name="connsiteX251" fmla="*/ 740238 w 4443412"/>
              <a:gd name="connsiteY251" fmla="*/ 407988 h 3992562"/>
              <a:gd name="connsiteX252" fmla="*/ 771197 w 4443412"/>
              <a:gd name="connsiteY252" fmla="*/ 401638 h 3992562"/>
              <a:gd name="connsiteX253" fmla="*/ 802156 w 4443412"/>
              <a:gd name="connsiteY253" fmla="*/ 395684 h 3992562"/>
              <a:gd name="connsiteX254" fmla="*/ 864471 w 4443412"/>
              <a:gd name="connsiteY254" fmla="*/ 384572 h 3992562"/>
              <a:gd name="connsiteX255" fmla="*/ 926786 w 4443412"/>
              <a:gd name="connsiteY255" fmla="*/ 374650 h 3992562"/>
              <a:gd name="connsiteX256" fmla="*/ 1050622 w 4443412"/>
              <a:gd name="connsiteY256" fmla="*/ 354806 h 3992562"/>
              <a:gd name="connsiteX257" fmla="*/ 3575766 w 4443412"/>
              <a:gd name="connsiteY257" fmla="*/ 5160 h 3992562"/>
              <a:gd name="connsiteX258" fmla="*/ 3594817 w 4443412"/>
              <a:gd name="connsiteY258" fmla="*/ 3175 h 3992562"/>
              <a:gd name="connsiteX259" fmla="*/ 3613472 w 4443412"/>
              <a:gd name="connsiteY259" fmla="*/ 1588 h 3992562"/>
              <a:gd name="connsiteX260" fmla="*/ 3631333 w 4443412"/>
              <a:gd name="connsiteY260" fmla="*/ 397 h 3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4443412" h="3992562">
                <a:moveTo>
                  <a:pt x="3649988" y="0"/>
                </a:moveTo>
                <a:lnTo>
                  <a:pt x="3667849" y="0"/>
                </a:lnTo>
                <a:lnTo>
                  <a:pt x="3685710" y="397"/>
                </a:lnTo>
                <a:lnTo>
                  <a:pt x="3703174" y="1588"/>
                </a:lnTo>
                <a:lnTo>
                  <a:pt x="3720638" y="2381"/>
                </a:lnTo>
                <a:lnTo>
                  <a:pt x="3737705" y="4366"/>
                </a:lnTo>
                <a:lnTo>
                  <a:pt x="3755169" y="7144"/>
                </a:lnTo>
                <a:lnTo>
                  <a:pt x="3771839" y="9525"/>
                </a:lnTo>
                <a:lnTo>
                  <a:pt x="3788510" y="12303"/>
                </a:lnTo>
                <a:lnTo>
                  <a:pt x="3805180" y="16669"/>
                </a:lnTo>
                <a:lnTo>
                  <a:pt x="3821057" y="20638"/>
                </a:lnTo>
                <a:lnTo>
                  <a:pt x="3836933" y="25003"/>
                </a:lnTo>
                <a:lnTo>
                  <a:pt x="3853206" y="29369"/>
                </a:lnTo>
                <a:lnTo>
                  <a:pt x="3869083" y="34925"/>
                </a:lnTo>
                <a:lnTo>
                  <a:pt x="3884165" y="40481"/>
                </a:lnTo>
                <a:lnTo>
                  <a:pt x="3899645" y="46434"/>
                </a:lnTo>
                <a:lnTo>
                  <a:pt x="3914331" y="52784"/>
                </a:lnTo>
                <a:lnTo>
                  <a:pt x="3929016" y="59928"/>
                </a:lnTo>
                <a:lnTo>
                  <a:pt x="3943305" y="67072"/>
                </a:lnTo>
                <a:lnTo>
                  <a:pt x="3957991" y="74613"/>
                </a:lnTo>
                <a:lnTo>
                  <a:pt x="3971883" y="82550"/>
                </a:lnTo>
                <a:lnTo>
                  <a:pt x="3985774" y="90885"/>
                </a:lnTo>
                <a:lnTo>
                  <a:pt x="3999269" y="100013"/>
                </a:lnTo>
                <a:lnTo>
                  <a:pt x="4012764" y="108744"/>
                </a:lnTo>
                <a:lnTo>
                  <a:pt x="4025862" y="118269"/>
                </a:lnTo>
                <a:lnTo>
                  <a:pt x="4038167" y="127794"/>
                </a:lnTo>
                <a:lnTo>
                  <a:pt x="4050867" y="137716"/>
                </a:lnTo>
                <a:lnTo>
                  <a:pt x="4063172" y="148431"/>
                </a:lnTo>
                <a:lnTo>
                  <a:pt x="4075476" y="159147"/>
                </a:lnTo>
                <a:lnTo>
                  <a:pt x="4087383" y="170259"/>
                </a:lnTo>
                <a:lnTo>
                  <a:pt x="4098894" y="181769"/>
                </a:lnTo>
                <a:lnTo>
                  <a:pt x="4109610" y="193278"/>
                </a:lnTo>
                <a:lnTo>
                  <a:pt x="4120724" y="205184"/>
                </a:lnTo>
                <a:lnTo>
                  <a:pt x="4131043" y="217884"/>
                </a:lnTo>
                <a:lnTo>
                  <a:pt x="4141760" y="230188"/>
                </a:lnTo>
                <a:lnTo>
                  <a:pt x="4151683" y="243284"/>
                </a:lnTo>
                <a:lnTo>
                  <a:pt x="4161605" y="256381"/>
                </a:lnTo>
                <a:lnTo>
                  <a:pt x="4171131" y="269875"/>
                </a:lnTo>
                <a:lnTo>
                  <a:pt x="4180261" y="283766"/>
                </a:lnTo>
                <a:lnTo>
                  <a:pt x="4188993" y="297656"/>
                </a:lnTo>
                <a:lnTo>
                  <a:pt x="4197725" y="312341"/>
                </a:lnTo>
                <a:lnTo>
                  <a:pt x="4206059" y="326628"/>
                </a:lnTo>
                <a:lnTo>
                  <a:pt x="4213998" y="341313"/>
                </a:lnTo>
                <a:lnTo>
                  <a:pt x="4221539" y="355997"/>
                </a:lnTo>
                <a:lnTo>
                  <a:pt x="4229081" y="371475"/>
                </a:lnTo>
                <a:lnTo>
                  <a:pt x="4236225" y="386953"/>
                </a:lnTo>
                <a:lnTo>
                  <a:pt x="4242575" y="403225"/>
                </a:lnTo>
                <a:lnTo>
                  <a:pt x="4248926" y="419100"/>
                </a:lnTo>
                <a:lnTo>
                  <a:pt x="4254879" y="434975"/>
                </a:lnTo>
                <a:lnTo>
                  <a:pt x="4260437" y="451644"/>
                </a:lnTo>
                <a:lnTo>
                  <a:pt x="4265993" y="468709"/>
                </a:lnTo>
                <a:lnTo>
                  <a:pt x="4271153" y="484981"/>
                </a:lnTo>
                <a:lnTo>
                  <a:pt x="4275916" y="502444"/>
                </a:lnTo>
                <a:lnTo>
                  <a:pt x="4279885" y="519509"/>
                </a:lnTo>
                <a:lnTo>
                  <a:pt x="4283854" y="536972"/>
                </a:lnTo>
                <a:lnTo>
                  <a:pt x="4287823" y="554434"/>
                </a:lnTo>
                <a:lnTo>
                  <a:pt x="4290999" y="572294"/>
                </a:lnTo>
                <a:lnTo>
                  <a:pt x="4294173" y="590550"/>
                </a:lnTo>
                <a:lnTo>
                  <a:pt x="4296555" y="608806"/>
                </a:lnTo>
                <a:lnTo>
                  <a:pt x="4298539" y="627063"/>
                </a:lnTo>
                <a:lnTo>
                  <a:pt x="4300525" y="645319"/>
                </a:lnTo>
                <a:lnTo>
                  <a:pt x="4439840" y="2872581"/>
                </a:lnTo>
                <a:lnTo>
                  <a:pt x="4441825" y="2916634"/>
                </a:lnTo>
                <a:lnTo>
                  <a:pt x="4442618" y="2959100"/>
                </a:lnTo>
                <a:lnTo>
                  <a:pt x="4443412" y="3000375"/>
                </a:lnTo>
                <a:lnTo>
                  <a:pt x="4443412" y="3041650"/>
                </a:lnTo>
                <a:lnTo>
                  <a:pt x="4442618" y="3081337"/>
                </a:lnTo>
                <a:lnTo>
                  <a:pt x="4440633" y="3121025"/>
                </a:lnTo>
                <a:lnTo>
                  <a:pt x="4439443" y="3140472"/>
                </a:lnTo>
                <a:lnTo>
                  <a:pt x="4437855" y="3159918"/>
                </a:lnTo>
                <a:lnTo>
                  <a:pt x="4435871" y="3179365"/>
                </a:lnTo>
                <a:lnTo>
                  <a:pt x="4433489" y="3198812"/>
                </a:lnTo>
                <a:lnTo>
                  <a:pt x="4430711" y="3218259"/>
                </a:lnTo>
                <a:lnTo>
                  <a:pt x="4427933" y="3237309"/>
                </a:lnTo>
                <a:lnTo>
                  <a:pt x="4424757" y="3256756"/>
                </a:lnTo>
                <a:lnTo>
                  <a:pt x="4420788" y="3276203"/>
                </a:lnTo>
                <a:lnTo>
                  <a:pt x="4416819" y="3295253"/>
                </a:lnTo>
                <a:lnTo>
                  <a:pt x="4412453" y="3314700"/>
                </a:lnTo>
                <a:lnTo>
                  <a:pt x="4407293" y="3334147"/>
                </a:lnTo>
                <a:lnTo>
                  <a:pt x="4401737" y="3353593"/>
                </a:lnTo>
                <a:lnTo>
                  <a:pt x="4395783" y="3373040"/>
                </a:lnTo>
                <a:lnTo>
                  <a:pt x="4389432" y="3392487"/>
                </a:lnTo>
                <a:lnTo>
                  <a:pt x="4382288" y="3412331"/>
                </a:lnTo>
                <a:lnTo>
                  <a:pt x="4374747" y="3432175"/>
                </a:lnTo>
                <a:lnTo>
                  <a:pt x="4366809" y="3452018"/>
                </a:lnTo>
                <a:lnTo>
                  <a:pt x="4358473" y="3472259"/>
                </a:lnTo>
                <a:lnTo>
                  <a:pt x="4349344" y="3492500"/>
                </a:lnTo>
                <a:lnTo>
                  <a:pt x="4339819" y="3513137"/>
                </a:lnTo>
                <a:lnTo>
                  <a:pt x="4329499" y="3534172"/>
                </a:lnTo>
                <a:lnTo>
                  <a:pt x="4318385" y="3554809"/>
                </a:lnTo>
                <a:lnTo>
                  <a:pt x="4306875" y="3575447"/>
                </a:lnTo>
                <a:lnTo>
                  <a:pt x="4294967" y="3595290"/>
                </a:lnTo>
                <a:lnTo>
                  <a:pt x="4283060" y="3615531"/>
                </a:lnTo>
                <a:lnTo>
                  <a:pt x="4269962" y="3634978"/>
                </a:lnTo>
                <a:lnTo>
                  <a:pt x="4256864" y="3654028"/>
                </a:lnTo>
                <a:lnTo>
                  <a:pt x="4242972" y="3672284"/>
                </a:lnTo>
                <a:lnTo>
                  <a:pt x="4229081" y="3690937"/>
                </a:lnTo>
                <a:lnTo>
                  <a:pt x="4214791" y="3708797"/>
                </a:lnTo>
                <a:lnTo>
                  <a:pt x="4199709" y="3726259"/>
                </a:lnTo>
                <a:lnTo>
                  <a:pt x="4184627" y="3743325"/>
                </a:lnTo>
                <a:lnTo>
                  <a:pt x="4168750" y="3760390"/>
                </a:lnTo>
                <a:lnTo>
                  <a:pt x="4152873" y="3776265"/>
                </a:lnTo>
                <a:lnTo>
                  <a:pt x="4136203" y="3792140"/>
                </a:lnTo>
                <a:lnTo>
                  <a:pt x="4119136" y="3807222"/>
                </a:lnTo>
                <a:lnTo>
                  <a:pt x="4101672" y="3822303"/>
                </a:lnTo>
                <a:lnTo>
                  <a:pt x="4083811" y="3836193"/>
                </a:lnTo>
                <a:lnTo>
                  <a:pt x="4065950" y="3850084"/>
                </a:lnTo>
                <a:lnTo>
                  <a:pt x="4047295" y="3863181"/>
                </a:lnTo>
                <a:lnTo>
                  <a:pt x="4028244" y="3875484"/>
                </a:lnTo>
                <a:lnTo>
                  <a:pt x="4008795" y="3888184"/>
                </a:lnTo>
                <a:lnTo>
                  <a:pt x="3989347" y="3899693"/>
                </a:lnTo>
                <a:lnTo>
                  <a:pt x="3969501" y="3910012"/>
                </a:lnTo>
                <a:lnTo>
                  <a:pt x="3948862" y="3920728"/>
                </a:lnTo>
                <a:lnTo>
                  <a:pt x="3927825" y="3930253"/>
                </a:lnTo>
                <a:lnTo>
                  <a:pt x="3907186" y="3938984"/>
                </a:lnTo>
                <a:lnTo>
                  <a:pt x="3885356" y="3947715"/>
                </a:lnTo>
                <a:lnTo>
                  <a:pt x="3863526" y="3955256"/>
                </a:lnTo>
                <a:lnTo>
                  <a:pt x="3840902" y="3962400"/>
                </a:lnTo>
                <a:lnTo>
                  <a:pt x="3818675" y="3968750"/>
                </a:lnTo>
                <a:lnTo>
                  <a:pt x="3795654" y="3973909"/>
                </a:lnTo>
                <a:lnTo>
                  <a:pt x="3768664" y="3980259"/>
                </a:lnTo>
                <a:lnTo>
                  <a:pt x="3741277" y="3984625"/>
                </a:lnTo>
                <a:lnTo>
                  <a:pt x="3714287" y="3988197"/>
                </a:lnTo>
                <a:lnTo>
                  <a:pt x="3686901" y="3990578"/>
                </a:lnTo>
                <a:lnTo>
                  <a:pt x="3659117" y="3992165"/>
                </a:lnTo>
                <a:lnTo>
                  <a:pt x="3631730" y="3992562"/>
                </a:lnTo>
                <a:lnTo>
                  <a:pt x="3604343" y="3992562"/>
                </a:lnTo>
                <a:lnTo>
                  <a:pt x="3576560" y="3990975"/>
                </a:lnTo>
                <a:lnTo>
                  <a:pt x="3548379" y="3988990"/>
                </a:lnTo>
                <a:lnTo>
                  <a:pt x="3520595" y="3986609"/>
                </a:lnTo>
                <a:lnTo>
                  <a:pt x="3492415" y="3982640"/>
                </a:lnTo>
                <a:lnTo>
                  <a:pt x="3464631" y="3978672"/>
                </a:lnTo>
                <a:lnTo>
                  <a:pt x="3436053" y="3973115"/>
                </a:lnTo>
                <a:lnTo>
                  <a:pt x="3407476" y="3967559"/>
                </a:lnTo>
                <a:lnTo>
                  <a:pt x="3379295" y="3961209"/>
                </a:lnTo>
                <a:lnTo>
                  <a:pt x="3350321" y="3954065"/>
                </a:lnTo>
                <a:lnTo>
                  <a:pt x="3321346" y="3946128"/>
                </a:lnTo>
                <a:lnTo>
                  <a:pt x="3291975" y="3938190"/>
                </a:lnTo>
                <a:lnTo>
                  <a:pt x="3263001" y="3929062"/>
                </a:lnTo>
                <a:lnTo>
                  <a:pt x="3233232" y="3919537"/>
                </a:lnTo>
                <a:lnTo>
                  <a:pt x="3203464" y="3910012"/>
                </a:lnTo>
                <a:lnTo>
                  <a:pt x="3173299" y="3899693"/>
                </a:lnTo>
                <a:lnTo>
                  <a:pt x="3112571" y="3878262"/>
                </a:lnTo>
                <a:lnTo>
                  <a:pt x="3051050" y="3855243"/>
                </a:lnTo>
                <a:lnTo>
                  <a:pt x="2988735" y="3831034"/>
                </a:lnTo>
                <a:lnTo>
                  <a:pt x="2860533" y="3780631"/>
                </a:lnTo>
                <a:lnTo>
                  <a:pt x="818429" y="2887662"/>
                </a:lnTo>
                <a:lnTo>
                  <a:pt x="753733" y="2858294"/>
                </a:lnTo>
                <a:lnTo>
                  <a:pt x="686655" y="2828131"/>
                </a:lnTo>
                <a:lnTo>
                  <a:pt x="617593" y="2797175"/>
                </a:lnTo>
                <a:lnTo>
                  <a:pt x="582665" y="2781300"/>
                </a:lnTo>
                <a:lnTo>
                  <a:pt x="548133" y="2765425"/>
                </a:lnTo>
                <a:lnTo>
                  <a:pt x="513205" y="2748359"/>
                </a:lnTo>
                <a:lnTo>
                  <a:pt x="479071" y="2730897"/>
                </a:lnTo>
                <a:lnTo>
                  <a:pt x="444937" y="2712640"/>
                </a:lnTo>
                <a:lnTo>
                  <a:pt x="410803" y="2694384"/>
                </a:lnTo>
                <a:lnTo>
                  <a:pt x="377859" y="2675334"/>
                </a:lnTo>
                <a:lnTo>
                  <a:pt x="345709" y="2655490"/>
                </a:lnTo>
                <a:lnTo>
                  <a:pt x="313559" y="2634853"/>
                </a:lnTo>
                <a:lnTo>
                  <a:pt x="298080" y="2623740"/>
                </a:lnTo>
                <a:lnTo>
                  <a:pt x="282600" y="2613422"/>
                </a:lnTo>
                <a:lnTo>
                  <a:pt x="267518" y="2602309"/>
                </a:lnTo>
                <a:lnTo>
                  <a:pt x="252832" y="2590800"/>
                </a:lnTo>
                <a:lnTo>
                  <a:pt x="238146" y="2579290"/>
                </a:lnTo>
                <a:lnTo>
                  <a:pt x="223858" y="2567781"/>
                </a:lnTo>
                <a:lnTo>
                  <a:pt x="209569" y="2555875"/>
                </a:lnTo>
                <a:lnTo>
                  <a:pt x="196074" y="2543572"/>
                </a:lnTo>
                <a:lnTo>
                  <a:pt x="182579" y="2530872"/>
                </a:lnTo>
                <a:lnTo>
                  <a:pt x="169878" y="2518569"/>
                </a:lnTo>
                <a:lnTo>
                  <a:pt x="157177" y="2505472"/>
                </a:lnTo>
                <a:lnTo>
                  <a:pt x="144873" y="2491978"/>
                </a:lnTo>
                <a:lnTo>
                  <a:pt x="133362" y="2478484"/>
                </a:lnTo>
                <a:lnTo>
                  <a:pt x="121852" y="2464594"/>
                </a:lnTo>
                <a:lnTo>
                  <a:pt x="110738" y="2450703"/>
                </a:lnTo>
                <a:lnTo>
                  <a:pt x="100419" y="2436019"/>
                </a:lnTo>
                <a:lnTo>
                  <a:pt x="89702" y="2421731"/>
                </a:lnTo>
                <a:lnTo>
                  <a:pt x="80573" y="2406650"/>
                </a:lnTo>
                <a:lnTo>
                  <a:pt x="71047" y="2391172"/>
                </a:lnTo>
                <a:lnTo>
                  <a:pt x="62315" y="2375297"/>
                </a:lnTo>
                <a:lnTo>
                  <a:pt x="54377" y="2359025"/>
                </a:lnTo>
                <a:lnTo>
                  <a:pt x="46439" y="2343150"/>
                </a:lnTo>
                <a:lnTo>
                  <a:pt x="39294" y="2326084"/>
                </a:lnTo>
                <a:lnTo>
                  <a:pt x="32944" y="2309415"/>
                </a:lnTo>
                <a:lnTo>
                  <a:pt x="26990" y="2292350"/>
                </a:lnTo>
                <a:lnTo>
                  <a:pt x="21433" y="2274094"/>
                </a:lnTo>
                <a:lnTo>
                  <a:pt x="16670" y="2256234"/>
                </a:lnTo>
                <a:lnTo>
                  <a:pt x="11908" y="2237978"/>
                </a:lnTo>
                <a:lnTo>
                  <a:pt x="8335" y="2218928"/>
                </a:lnTo>
                <a:lnTo>
                  <a:pt x="5557" y="2199878"/>
                </a:lnTo>
                <a:lnTo>
                  <a:pt x="3176" y="2180034"/>
                </a:lnTo>
                <a:lnTo>
                  <a:pt x="1588" y="2159794"/>
                </a:lnTo>
                <a:lnTo>
                  <a:pt x="397" y="2139553"/>
                </a:lnTo>
                <a:lnTo>
                  <a:pt x="0" y="2118915"/>
                </a:lnTo>
                <a:lnTo>
                  <a:pt x="0" y="1397794"/>
                </a:lnTo>
                <a:lnTo>
                  <a:pt x="0" y="1352153"/>
                </a:lnTo>
                <a:lnTo>
                  <a:pt x="397" y="1307703"/>
                </a:lnTo>
                <a:lnTo>
                  <a:pt x="1985" y="1263253"/>
                </a:lnTo>
                <a:lnTo>
                  <a:pt x="3572" y="1219200"/>
                </a:lnTo>
                <a:lnTo>
                  <a:pt x="6351" y="1176338"/>
                </a:lnTo>
                <a:lnTo>
                  <a:pt x="8335" y="1154509"/>
                </a:lnTo>
                <a:lnTo>
                  <a:pt x="10320" y="1133475"/>
                </a:lnTo>
                <a:lnTo>
                  <a:pt x="13098" y="1112044"/>
                </a:lnTo>
                <a:lnTo>
                  <a:pt x="15877" y="1091009"/>
                </a:lnTo>
                <a:lnTo>
                  <a:pt x="19052" y="1069975"/>
                </a:lnTo>
                <a:lnTo>
                  <a:pt x="23021" y="1048941"/>
                </a:lnTo>
                <a:lnTo>
                  <a:pt x="26990" y="1027906"/>
                </a:lnTo>
                <a:lnTo>
                  <a:pt x="31356" y="1007666"/>
                </a:lnTo>
                <a:lnTo>
                  <a:pt x="36516" y="986631"/>
                </a:lnTo>
                <a:lnTo>
                  <a:pt x="42073" y="965994"/>
                </a:lnTo>
                <a:lnTo>
                  <a:pt x="48026" y="945753"/>
                </a:lnTo>
                <a:lnTo>
                  <a:pt x="54377" y="925513"/>
                </a:lnTo>
                <a:lnTo>
                  <a:pt x="61918" y="905272"/>
                </a:lnTo>
                <a:lnTo>
                  <a:pt x="69856" y="885031"/>
                </a:lnTo>
                <a:lnTo>
                  <a:pt x="77795" y="865188"/>
                </a:lnTo>
                <a:lnTo>
                  <a:pt x="87321" y="845344"/>
                </a:lnTo>
                <a:lnTo>
                  <a:pt x="96846" y="825500"/>
                </a:lnTo>
                <a:lnTo>
                  <a:pt x="107166" y="805656"/>
                </a:lnTo>
                <a:lnTo>
                  <a:pt x="118676" y="786209"/>
                </a:lnTo>
                <a:lnTo>
                  <a:pt x="130981" y="766763"/>
                </a:lnTo>
                <a:lnTo>
                  <a:pt x="143285" y="747713"/>
                </a:lnTo>
                <a:lnTo>
                  <a:pt x="156780" y="728266"/>
                </a:lnTo>
                <a:lnTo>
                  <a:pt x="166703" y="715169"/>
                </a:lnTo>
                <a:lnTo>
                  <a:pt x="176625" y="702469"/>
                </a:lnTo>
                <a:lnTo>
                  <a:pt x="187342" y="689769"/>
                </a:lnTo>
                <a:lnTo>
                  <a:pt x="197265" y="677863"/>
                </a:lnTo>
                <a:lnTo>
                  <a:pt x="208378" y="666353"/>
                </a:lnTo>
                <a:lnTo>
                  <a:pt x="219095" y="654844"/>
                </a:lnTo>
                <a:lnTo>
                  <a:pt x="230208" y="643731"/>
                </a:lnTo>
                <a:lnTo>
                  <a:pt x="241322" y="633016"/>
                </a:lnTo>
                <a:lnTo>
                  <a:pt x="252832" y="622697"/>
                </a:lnTo>
                <a:lnTo>
                  <a:pt x="264343" y="612378"/>
                </a:lnTo>
                <a:lnTo>
                  <a:pt x="276250" y="602853"/>
                </a:lnTo>
                <a:lnTo>
                  <a:pt x="288157" y="593328"/>
                </a:lnTo>
                <a:lnTo>
                  <a:pt x="300065" y="583803"/>
                </a:lnTo>
                <a:lnTo>
                  <a:pt x="312766" y="575072"/>
                </a:lnTo>
                <a:lnTo>
                  <a:pt x="325070" y="566341"/>
                </a:lnTo>
                <a:lnTo>
                  <a:pt x="337374" y="558006"/>
                </a:lnTo>
                <a:lnTo>
                  <a:pt x="350472" y="550069"/>
                </a:lnTo>
                <a:lnTo>
                  <a:pt x="363570" y="542131"/>
                </a:lnTo>
                <a:lnTo>
                  <a:pt x="390163" y="527050"/>
                </a:lnTo>
                <a:lnTo>
                  <a:pt x="417153" y="513159"/>
                </a:lnTo>
                <a:lnTo>
                  <a:pt x="444540" y="499666"/>
                </a:lnTo>
                <a:lnTo>
                  <a:pt x="472324" y="487363"/>
                </a:lnTo>
                <a:lnTo>
                  <a:pt x="500504" y="475853"/>
                </a:lnTo>
                <a:lnTo>
                  <a:pt x="529479" y="465534"/>
                </a:lnTo>
                <a:lnTo>
                  <a:pt x="558850" y="455613"/>
                </a:lnTo>
                <a:lnTo>
                  <a:pt x="588221" y="446088"/>
                </a:lnTo>
                <a:lnTo>
                  <a:pt x="618387" y="437753"/>
                </a:lnTo>
                <a:lnTo>
                  <a:pt x="648155" y="429022"/>
                </a:lnTo>
                <a:lnTo>
                  <a:pt x="678717" y="421481"/>
                </a:lnTo>
                <a:lnTo>
                  <a:pt x="709279" y="414734"/>
                </a:lnTo>
                <a:lnTo>
                  <a:pt x="740238" y="407988"/>
                </a:lnTo>
                <a:lnTo>
                  <a:pt x="771197" y="401638"/>
                </a:lnTo>
                <a:lnTo>
                  <a:pt x="802156" y="395684"/>
                </a:lnTo>
                <a:lnTo>
                  <a:pt x="864471" y="384572"/>
                </a:lnTo>
                <a:lnTo>
                  <a:pt x="926786" y="374650"/>
                </a:lnTo>
                <a:lnTo>
                  <a:pt x="1050622" y="354806"/>
                </a:lnTo>
                <a:lnTo>
                  <a:pt x="3575766" y="5160"/>
                </a:lnTo>
                <a:lnTo>
                  <a:pt x="3594817" y="3175"/>
                </a:lnTo>
                <a:lnTo>
                  <a:pt x="3613472" y="1588"/>
                </a:lnTo>
                <a:lnTo>
                  <a:pt x="3631333" y="397"/>
                </a:lnTo>
                <a:close/>
              </a:path>
            </a:pathLst>
          </a:custGeom>
          <a:solidFill>
            <a:schemeClr val="bg1">
              <a:lumMod val="85000"/>
            </a:schemeClr>
          </a:solidFill>
        </p:spPr>
        <p:txBody>
          <a:bodyPr wrap="square" anchor="ctr">
            <a:noAutofit/>
          </a:bodyPr>
          <a:lstStyle>
            <a:lvl1pPr marL="0" indent="0" algn="ctr">
              <a:buNone/>
              <a:defRPr baseline="0"/>
            </a:lvl1pPr>
          </a:lstStyle>
          <a:p>
            <a:r>
              <a:rPr lang="en-GB" dirty="0"/>
              <a:t>Insert your photo</a:t>
            </a:r>
          </a:p>
        </p:txBody>
      </p:sp>
    </p:spTree>
    <p:extLst>
      <p:ext uri="{BB962C8B-B14F-4D97-AF65-F5344CB8AC3E}">
        <p14:creationId xmlns:p14="http://schemas.microsoft.com/office/powerpoint/2010/main" val="23645104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2"/>
        </a:solidFill>
        <a:effectLst/>
      </p:bgPr>
    </p:bg>
    <p:spTree>
      <p:nvGrpSpPr>
        <p:cNvPr id="1" name=""/>
        <p:cNvGrpSpPr/>
        <p:nvPr/>
      </p:nvGrpSpPr>
      <p:grpSpPr>
        <a:xfrm>
          <a:off x="0" y="0"/>
          <a:ext cx="0" cy="0"/>
          <a:chOff x="0" y="0"/>
          <a:chExt cx="0" cy="0"/>
        </a:xfrm>
      </p:grpSpPr>
      <p:sp>
        <p:nvSpPr>
          <p:cNvPr id="2" name="Rectángulo 1"/>
          <p:cNvSpPr/>
          <p:nvPr userDrawn="1"/>
        </p:nvSpPr>
        <p:spPr>
          <a:xfrm>
            <a:off x="0" y="0"/>
            <a:ext cx="12192000"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dirty="0"/>
          </a:p>
        </p:txBody>
      </p:sp>
      <p:cxnSp>
        <p:nvCxnSpPr>
          <p:cNvPr id="31" name="Straight Connector 11"/>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noProof="0" dirty="0"/>
              <a:t>© Amadeus IT Group and its affiliates and subsidiaries</a:t>
            </a:r>
          </a:p>
        </p:txBody>
      </p:sp>
      <p:sp>
        <p:nvSpPr>
          <p:cNvPr id="4" name="AutoShape 3"/>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56" name="Text Placeholder 23"/>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7" name="Text Placeholder 23"/>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58" name="Text Placeholder 23"/>
          <p:cNvSpPr>
            <a:spLocks noGrp="1"/>
          </p:cNvSpPr>
          <p:nvPr>
            <p:ph type="body" sz="quarter" idx="38" hasCustomPrompt="1"/>
          </p:nvPr>
        </p:nvSpPr>
        <p:spPr>
          <a:xfrm>
            <a:off x="376389" y="6298613"/>
            <a:ext cx="1764284"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1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20" name="Freeform 5"/>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21" name="Freeform 5"/>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6"/>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7"/>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8"/>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9"/>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0"/>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1"/>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28" name="Grupo 27"/>
          <p:cNvGrpSpPr/>
          <p:nvPr userDrawn="1"/>
        </p:nvGrpSpPr>
        <p:grpSpPr>
          <a:xfrm>
            <a:off x="9621123" y="1122673"/>
            <a:ext cx="2751419" cy="2345067"/>
            <a:chOff x="7842547" y="2093286"/>
            <a:chExt cx="4597521" cy="3918521"/>
          </a:xfrm>
        </p:grpSpPr>
        <p:pic>
          <p:nvPicPr>
            <p:cNvPr id="29" name="Imagen 28"/>
            <p:cNvPicPr>
              <a:picLocks noChangeAspect="1"/>
            </p:cNvPicPr>
            <p:nvPr/>
          </p:nvPicPr>
          <p:blipFill rotWithShape="1">
            <a:blip r:embed="rId2"/>
            <a:srcRect r="61222"/>
            <a:stretch/>
          </p:blipFill>
          <p:spPr>
            <a:xfrm rot="9987682" flipH="1">
              <a:off x="7842547" y="2093286"/>
              <a:ext cx="4597521" cy="3918521"/>
            </a:xfrm>
            <a:prstGeom prst="rect">
              <a:avLst/>
            </a:prstGeom>
          </p:spPr>
        </p:pic>
        <p:sp>
          <p:nvSpPr>
            <p:cNvPr id="30" name="Rectángulo 29"/>
            <p:cNvSpPr/>
            <p:nvPr/>
          </p:nvSpPr>
          <p:spPr>
            <a:xfrm>
              <a:off x="7938183" y="2667925"/>
              <a:ext cx="571500" cy="24638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32" name="Imagen 31"/>
          <p:cNvPicPr>
            <a:picLocks noChangeAspect="1"/>
          </p:cNvPicPr>
          <p:nvPr userDrawn="1"/>
        </p:nvPicPr>
        <p:blipFill rotWithShape="1">
          <a:blip r:embed="rId3" cstate="print">
            <a:extLst>
              <a:ext uri="{28A0092B-C50C-407E-A947-70E740481C1C}">
                <a14:useLocalDpi xmlns:a14="http://schemas.microsoft.com/office/drawing/2010/main" val="0"/>
              </a:ext>
            </a:extLst>
          </a:blip>
          <a:srcRect b="26815"/>
          <a:stretch/>
        </p:blipFill>
        <p:spPr>
          <a:xfrm>
            <a:off x="7041575" y="724613"/>
            <a:ext cx="4130427" cy="2354831"/>
          </a:xfrm>
          <a:prstGeom prst="rect">
            <a:avLst/>
          </a:prstGeom>
        </p:spPr>
      </p:pic>
      <p:grpSp>
        <p:nvGrpSpPr>
          <p:cNvPr id="33" name="Grupo 32"/>
          <p:cNvGrpSpPr/>
          <p:nvPr userDrawn="1"/>
        </p:nvGrpSpPr>
        <p:grpSpPr>
          <a:xfrm>
            <a:off x="-723900" y="1120930"/>
            <a:ext cx="8956032" cy="1592011"/>
            <a:chOff x="-12700" y="682078"/>
            <a:chExt cx="8956032" cy="1592011"/>
          </a:xfrm>
        </p:grpSpPr>
        <p:sp>
          <p:nvSpPr>
            <p:cNvPr id="34" name="Forma libre 33"/>
            <p:cNvSpPr/>
            <p:nvPr/>
          </p:nvSpPr>
          <p:spPr>
            <a:xfrm>
              <a:off x="-12700" y="682078"/>
              <a:ext cx="8890000" cy="1592011"/>
            </a:xfrm>
            <a:custGeom>
              <a:avLst/>
              <a:gdLst>
                <a:gd name="connsiteX0" fmla="*/ 0 w 8890000"/>
                <a:gd name="connsiteY0" fmla="*/ 1304132 h 1486839"/>
                <a:gd name="connsiteX1" fmla="*/ 2578100 w 8890000"/>
                <a:gd name="connsiteY1" fmla="*/ 1291432 h 1486839"/>
                <a:gd name="connsiteX2" fmla="*/ 3911600 w 8890000"/>
                <a:gd name="connsiteY2" fmla="*/ 885032 h 1486839"/>
                <a:gd name="connsiteX3" fmla="*/ 4114800 w 8890000"/>
                <a:gd name="connsiteY3" fmla="*/ 97632 h 1486839"/>
                <a:gd name="connsiteX4" fmla="*/ 2908300 w 8890000"/>
                <a:gd name="connsiteY4" fmla="*/ 97632 h 1486839"/>
                <a:gd name="connsiteX5" fmla="*/ 2667000 w 8890000"/>
                <a:gd name="connsiteY5" fmla="*/ 872332 h 1486839"/>
                <a:gd name="connsiteX6" fmla="*/ 3568700 w 8890000"/>
                <a:gd name="connsiteY6" fmla="*/ 1354932 h 1486839"/>
                <a:gd name="connsiteX7" fmla="*/ 5321300 w 8890000"/>
                <a:gd name="connsiteY7" fmla="*/ 1151732 h 1486839"/>
                <a:gd name="connsiteX8" fmla="*/ 7112000 w 8890000"/>
                <a:gd name="connsiteY8" fmla="*/ 1481932 h 1486839"/>
                <a:gd name="connsiteX9" fmla="*/ 8890000 w 8890000"/>
                <a:gd name="connsiteY9" fmla="*/ 846932 h 1486839"/>
                <a:gd name="connsiteX0" fmla="*/ 0 w 8890000"/>
                <a:gd name="connsiteY0" fmla="*/ 1340162 h 1522869"/>
                <a:gd name="connsiteX1" fmla="*/ 2578100 w 8890000"/>
                <a:gd name="connsiteY1" fmla="*/ 1327462 h 1522869"/>
                <a:gd name="connsiteX2" fmla="*/ 3911600 w 8890000"/>
                <a:gd name="connsiteY2" fmla="*/ 921062 h 1522869"/>
                <a:gd name="connsiteX3" fmla="*/ 3956050 w 8890000"/>
                <a:gd name="connsiteY3" fmla="*/ 76512 h 1522869"/>
                <a:gd name="connsiteX4" fmla="*/ 2908300 w 8890000"/>
                <a:gd name="connsiteY4" fmla="*/ 133662 h 1522869"/>
                <a:gd name="connsiteX5" fmla="*/ 2667000 w 8890000"/>
                <a:gd name="connsiteY5" fmla="*/ 908362 h 1522869"/>
                <a:gd name="connsiteX6" fmla="*/ 3568700 w 8890000"/>
                <a:gd name="connsiteY6" fmla="*/ 1390962 h 1522869"/>
                <a:gd name="connsiteX7" fmla="*/ 5321300 w 8890000"/>
                <a:gd name="connsiteY7" fmla="*/ 1187762 h 1522869"/>
                <a:gd name="connsiteX8" fmla="*/ 7112000 w 8890000"/>
                <a:gd name="connsiteY8" fmla="*/ 1517962 h 1522869"/>
                <a:gd name="connsiteX9" fmla="*/ 8890000 w 8890000"/>
                <a:gd name="connsiteY9" fmla="*/ 882962 h 1522869"/>
                <a:gd name="connsiteX0" fmla="*/ 0 w 8890000"/>
                <a:gd name="connsiteY0" fmla="*/ 1395610 h 1578317"/>
                <a:gd name="connsiteX1" fmla="*/ 2578100 w 8890000"/>
                <a:gd name="connsiteY1" fmla="*/ 1382910 h 1578317"/>
                <a:gd name="connsiteX2" fmla="*/ 3911600 w 8890000"/>
                <a:gd name="connsiteY2" fmla="*/ 976510 h 1578317"/>
                <a:gd name="connsiteX3" fmla="*/ 3956050 w 8890000"/>
                <a:gd name="connsiteY3" fmla="*/ 131960 h 1578317"/>
                <a:gd name="connsiteX4" fmla="*/ 2908300 w 8890000"/>
                <a:gd name="connsiteY4" fmla="*/ 189110 h 1578317"/>
                <a:gd name="connsiteX5" fmla="*/ 2667000 w 8890000"/>
                <a:gd name="connsiteY5" fmla="*/ 963810 h 1578317"/>
                <a:gd name="connsiteX6" fmla="*/ 3568700 w 8890000"/>
                <a:gd name="connsiteY6" fmla="*/ 1446410 h 1578317"/>
                <a:gd name="connsiteX7" fmla="*/ 5321300 w 8890000"/>
                <a:gd name="connsiteY7" fmla="*/ 1243210 h 1578317"/>
                <a:gd name="connsiteX8" fmla="*/ 7112000 w 8890000"/>
                <a:gd name="connsiteY8" fmla="*/ 1573410 h 1578317"/>
                <a:gd name="connsiteX9" fmla="*/ 8890000 w 8890000"/>
                <a:gd name="connsiteY9" fmla="*/ 938410 h 1578317"/>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1992"/>
                <a:gd name="connsiteX1" fmla="*/ 2578100 w 8890000"/>
                <a:gd name="connsiteY1" fmla="*/ 1400721 h 1591992"/>
                <a:gd name="connsiteX2" fmla="*/ 3911600 w 8890000"/>
                <a:gd name="connsiteY2" fmla="*/ 994321 h 1591992"/>
                <a:gd name="connsiteX3" fmla="*/ 3956050 w 8890000"/>
                <a:gd name="connsiteY3" fmla="*/ 149771 h 1591992"/>
                <a:gd name="connsiteX4" fmla="*/ 2908300 w 8890000"/>
                <a:gd name="connsiteY4" fmla="*/ 206921 h 1591992"/>
                <a:gd name="connsiteX5" fmla="*/ 2667000 w 8890000"/>
                <a:gd name="connsiteY5" fmla="*/ 981621 h 1591992"/>
                <a:gd name="connsiteX6" fmla="*/ 3587750 w 8890000"/>
                <a:gd name="connsiteY6" fmla="*/ 1546771 h 1591992"/>
                <a:gd name="connsiteX7" fmla="*/ 5511800 w 8890000"/>
                <a:gd name="connsiteY7" fmla="*/ 1095921 h 1591992"/>
                <a:gd name="connsiteX8" fmla="*/ 7112000 w 8890000"/>
                <a:gd name="connsiteY8" fmla="*/ 1591221 h 1591992"/>
                <a:gd name="connsiteX9" fmla="*/ 8890000 w 8890000"/>
                <a:gd name="connsiteY9" fmla="*/ 956221 h 1591992"/>
                <a:gd name="connsiteX0" fmla="*/ 0 w 8890000"/>
                <a:gd name="connsiteY0" fmla="*/ 1413421 h 1592011"/>
                <a:gd name="connsiteX1" fmla="*/ 2578100 w 8890000"/>
                <a:gd name="connsiteY1" fmla="*/ 1400721 h 1592011"/>
                <a:gd name="connsiteX2" fmla="*/ 3911600 w 8890000"/>
                <a:gd name="connsiteY2" fmla="*/ 994321 h 1592011"/>
                <a:gd name="connsiteX3" fmla="*/ 3956050 w 8890000"/>
                <a:gd name="connsiteY3" fmla="*/ 149771 h 1592011"/>
                <a:gd name="connsiteX4" fmla="*/ 2908300 w 8890000"/>
                <a:gd name="connsiteY4" fmla="*/ 206921 h 1592011"/>
                <a:gd name="connsiteX5" fmla="*/ 2667000 w 8890000"/>
                <a:gd name="connsiteY5" fmla="*/ 981621 h 1592011"/>
                <a:gd name="connsiteX6" fmla="*/ 3587750 w 8890000"/>
                <a:gd name="connsiteY6" fmla="*/ 1546771 h 1592011"/>
                <a:gd name="connsiteX7" fmla="*/ 5511800 w 8890000"/>
                <a:gd name="connsiteY7" fmla="*/ 1095921 h 1592011"/>
                <a:gd name="connsiteX8" fmla="*/ 7112000 w 8890000"/>
                <a:gd name="connsiteY8" fmla="*/ 1591221 h 1592011"/>
                <a:gd name="connsiteX9" fmla="*/ 8890000 w 8890000"/>
                <a:gd name="connsiteY9" fmla="*/ 956221 h 159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90000" h="1592011">
                  <a:moveTo>
                    <a:pt x="0" y="1413421"/>
                  </a:moveTo>
                  <a:cubicBezTo>
                    <a:pt x="963083" y="1441996"/>
                    <a:pt x="1926167" y="1470571"/>
                    <a:pt x="2578100" y="1400721"/>
                  </a:cubicBezTo>
                  <a:cubicBezTo>
                    <a:pt x="3230033" y="1330871"/>
                    <a:pt x="3675592" y="1240913"/>
                    <a:pt x="3911600" y="994321"/>
                  </a:cubicBezTo>
                  <a:cubicBezTo>
                    <a:pt x="4147608" y="747729"/>
                    <a:pt x="4269317" y="408004"/>
                    <a:pt x="3956050" y="149771"/>
                  </a:cubicBezTo>
                  <a:cubicBezTo>
                    <a:pt x="3642783" y="-108462"/>
                    <a:pt x="3154892" y="4779"/>
                    <a:pt x="2908300" y="206921"/>
                  </a:cubicBezTo>
                  <a:cubicBezTo>
                    <a:pt x="2661708" y="409063"/>
                    <a:pt x="2553758" y="758313"/>
                    <a:pt x="2667000" y="981621"/>
                  </a:cubicBezTo>
                  <a:cubicBezTo>
                    <a:pt x="2780242" y="1204929"/>
                    <a:pt x="3113617" y="1527721"/>
                    <a:pt x="3587750" y="1546771"/>
                  </a:cubicBezTo>
                  <a:cubicBezTo>
                    <a:pt x="4061883" y="1565821"/>
                    <a:pt x="4695825" y="1075813"/>
                    <a:pt x="5511800" y="1095921"/>
                  </a:cubicBezTo>
                  <a:cubicBezTo>
                    <a:pt x="6327775" y="1116029"/>
                    <a:pt x="6548967" y="1614504"/>
                    <a:pt x="7112000" y="1591221"/>
                  </a:cubicBezTo>
                  <a:cubicBezTo>
                    <a:pt x="7675033" y="1567938"/>
                    <a:pt x="8298391" y="1248321"/>
                    <a:pt x="8890000" y="956221"/>
                  </a:cubicBezTo>
                </a:path>
              </a:pathLst>
            </a:custGeom>
            <a:noFill/>
            <a:ln w="19050">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Medio marco 34"/>
            <p:cNvSpPr/>
            <p:nvPr/>
          </p:nvSpPr>
          <p:spPr>
            <a:xfrm rot="6898098">
              <a:off x="8778264" y="1561890"/>
              <a:ext cx="165068" cy="165068"/>
            </a:xfrm>
            <a:prstGeom prst="halfFrame">
              <a:avLst>
                <a:gd name="adj1" fmla="val 12626"/>
                <a:gd name="adj2" fmla="val 1290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pSp>
      <p:sp>
        <p:nvSpPr>
          <p:cNvPr id="36" name="Title 1"/>
          <p:cNvSpPr>
            <a:spLocks noGrp="1"/>
          </p:cNvSpPr>
          <p:nvPr>
            <p:ph type="title" hasCustomPrompt="1"/>
          </p:nvPr>
        </p:nvSpPr>
        <p:spPr>
          <a:xfrm>
            <a:off x="115760" y="3533669"/>
            <a:ext cx="10057015" cy="622000"/>
          </a:xfrm>
        </p:spPr>
        <p:txBody>
          <a:bodyPr anchor="b"/>
          <a:lstStyle>
            <a:lvl1pPr algn="r">
              <a:lnSpc>
                <a:spcPct val="100000"/>
              </a:lnSpc>
              <a:defRPr sz="3600" baseline="0">
                <a:solidFill>
                  <a:schemeClr val="bg1"/>
                </a:solidFill>
                <a:latin typeface="+mj-lt"/>
              </a:defRPr>
            </a:lvl1pPr>
          </a:lstStyle>
          <a:p>
            <a:r>
              <a:rPr lang="en-GB" noProof="0" dirty="0"/>
              <a:t>Insert here your thank you</a:t>
            </a:r>
          </a:p>
        </p:txBody>
      </p:sp>
    </p:spTree>
    <p:extLst>
      <p:ext uri="{BB962C8B-B14F-4D97-AF65-F5344CB8AC3E}">
        <p14:creationId xmlns:p14="http://schemas.microsoft.com/office/powerpoint/2010/main" val="1484827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with photo background 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l">
              <a:buNone/>
              <a:defRPr sz="1800" b="1" baseline="0"/>
            </a:lvl1pPr>
          </a:lstStyle>
          <a:p>
            <a:r>
              <a:rPr lang="en-GB" noProof="0" dirty="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31" name="Title 1"/>
          <p:cNvSpPr>
            <a:spLocks noGrp="1"/>
          </p:cNvSpPr>
          <p:nvPr>
            <p:ph type="title" hasCustomPrompt="1"/>
          </p:nvPr>
        </p:nvSpPr>
        <p:spPr>
          <a:xfrm>
            <a:off x="6022110" y="2458245"/>
            <a:ext cx="5489593" cy="1727779"/>
          </a:xfrm>
        </p:spPr>
        <p:txBody>
          <a:bodyPr anchor="b"/>
          <a:lstStyle>
            <a:lvl1pPr algn="r">
              <a:lnSpc>
                <a:spcPct val="100000"/>
              </a:lnSpc>
              <a:defRPr baseline="0">
                <a:solidFill>
                  <a:schemeClr val="bg1"/>
                </a:solidFill>
                <a:latin typeface="+mj-lt"/>
              </a:defRPr>
            </a:lvl1pPr>
          </a:lstStyle>
          <a:p>
            <a:r>
              <a:rPr lang="en-GB" noProof="0" dirty="0"/>
              <a:t>Add your title here</a:t>
            </a:r>
          </a:p>
        </p:txBody>
      </p:sp>
      <p:sp>
        <p:nvSpPr>
          <p:cNvPr id="32" name="Text Placeholder 19"/>
          <p:cNvSpPr>
            <a:spLocks noGrp="1"/>
          </p:cNvSpPr>
          <p:nvPr>
            <p:ph type="body" sz="quarter" idx="13" hasCustomPrompt="1"/>
          </p:nvPr>
        </p:nvSpPr>
        <p:spPr>
          <a:xfrm>
            <a:off x="6021664" y="4373324"/>
            <a:ext cx="5490033" cy="498992"/>
          </a:xfrm>
          <a:prstGeom prst="rect">
            <a:avLst/>
          </a:prstGeom>
        </p:spPr>
        <p:txBody>
          <a:bodyPr>
            <a:noAutofit/>
          </a:bodyPr>
          <a:lstStyle>
            <a:lvl1pPr marL="0" indent="0" algn="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36253304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with photo ll">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14" name="Title 1"/>
          <p:cNvSpPr>
            <a:spLocks noGrp="1"/>
          </p:cNvSpPr>
          <p:nvPr>
            <p:ph type="title" hasCustomPrompt="1"/>
          </p:nvPr>
        </p:nvSpPr>
        <p:spPr>
          <a:xfrm>
            <a:off x="6807837" y="1160165"/>
            <a:ext cx="4601584" cy="1325563"/>
          </a:xfrm>
        </p:spPr>
        <p:txBody>
          <a:bodyPr anchor="b"/>
          <a:lstStyle>
            <a:lvl1pPr algn="r">
              <a:lnSpc>
                <a:spcPct val="100000"/>
              </a:lnSpc>
              <a:defRPr baseline="0">
                <a:solidFill>
                  <a:schemeClr val="bg1"/>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6807261" y="2698787"/>
            <a:ext cx="4602163" cy="978910"/>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noProof="0" dirty="0"/>
              <a:t>© Amadeus IT Group and its affiliates and subsidiaries</a:t>
            </a:r>
          </a:p>
        </p:txBody>
      </p:sp>
      <p:sp>
        <p:nvSpPr>
          <p:cNvPr id="12" name="Marcador de posición de imagen 34"/>
          <p:cNvSpPr>
            <a:spLocks noGrp="1"/>
          </p:cNvSpPr>
          <p:nvPr>
            <p:ph type="pic" sz="quarter" idx="16" hasCustomPrompt="1"/>
          </p:nvPr>
        </p:nvSpPr>
        <p:spPr>
          <a:xfrm>
            <a:off x="-6547" y="1160164"/>
            <a:ext cx="4999609" cy="5774817"/>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wrap="square" anchor="ctr">
            <a:noAutofit/>
          </a:bodyPr>
          <a:lstStyle>
            <a:lvl1pPr marL="0" indent="0" algn="ctr">
              <a:buNone/>
              <a:defRPr baseline="0"/>
            </a:lvl1pPr>
          </a:lstStyle>
          <a:p>
            <a:br>
              <a:rPr lang="en-GB" noProof="0" dirty="0"/>
            </a:br>
            <a:br>
              <a:rPr lang="en-GB" noProof="0" dirty="0"/>
            </a:br>
            <a:br>
              <a:rPr lang="en-GB" noProof="0" dirty="0"/>
            </a:br>
            <a:br>
              <a:rPr lang="en-GB" noProof="0" dirty="0"/>
            </a:br>
            <a:r>
              <a:rPr lang="en-GB" noProof="0" dirty="0"/>
              <a:t>Insert your picture here</a:t>
            </a:r>
          </a:p>
        </p:txBody>
      </p:sp>
      <p:sp>
        <p:nvSpPr>
          <p:cNvPr id="32"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1264905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with photo background and shap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428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ctr">
              <a:buNone/>
              <a:defRPr sz="1800" b="1" baseline="0"/>
            </a:lvl1pPr>
          </a:lstStyle>
          <a:p>
            <a:pPr lvl="0"/>
            <a:r>
              <a:rPr lang="en-GB" noProof="0" dirty="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
        <p:nvSpPr>
          <p:cNvPr id="95" name="Title 1"/>
          <p:cNvSpPr>
            <a:spLocks noGrp="1"/>
          </p:cNvSpPr>
          <p:nvPr>
            <p:ph type="title" hasCustomPrompt="1"/>
          </p:nvPr>
        </p:nvSpPr>
        <p:spPr>
          <a:xfrm>
            <a:off x="576472" y="2090517"/>
            <a:ext cx="4958914" cy="1178168"/>
          </a:xfrm>
        </p:spPr>
        <p:txBody>
          <a:bodyPr anchor="b"/>
          <a:lstStyle>
            <a:lvl1pPr>
              <a:lnSpc>
                <a:spcPct val="100000"/>
              </a:lnSpc>
              <a:defRPr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576265" y="3425413"/>
            <a:ext cx="4602163" cy="498992"/>
          </a:xfrm>
          <a:prstGeom prst="rect">
            <a:avLst/>
          </a:prstGeom>
        </p:spPr>
        <p:txBody>
          <a:bodyPr>
            <a:noAutofit/>
          </a:bodyPr>
          <a:lstStyle>
            <a:lvl1pPr marL="0" indent="0">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25832229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NO photo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1" name="Freeform 5"/>
          <p:cNvSpPr>
            <a:spLocks/>
          </p:cNvSpPr>
          <p:nvPr userDrawn="1"/>
        </p:nvSpPr>
        <p:spPr bwMode="auto">
          <a:xfrm>
            <a:off x="3081003" y="996683"/>
            <a:ext cx="8241679" cy="5879190"/>
          </a:xfrm>
          <a:custGeom>
            <a:avLst/>
            <a:gdLst>
              <a:gd name="T0" fmla="*/ 1104 w 1265"/>
              <a:gd name="T1" fmla="*/ 110 h 903"/>
              <a:gd name="T2" fmla="*/ 427 w 1265"/>
              <a:gd name="T3" fmla="*/ 25 h 903"/>
              <a:gd name="T4" fmla="*/ 169 w 1265"/>
              <a:gd name="T5" fmla="*/ 59 h 903"/>
              <a:gd name="T6" fmla="*/ 169 w 1265"/>
              <a:gd name="T7" fmla="*/ 59 h 903"/>
              <a:gd name="T8" fmla="*/ 169 w 1265"/>
              <a:gd name="T9" fmla="*/ 59 h 903"/>
              <a:gd name="T10" fmla="*/ 82 w 1265"/>
              <a:gd name="T11" fmla="*/ 221 h 903"/>
              <a:gd name="T12" fmla="*/ 32 w 1265"/>
              <a:gd name="T13" fmla="*/ 407 h 903"/>
              <a:gd name="T14" fmla="*/ 190 w 1265"/>
              <a:gd name="T15" fmla="*/ 663 h 903"/>
              <a:gd name="T16" fmla="*/ 489 w 1265"/>
              <a:gd name="T17" fmla="*/ 903 h 903"/>
              <a:gd name="T18" fmla="*/ 1129 w 1265"/>
              <a:gd name="T19" fmla="*/ 903 h 903"/>
              <a:gd name="T20" fmla="*/ 1247 w 1265"/>
              <a:gd name="T21" fmla="*/ 327 h 903"/>
              <a:gd name="T22" fmla="*/ 1104 w 1265"/>
              <a:gd name="T23" fmla="*/ 11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5" h="903">
                <a:moveTo>
                  <a:pt x="1104" y="110"/>
                </a:moveTo>
                <a:cubicBezTo>
                  <a:pt x="427" y="25"/>
                  <a:pt x="427" y="25"/>
                  <a:pt x="427" y="25"/>
                </a:cubicBezTo>
                <a:cubicBezTo>
                  <a:pt x="338" y="16"/>
                  <a:pt x="243" y="0"/>
                  <a:pt x="169" y="59"/>
                </a:cubicBezTo>
                <a:cubicBezTo>
                  <a:pt x="169" y="59"/>
                  <a:pt x="169" y="59"/>
                  <a:pt x="169" y="59"/>
                </a:cubicBezTo>
                <a:cubicBezTo>
                  <a:pt x="169" y="59"/>
                  <a:pt x="169" y="59"/>
                  <a:pt x="169" y="59"/>
                </a:cubicBezTo>
                <a:cubicBezTo>
                  <a:pt x="117" y="101"/>
                  <a:pt x="99" y="158"/>
                  <a:pt x="82" y="221"/>
                </a:cubicBezTo>
                <a:cubicBezTo>
                  <a:pt x="32" y="407"/>
                  <a:pt x="32" y="407"/>
                  <a:pt x="32" y="407"/>
                </a:cubicBezTo>
                <a:cubicBezTo>
                  <a:pt x="0" y="523"/>
                  <a:pt x="113" y="599"/>
                  <a:pt x="190" y="663"/>
                </a:cubicBezTo>
                <a:cubicBezTo>
                  <a:pt x="190" y="663"/>
                  <a:pt x="355" y="796"/>
                  <a:pt x="489" y="903"/>
                </a:cubicBezTo>
                <a:cubicBezTo>
                  <a:pt x="1129" y="903"/>
                  <a:pt x="1129" y="903"/>
                  <a:pt x="1129" y="903"/>
                </a:cubicBezTo>
                <a:cubicBezTo>
                  <a:pt x="1247" y="327"/>
                  <a:pt x="1247" y="327"/>
                  <a:pt x="1247" y="327"/>
                </a:cubicBezTo>
                <a:cubicBezTo>
                  <a:pt x="1265" y="222"/>
                  <a:pt x="1211" y="126"/>
                  <a:pt x="1104" y="1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s-ES"/>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2235201" y="1801092"/>
            <a:ext cx="7467796" cy="1913318"/>
          </a:xfrm>
        </p:spPr>
        <p:txBody>
          <a:bodyPr anchor="b"/>
          <a:lstStyle>
            <a:lvl1pPr algn="r">
              <a:lnSpc>
                <a:spcPct val="100000"/>
              </a:lnSpc>
              <a:defRPr baseline="0">
                <a:solidFill>
                  <a:schemeClr val="tx2"/>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aseline="0">
                <a:solidFill>
                  <a:srgbClr val="323232"/>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noProof="0" dirty="0"/>
              <a:t>© Amadeus IT Group and its affiliates and subsidiaries</a:t>
            </a:r>
          </a:p>
        </p:txBody>
      </p:sp>
      <p:sp>
        <p:nvSpPr>
          <p:cNvPr id="3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36319688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NO photo l">
    <p:bg>
      <p:bgPr>
        <a:solidFill>
          <a:schemeClr val="bg1"/>
        </a:solidFill>
        <a:effectLst/>
      </p:bgPr>
    </p:bg>
    <p:spTree>
      <p:nvGrpSpPr>
        <p:cNvPr id="1" name=""/>
        <p:cNvGrpSpPr/>
        <p:nvPr/>
      </p:nvGrpSpPr>
      <p:grpSpPr>
        <a:xfrm>
          <a:off x="0" y="0"/>
          <a:ext cx="0" cy="0"/>
          <a:chOff x="0" y="0"/>
          <a:chExt cx="0" cy="0"/>
        </a:xfrm>
      </p:grpSpPr>
      <p:sp>
        <p:nvSpPr>
          <p:cNvPr id="13" name="Rectangle 1"/>
          <p:cNvSpPr/>
          <p:nvPr userDrawn="1"/>
        </p:nvSpPr>
        <p:spPr>
          <a:xfrm>
            <a:off x="1905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1" name="Freeform 5"/>
          <p:cNvSpPr>
            <a:spLocks/>
          </p:cNvSpPr>
          <p:nvPr userDrawn="1"/>
        </p:nvSpPr>
        <p:spPr bwMode="auto">
          <a:xfrm>
            <a:off x="-21430" y="0"/>
            <a:ext cx="6740885" cy="6858000"/>
          </a:xfrm>
          <a:custGeom>
            <a:avLst/>
            <a:gdLst>
              <a:gd name="T0" fmla="*/ 1140 w 1200"/>
              <a:gd name="T1" fmla="*/ 388 h 988"/>
              <a:gd name="T2" fmla="*/ 1140 w 1200"/>
              <a:gd name="T3" fmla="*/ 388 h 988"/>
              <a:gd name="T4" fmla="*/ 1069 w 1200"/>
              <a:gd name="T5" fmla="*/ 7 h 988"/>
              <a:gd name="T6" fmla="*/ 1062 w 1200"/>
              <a:gd name="T7" fmla="*/ 0 h 988"/>
              <a:gd name="T8" fmla="*/ 0 w 1200"/>
              <a:gd name="T9" fmla="*/ 0 h 988"/>
              <a:gd name="T10" fmla="*/ 0 w 1200"/>
              <a:gd name="T11" fmla="*/ 988 h 988"/>
              <a:gd name="T12" fmla="*/ 479 w 1200"/>
              <a:gd name="T13" fmla="*/ 988 h 988"/>
              <a:gd name="T14" fmla="*/ 986 w 1200"/>
              <a:gd name="T15" fmla="*/ 561 h 988"/>
              <a:gd name="T16" fmla="*/ 1140 w 1200"/>
              <a:gd name="T17" fmla="*/ 3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0" h="988">
                <a:moveTo>
                  <a:pt x="1140" y="388"/>
                </a:moveTo>
                <a:cubicBezTo>
                  <a:pt x="1140" y="388"/>
                  <a:pt x="1140" y="388"/>
                  <a:pt x="1140" y="388"/>
                </a:cubicBezTo>
                <a:cubicBezTo>
                  <a:pt x="1200" y="262"/>
                  <a:pt x="1167" y="104"/>
                  <a:pt x="1069" y="7"/>
                </a:cubicBezTo>
                <a:cubicBezTo>
                  <a:pt x="1067" y="4"/>
                  <a:pt x="1064" y="2"/>
                  <a:pt x="1062" y="0"/>
                </a:cubicBezTo>
                <a:cubicBezTo>
                  <a:pt x="0" y="0"/>
                  <a:pt x="0" y="0"/>
                  <a:pt x="0" y="0"/>
                </a:cubicBezTo>
                <a:cubicBezTo>
                  <a:pt x="0" y="988"/>
                  <a:pt x="0" y="988"/>
                  <a:pt x="0" y="988"/>
                </a:cubicBezTo>
                <a:cubicBezTo>
                  <a:pt x="479" y="988"/>
                  <a:pt x="479" y="988"/>
                  <a:pt x="479" y="988"/>
                </a:cubicBezTo>
                <a:cubicBezTo>
                  <a:pt x="986" y="561"/>
                  <a:pt x="986" y="561"/>
                  <a:pt x="986" y="561"/>
                </a:cubicBezTo>
                <a:cubicBezTo>
                  <a:pt x="1045" y="511"/>
                  <a:pt x="1105" y="463"/>
                  <a:pt x="1140" y="388"/>
                </a:cubicBezTo>
                <a:close/>
              </a:path>
            </a:pathLst>
          </a:custGeom>
          <a:gradFill>
            <a:gsLst>
              <a:gs pos="0">
                <a:srgbClr val="005EB8"/>
              </a:gs>
              <a:gs pos="100000">
                <a:srgbClr val="00A9E0">
                  <a:alpha val="70999"/>
                </a:srgbClr>
              </a:gs>
            </a:gsLst>
            <a:lin ang="5400000" scaled="1"/>
          </a:gradFill>
          <a:ln>
            <a:noFill/>
          </a:ln>
        </p:spPr>
        <p:txBody>
          <a:bodyPr vert="horz" wrap="square" lIns="68580" tIns="34290" rIns="68580" bIns="34290" numCol="1" anchor="t" anchorCtr="0" compatLnSpc="1">
            <a:prstTxWarp prst="textNoShape">
              <a:avLst/>
            </a:prstTxWarp>
          </a:bodyPr>
          <a:lstStyle/>
          <a:p>
            <a:endParaRPr lang="en-GB"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16" name="Title 1"/>
          <p:cNvSpPr>
            <a:spLocks noGrp="1"/>
          </p:cNvSpPr>
          <p:nvPr>
            <p:ph type="title" hasCustomPrompt="1"/>
          </p:nvPr>
        </p:nvSpPr>
        <p:spPr>
          <a:xfrm>
            <a:off x="950456" y="549276"/>
            <a:ext cx="5877064" cy="3213981"/>
          </a:xfrm>
        </p:spPr>
        <p:txBody>
          <a:bodyPr anchor="b"/>
          <a:lstStyle>
            <a:lvl1pPr algn="l">
              <a:lnSpc>
                <a:spcPct val="100000"/>
              </a:lnSpc>
              <a:defRPr baseline="0">
                <a:solidFill>
                  <a:schemeClr val="bg1"/>
                </a:solidFill>
                <a:latin typeface="+mj-lt"/>
              </a:defRPr>
            </a:lvl1pPr>
          </a:lstStyle>
          <a:p>
            <a:r>
              <a:rPr lang="en-GB" noProof="0" dirty="0"/>
              <a:t>Add your title here</a:t>
            </a:r>
          </a:p>
        </p:txBody>
      </p:sp>
      <p:sp>
        <p:nvSpPr>
          <p:cNvPr id="17" name="Text Placeholder 19"/>
          <p:cNvSpPr>
            <a:spLocks noGrp="1"/>
          </p:cNvSpPr>
          <p:nvPr>
            <p:ph type="body" sz="quarter" idx="13" hasCustomPrompt="1"/>
          </p:nvPr>
        </p:nvSpPr>
        <p:spPr>
          <a:xfrm>
            <a:off x="950249" y="3863657"/>
            <a:ext cx="4231352" cy="1045757"/>
          </a:xfrm>
          <a:prstGeom prst="rect">
            <a:avLst/>
          </a:prstGeom>
        </p:spPr>
        <p:txBody>
          <a:bodyPr>
            <a:noAutofit/>
          </a:bodyPr>
          <a:lstStyle>
            <a:lvl1pPr marL="0" indent="0" algn="l">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8" name="Text Placeholder 97"/>
          <p:cNvSpPr>
            <a:spLocks noGrp="1"/>
          </p:cNvSpPr>
          <p:nvPr>
            <p:ph type="body" sz="quarter" idx="16" hasCustomPrompt="1"/>
          </p:nvPr>
        </p:nvSpPr>
        <p:spPr>
          <a:xfrm>
            <a:off x="950258" y="5438785"/>
            <a:ext cx="2619201" cy="1058862"/>
          </a:xfrm>
          <a:prstGeom prst="rect">
            <a:avLst/>
          </a:prstGeom>
        </p:spPr>
        <p:txBody>
          <a:bodyPr anchor="b">
            <a:normAutofit/>
          </a:bodyPr>
          <a:lstStyle>
            <a:lvl1pPr marL="0" indent="0" algn="l">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34"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2071782401"/>
      </p:ext>
    </p:extLst>
  </p:cSld>
  <p:clrMapOvr>
    <a:masterClrMapping/>
  </p:clrMapOvr>
  <p:extLst mod="1">
    <p:ext uri="{DCECCB84-F9BA-43D5-87BE-67443E8EF086}">
      <p15:sldGuideLst xmlns:p15="http://schemas.microsoft.com/office/powerpoint/2012/main">
        <p15:guide id="1" orient="horz" pos="4065">
          <p15:clr>
            <a:srgbClr val="FBAE40"/>
          </p15:clr>
        </p15:guide>
        <p15:guide id="2" orient="horz" pos="34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lumMod val="50000"/>
                  </a:schemeClr>
                </a:solidFill>
              </a:defRPr>
            </a:lvl1pPr>
          </a:lstStyle>
          <a:p>
            <a:pPr marL="0" lvl="0" algn="ctr" defTabSz="342875">
              <a:lnSpc>
                <a:spcPts val="3075"/>
              </a:lnSpc>
            </a:pPr>
            <a:r>
              <a:rPr lang="en-GB" noProof="0" dirty="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GB" noProof="0" dirty="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noProof="0" dirty="0"/>
              <a:t>© Amadeus IT Group and its affiliates and subsidiaries</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GB" noProof="0" dirty="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noProof="0" dirty="0"/>
          </a:p>
        </p:txBody>
      </p:sp>
    </p:spTree>
    <p:extLst>
      <p:ext uri="{BB962C8B-B14F-4D97-AF65-F5344CB8AC3E}">
        <p14:creationId xmlns:p14="http://schemas.microsoft.com/office/powerpoint/2010/main" val="2797477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with photo background and shape">
    <p:bg>
      <p:bgPr>
        <a:solidFill>
          <a:schemeClr val="bg1"/>
        </a:solidFill>
        <a:effectLst/>
      </p:bgPr>
    </p:bg>
    <p:spTree>
      <p:nvGrpSpPr>
        <p:cNvPr id="1" name=""/>
        <p:cNvGrpSpPr/>
        <p:nvPr/>
      </p:nvGrpSpPr>
      <p:grpSpPr>
        <a:xfrm>
          <a:off x="0" y="0"/>
          <a:ext cx="0" cy="0"/>
          <a:chOff x="0" y="0"/>
          <a:chExt cx="0" cy="0"/>
        </a:xfrm>
      </p:grpSpPr>
      <p:pic>
        <p:nvPicPr>
          <p:cNvPr id="14" name="Picture Placeholder 5"/>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1588"/>
            <a:ext cx="12192000"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27"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15" name="Freeform 5"/>
          <p:cNvSpPr>
            <a:spLocks/>
          </p:cNvSpPr>
          <p:nvPr userDrawn="1"/>
        </p:nvSpPr>
        <p:spPr bwMode="auto">
          <a:xfrm flipH="1" flipV="1">
            <a:off x="6166575" y="777582"/>
            <a:ext cx="6049376" cy="6080418"/>
          </a:xfrm>
          <a:custGeom>
            <a:avLst/>
            <a:gdLst>
              <a:gd name="T0" fmla="*/ 0 w 3320"/>
              <a:gd name="T1" fmla="*/ 0 h 3714"/>
              <a:gd name="T2" fmla="*/ 0 w 3320"/>
              <a:gd name="T3" fmla="*/ 3714 h 3714"/>
              <a:gd name="T4" fmla="*/ 3015 w 3320"/>
              <a:gd name="T5" fmla="*/ 2561 h 3714"/>
              <a:gd name="T6" fmla="*/ 3038 w 3320"/>
              <a:gd name="T7" fmla="*/ 2552 h 3714"/>
              <a:gd name="T8" fmla="*/ 3061 w 3320"/>
              <a:gd name="T9" fmla="*/ 2541 h 3714"/>
              <a:gd name="T10" fmla="*/ 3082 w 3320"/>
              <a:gd name="T11" fmla="*/ 2531 h 3714"/>
              <a:gd name="T12" fmla="*/ 3102 w 3320"/>
              <a:gd name="T13" fmla="*/ 2518 h 3714"/>
              <a:gd name="T14" fmla="*/ 3121 w 3320"/>
              <a:gd name="T15" fmla="*/ 2504 h 3714"/>
              <a:gd name="T16" fmla="*/ 3140 w 3320"/>
              <a:gd name="T17" fmla="*/ 2490 h 3714"/>
              <a:gd name="T18" fmla="*/ 3158 w 3320"/>
              <a:gd name="T19" fmla="*/ 2476 h 3714"/>
              <a:gd name="T20" fmla="*/ 3176 w 3320"/>
              <a:gd name="T21" fmla="*/ 2460 h 3714"/>
              <a:gd name="T22" fmla="*/ 3192 w 3320"/>
              <a:gd name="T23" fmla="*/ 2442 h 3714"/>
              <a:gd name="T24" fmla="*/ 3207 w 3320"/>
              <a:gd name="T25" fmla="*/ 2427 h 3714"/>
              <a:gd name="T26" fmla="*/ 3220 w 3320"/>
              <a:gd name="T27" fmla="*/ 2409 h 3714"/>
              <a:gd name="T28" fmla="*/ 3234 w 3320"/>
              <a:gd name="T29" fmla="*/ 2390 h 3714"/>
              <a:gd name="T30" fmla="*/ 3246 w 3320"/>
              <a:gd name="T31" fmla="*/ 2370 h 3714"/>
              <a:gd name="T32" fmla="*/ 3259 w 3320"/>
              <a:gd name="T33" fmla="*/ 2353 h 3714"/>
              <a:gd name="T34" fmla="*/ 3269 w 3320"/>
              <a:gd name="T35" fmla="*/ 2331 h 3714"/>
              <a:gd name="T36" fmla="*/ 3280 w 3320"/>
              <a:gd name="T37" fmla="*/ 2312 h 3714"/>
              <a:gd name="T38" fmla="*/ 3289 w 3320"/>
              <a:gd name="T39" fmla="*/ 2291 h 3714"/>
              <a:gd name="T40" fmla="*/ 3296 w 3320"/>
              <a:gd name="T41" fmla="*/ 2268 h 3714"/>
              <a:gd name="T42" fmla="*/ 3303 w 3320"/>
              <a:gd name="T43" fmla="*/ 2247 h 3714"/>
              <a:gd name="T44" fmla="*/ 3308 w 3320"/>
              <a:gd name="T45" fmla="*/ 2226 h 3714"/>
              <a:gd name="T46" fmla="*/ 3313 w 3320"/>
              <a:gd name="T47" fmla="*/ 2203 h 3714"/>
              <a:gd name="T48" fmla="*/ 3317 w 3320"/>
              <a:gd name="T49" fmla="*/ 2180 h 3714"/>
              <a:gd name="T50" fmla="*/ 3318 w 3320"/>
              <a:gd name="T51" fmla="*/ 2157 h 3714"/>
              <a:gd name="T52" fmla="*/ 3320 w 3320"/>
              <a:gd name="T53" fmla="*/ 2134 h 3714"/>
              <a:gd name="T54" fmla="*/ 3320 w 3320"/>
              <a:gd name="T55" fmla="*/ 2111 h 3714"/>
              <a:gd name="T56" fmla="*/ 3320 w 3320"/>
              <a:gd name="T57" fmla="*/ 2088 h 3714"/>
              <a:gd name="T58" fmla="*/ 3318 w 3320"/>
              <a:gd name="T59" fmla="*/ 2065 h 3714"/>
              <a:gd name="T60" fmla="*/ 3315 w 3320"/>
              <a:gd name="T61" fmla="*/ 2042 h 3714"/>
              <a:gd name="T62" fmla="*/ 3310 w 3320"/>
              <a:gd name="T63" fmla="*/ 2017 h 3714"/>
              <a:gd name="T64" fmla="*/ 3304 w 3320"/>
              <a:gd name="T65" fmla="*/ 1995 h 3714"/>
              <a:gd name="T66" fmla="*/ 3297 w 3320"/>
              <a:gd name="T67" fmla="*/ 1972 h 3714"/>
              <a:gd name="T68" fmla="*/ 3289 w 3320"/>
              <a:gd name="T69" fmla="*/ 1949 h 3714"/>
              <a:gd name="T70" fmla="*/ 3285 w 3320"/>
              <a:gd name="T71" fmla="*/ 1938 h 3714"/>
              <a:gd name="T72" fmla="*/ 3280 w 3320"/>
              <a:gd name="T73" fmla="*/ 1928 h 3714"/>
              <a:gd name="T74" fmla="*/ 3276 w 3320"/>
              <a:gd name="T75" fmla="*/ 1917 h 3714"/>
              <a:gd name="T76" fmla="*/ 3269 w 3320"/>
              <a:gd name="T77" fmla="*/ 1906 h 3714"/>
              <a:gd name="T78" fmla="*/ 3259 w 3320"/>
              <a:gd name="T79" fmla="*/ 1885 h 3714"/>
              <a:gd name="T80" fmla="*/ 3246 w 3320"/>
              <a:gd name="T81" fmla="*/ 1868 h 3714"/>
              <a:gd name="T82" fmla="*/ 3232 w 3320"/>
              <a:gd name="T83" fmla="*/ 1848 h 3714"/>
              <a:gd name="T84" fmla="*/ 3216 w 3320"/>
              <a:gd name="T85" fmla="*/ 1831 h 3714"/>
              <a:gd name="T86" fmla="*/ 3202 w 3320"/>
              <a:gd name="T87" fmla="*/ 1813 h 3714"/>
              <a:gd name="T88" fmla="*/ 3184 w 3320"/>
              <a:gd name="T89" fmla="*/ 1795 h 3714"/>
              <a:gd name="T90" fmla="*/ 3169 w 3320"/>
              <a:gd name="T91" fmla="*/ 1779 h 3714"/>
              <a:gd name="T92" fmla="*/ 3151 w 3320"/>
              <a:gd name="T93" fmla="*/ 1765 h 3714"/>
              <a:gd name="T94" fmla="*/ 3133 w 3320"/>
              <a:gd name="T95" fmla="*/ 1749 h 3714"/>
              <a:gd name="T96" fmla="*/ 3116 w 3320"/>
              <a:gd name="T97" fmla="*/ 1735 h 3714"/>
              <a:gd name="T98" fmla="*/ 3096 w 3320"/>
              <a:gd name="T99" fmla="*/ 1723 h 3714"/>
              <a:gd name="T100" fmla="*/ 3079 w 3320"/>
              <a:gd name="T101" fmla="*/ 1711 h 3714"/>
              <a:gd name="T102" fmla="*/ 3059 w 3320"/>
              <a:gd name="T103" fmla="*/ 1696 h 3714"/>
              <a:gd name="T104" fmla="*/ 3040 w 3320"/>
              <a:gd name="T105" fmla="*/ 1686 h 3714"/>
              <a:gd name="T106" fmla="*/ 0 w 3320"/>
              <a:gd name="T107" fmla="*/ 0 h 3714"/>
              <a:gd name="connsiteX0" fmla="*/ 0 w 10000"/>
              <a:gd name="connsiteY0" fmla="*/ 0 h 10000"/>
              <a:gd name="connsiteX1" fmla="*/ 0 w 10000"/>
              <a:gd name="connsiteY1" fmla="*/ 10000 h 10000"/>
              <a:gd name="connsiteX2" fmla="*/ 9081 w 10000"/>
              <a:gd name="connsiteY2" fmla="*/ 6896 h 10000"/>
              <a:gd name="connsiteX3" fmla="*/ 9151 w 10000"/>
              <a:gd name="connsiteY3" fmla="*/ 6871 h 10000"/>
              <a:gd name="connsiteX4" fmla="*/ 9220 w 10000"/>
              <a:gd name="connsiteY4" fmla="*/ 6842 h 10000"/>
              <a:gd name="connsiteX5" fmla="*/ 9283 w 10000"/>
              <a:gd name="connsiteY5" fmla="*/ 6815 h 10000"/>
              <a:gd name="connsiteX6" fmla="*/ 9343 w 10000"/>
              <a:gd name="connsiteY6" fmla="*/ 6780 h 10000"/>
              <a:gd name="connsiteX7" fmla="*/ 9401 w 10000"/>
              <a:gd name="connsiteY7" fmla="*/ 6742 h 10000"/>
              <a:gd name="connsiteX8" fmla="*/ 9458 w 10000"/>
              <a:gd name="connsiteY8" fmla="*/ 6704 h 10000"/>
              <a:gd name="connsiteX9" fmla="*/ 9512 w 10000"/>
              <a:gd name="connsiteY9" fmla="*/ 6667 h 10000"/>
              <a:gd name="connsiteX10" fmla="*/ 9566 w 10000"/>
              <a:gd name="connsiteY10" fmla="*/ 6624 h 10000"/>
              <a:gd name="connsiteX11" fmla="*/ 9614 w 10000"/>
              <a:gd name="connsiteY11" fmla="*/ 6575 h 10000"/>
              <a:gd name="connsiteX12" fmla="*/ 9660 w 10000"/>
              <a:gd name="connsiteY12" fmla="*/ 6535 h 10000"/>
              <a:gd name="connsiteX13" fmla="*/ 9699 w 10000"/>
              <a:gd name="connsiteY13" fmla="*/ 6486 h 10000"/>
              <a:gd name="connsiteX14" fmla="*/ 9741 w 10000"/>
              <a:gd name="connsiteY14" fmla="*/ 6435 h 10000"/>
              <a:gd name="connsiteX15" fmla="*/ 9777 w 10000"/>
              <a:gd name="connsiteY15" fmla="*/ 6381 h 10000"/>
              <a:gd name="connsiteX16" fmla="*/ 9816 w 10000"/>
              <a:gd name="connsiteY16" fmla="*/ 6335 h 10000"/>
              <a:gd name="connsiteX17" fmla="*/ 9846 w 10000"/>
              <a:gd name="connsiteY17" fmla="*/ 6276 h 10000"/>
              <a:gd name="connsiteX18" fmla="*/ 9880 w 10000"/>
              <a:gd name="connsiteY18" fmla="*/ 6225 h 10000"/>
              <a:gd name="connsiteX19" fmla="*/ 9907 w 10000"/>
              <a:gd name="connsiteY19" fmla="*/ 6169 h 10000"/>
              <a:gd name="connsiteX20" fmla="*/ 9928 w 10000"/>
              <a:gd name="connsiteY20" fmla="*/ 6107 h 10000"/>
              <a:gd name="connsiteX21" fmla="*/ 9949 w 10000"/>
              <a:gd name="connsiteY21" fmla="*/ 6050 h 10000"/>
              <a:gd name="connsiteX22" fmla="*/ 9964 w 10000"/>
              <a:gd name="connsiteY22" fmla="*/ 5994 h 10000"/>
              <a:gd name="connsiteX23" fmla="*/ 9979 w 10000"/>
              <a:gd name="connsiteY23" fmla="*/ 5932 h 10000"/>
              <a:gd name="connsiteX24" fmla="*/ 9991 w 10000"/>
              <a:gd name="connsiteY24" fmla="*/ 5870 h 10000"/>
              <a:gd name="connsiteX25" fmla="*/ 9994 w 10000"/>
              <a:gd name="connsiteY25" fmla="*/ 5808 h 10000"/>
              <a:gd name="connsiteX26" fmla="*/ 10000 w 10000"/>
              <a:gd name="connsiteY26" fmla="*/ 5746 h 10000"/>
              <a:gd name="connsiteX27" fmla="*/ 10000 w 10000"/>
              <a:gd name="connsiteY27" fmla="*/ 5684 h 10000"/>
              <a:gd name="connsiteX28" fmla="*/ 10000 w 10000"/>
              <a:gd name="connsiteY28" fmla="*/ 5622 h 10000"/>
              <a:gd name="connsiteX29" fmla="*/ 9994 w 10000"/>
              <a:gd name="connsiteY29" fmla="*/ 5560 h 10000"/>
              <a:gd name="connsiteX30" fmla="*/ 9985 w 10000"/>
              <a:gd name="connsiteY30" fmla="*/ 5498 h 10000"/>
              <a:gd name="connsiteX31" fmla="*/ 9970 w 10000"/>
              <a:gd name="connsiteY31" fmla="*/ 5431 h 10000"/>
              <a:gd name="connsiteX32" fmla="*/ 9952 w 10000"/>
              <a:gd name="connsiteY32" fmla="*/ 5372 h 10000"/>
              <a:gd name="connsiteX33" fmla="*/ 9931 w 10000"/>
              <a:gd name="connsiteY33" fmla="*/ 5310 h 10000"/>
              <a:gd name="connsiteX34" fmla="*/ 9907 w 10000"/>
              <a:gd name="connsiteY34" fmla="*/ 5248 h 10000"/>
              <a:gd name="connsiteX35" fmla="*/ 9895 w 10000"/>
              <a:gd name="connsiteY35" fmla="*/ 5218 h 10000"/>
              <a:gd name="connsiteX36" fmla="*/ 9880 w 10000"/>
              <a:gd name="connsiteY36" fmla="*/ 5191 h 10000"/>
              <a:gd name="connsiteX37" fmla="*/ 9867 w 10000"/>
              <a:gd name="connsiteY37" fmla="*/ 5162 h 10000"/>
              <a:gd name="connsiteX38" fmla="*/ 9846 w 10000"/>
              <a:gd name="connsiteY38" fmla="*/ 5132 h 10000"/>
              <a:gd name="connsiteX39" fmla="*/ 9816 w 10000"/>
              <a:gd name="connsiteY39" fmla="*/ 5075 h 10000"/>
              <a:gd name="connsiteX40" fmla="*/ 9777 w 10000"/>
              <a:gd name="connsiteY40" fmla="*/ 5030 h 10000"/>
              <a:gd name="connsiteX41" fmla="*/ 9735 w 10000"/>
              <a:gd name="connsiteY41" fmla="*/ 4976 h 10000"/>
              <a:gd name="connsiteX42" fmla="*/ 9687 w 10000"/>
              <a:gd name="connsiteY42" fmla="*/ 4930 h 10000"/>
              <a:gd name="connsiteX43" fmla="*/ 9645 w 10000"/>
              <a:gd name="connsiteY43" fmla="*/ 4882 h 10000"/>
              <a:gd name="connsiteX44" fmla="*/ 9590 w 10000"/>
              <a:gd name="connsiteY44" fmla="*/ 4833 h 10000"/>
              <a:gd name="connsiteX45" fmla="*/ 9545 w 10000"/>
              <a:gd name="connsiteY45" fmla="*/ 4790 h 10000"/>
              <a:gd name="connsiteX46" fmla="*/ 9491 w 10000"/>
              <a:gd name="connsiteY46" fmla="*/ 4752 h 10000"/>
              <a:gd name="connsiteX47" fmla="*/ 9437 w 10000"/>
              <a:gd name="connsiteY47" fmla="*/ 4709 h 10000"/>
              <a:gd name="connsiteX48" fmla="*/ 9386 w 10000"/>
              <a:gd name="connsiteY48" fmla="*/ 4672 h 10000"/>
              <a:gd name="connsiteX49" fmla="*/ 9325 w 10000"/>
              <a:gd name="connsiteY49" fmla="*/ 4639 h 10000"/>
              <a:gd name="connsiteX50" fmla="*/ 9274 w 10000"/>
              <a:gd name="connsiteY50" fmla="*/ 4607 h 10000"/>
              <a:gd name="connsiteX51" fmla="*/ 9214 w 10000"/>
              <a:gd name="connsiteY51" fmla="*/ 4567 h 10000"/>
              <a:gd name="connsiteX52" fmla="*/ 9157 w 10000"/>
              <a:gd name="connsiteY52" fmla="*/ 4540 h 10000"/>
              <a:gd name="connsiteX53" fmla="*/ 3147 w 10000"/>
              <a:gd name="connsiteY53" fmla="*/ 1546 h 10000"/>
              <a:gd name="connsiteX54" fmla="*/ 0 w 10000"/>
              <a:gd name="connsiteY54" fmla="*/ 0 h 10000"/>
              <a:gd name="connsiteX0" fmla="*/ 1031 w 10000"/>
              <a:gd name="connsiteY0" fmla="*/ 24 h 8454"/>
              <a:gd name="connsiteX1" fmla="*/ 0 w 10000"/>
              <a:gd name="connsiteY1" fmla="*/ 8454 h 8454"/>
              <a:gd name="connsiteX2" fmla="*/ 9081 w 10000"/>
              <a:gd name="connsiteY2" fmla="*/ 5350 h 8454"/>
              <a:gd name="connsiteX3" fmla="*/ 9151 w 10000"/>
              <a:gd name="connsiteY3" fmla="*/ 5325 h 8454"/>
              <a:gd name="connsiteX4" fmla="*/ 9220 w 10000"/>
              <a:gd name="connsiteY4" fmla="*/ 5296 h 8454"/>
              <a:gd name="connsiteX5" fmla="*/ 9283 w 10000"/>
              <a:gd name="connsiteY5" fmla="*/ 5269 h 8454"/>
              <a:gd name="connsiteX6" fmla="*/ 9343 w 10000"/>
              <a:gd name="connsiteY6" fmla="*/ 5234 h 8454"/>
              <a:gd name="connsiteX7" fmla="*/ 9401 w 10000"/>
              <a:gd name="connsiteY7" fmla="*/ 5196 h 8454"/>
              <a:gd name="connsiteX8" fmla="*/ 9458 w 10000"/>
              <a:gd name="connsiteY8" fmla="*/ 5158 h 8454"/>
              <a:gd name="connsiteX9" fmla="*/ 9512 w 10000"/>
              <a:gd name="connsiteY9" fmla="*/ 5121 h 8454"/>
              <a:gd name="connsiteX10" fmla="*/ 9566 w 10000"/>
              <a:gd name="connsiteY10" fmla="*/ 5078 h 8454"/>
              <a:gd name="connsiteX11" fmla="*/ 9614 w 10000"/>
              <a:gd name="connsiteY11" fmla="*/ 5029 h 8454"/>
              <a:gd name="connsiteX12" fmla="*/ 9660 w 10000"/>
              <a:gd name="connsiteY12" fmla="*/ 4989 h 8454"/>
              <a:gd name="connsiteX13" fmla="*/ 9699 w 10000"/>
              <a:gd name="connsiteY13" fmla="*/ 4940 h 8454"/>
              <a:gd name="connsiteX14" fmla="*/ 9741 w 10000"/>
              <a:gd name="connsiteY14" fmla="*/ 4889 h 8454"/>
              <a:gd name="connsiteX15" fmla="*/ 9777 w 10000"/>
              <a:gd name="connsiteY15" fmla="*/ 4835 h 8454"/>
              <a:gd name="connsiteX16" fmla="*/ 9816 w 10000"/>
              <a:gd name="connsiteY16" fmla="*/ 4789 h 8454"/>
              <a:gd name="connsiteX17" fmla="*/ 9846 w 10000"/>
              <a:gd name="connsiteY17" fmla="*/ 4730 h 8454"/>
              <a:gd name="connsiteX18" fmla="*/ 9880 w 10000"/>
              <a:gd name="connsiteY18" fmla="*/ 4679 h 8454"/>
              <a:gd name="connsiteX19" fmla="*/ 9907 w 10000"/>
              <a:gd name="connsiteY19" fmla="*/ 4623 h 8454"/>
              <a:gd name="connsiteX20" fmla="*/ 9928 w 10000"/>
              <a:gd name="connsiteY20" fmla="*/ 4561 h 8454"/>
              <a:gd name="connsiteX21" fmla="*/ 9949 w 10000"/>
              <a:gd name="connsiteY21" fmla="*/ 4504 h 8454"/>
              <a:gd name="connsiteX22" fmla="*/ 9964 w 10000"/>
              <a:gd name="connsiteY22" fmla="*/ 4448 h 8454"/>
              <a:gd name="connsiteX23" fmla="*/ 9979 w 10000"/>
              <a:gd name="connsiteY23" fmla="*/ 4386 h 8454"/>
              <a:gd name="connsiteX24" fmla="*/ 9991 w 10000"/>
              <a:gd name="connsiteY24" fmla="*/ 4324 h 8454"/>
              <a:gd name="connsiteX25" fmla="*/ 9994 w 10000"/>
              <a:gd name="connsiteY25" fmla="*/ 4262 h 8454"/>
              <a:gd name="connsiteX26" fmla="*/ 10000 w 10000"/>
              <a:gd name="connsiteY26" fmla="*/ 4200 h 8454"/>
              <a:gd name="connsiteX27" fmla="*/ 10000 w 10000"/>
              <a:gd name="connsiteY27" fmla="*/ 4138 h 8454"/>
              <a:gd name="connsiteX28" fmla="*/ 10000 w 10000"/>
              <a:gd name="connsiteY28" fmla="*/ 4076 h 8454"/>
              <a:gd name="connsiteX29" fmla="*/ 9994 w 10000"/>
              <a:gd name="connsiteY29" fmla="*/ 4014 h 8454"/>
              <a:gd name="connsiteX30" fmla="*/ 9985 w 10000"/>
              <a:gd name="connsiteY30" fmla="*/ 3952 h 8454"/>
              <a:gd name="connsiteX31" fmla="*/ 9970 w 10000"/>
              <a:gd name="connsiteY31" fmla="*/ 3885 h 8454"/>
              <a:gd name="connsiteX32" fmla="*/ 9952 w 10000"/>
              <a:gd name="connsiteY32" fmla="*/ 3826 h 8454"/>
              <a:gd name="connsiteX33" fmla="*/ 9931 w 10000"/>
              <a:gd name="connsiteY33" fmla="*/ 3764 h 8454"/>
              <a:gd name="connsiteX34" fmla="*/ 9907 w 10000"/>
              <a:gd name="connsiteY34" fmla="*/ 3702 h 8454"/>
              <a:gd name="connsiteX35" fmla="*/ 9895 w 10000"/>
              <a:gd name="connsiteY35" fmla="*/ 3672 h 8454"/>
              <a:gd name="connsiteX36" fmla="*/ 9880 w 10000"/>
              <a:gd name="connsiteY36" fmla="*/ 3645 h 8454"/>
              <a:gd name="connsiteX37" fmla="*/ 9867 w 10000"/>
              <a:gd name="connsiteY37" fmla="*/ 3616 h 8454"/>
              <a:gd name="connsiteX38" fmla="*/ 9846 w 10000"/>
              <a:gd name="connsiteY38" fmla="*/ 3586 h 8454"/>
              <a:gd name="connsiteX39" fmla="*/ 9816 w 10000"/>
              <a:gd name="connsiteY39" fmla="*/ 3529 h 8454"/>
              <a:gd name="connsiteX40" fmla="*/ 9777 w 10000"/>
              <a:gd name="connsiteY40" fmla="*/ 3484 h 8454"/>
              <a:gd name="connsiteX41" fmla="*/ 9735 w 10000"/>
              <a:gd name="connsiteY41" fmla="*/ 3430 h 8454"/>
              <a:gd name="connsiteX42" fmla="*/ 9687 w 10000"/>
              <a:gd name="connsiteY42" fmla="*/ 3384 h 8454"/>
              <a:gd name="connsiteX43" fmla="*/ 9645 w 10000"/>
              <a:gd name="connsiteY43" fmla="*/ 3336 h 8454"/>
              <a:gd name="connsiteX44" fmla="*/ 9590 w 10000"/>
              <a:gd name="connsiteY44" fmla="*/ 3287 h 8454"/>
              <a:gd name="connsiteX45" fmla="*/ 9545 w 10000"/>
              <a:gd name="connsiteY45" fmla="*/ 3244 h 8454"/>
              <a:gd name="connsiteX46" fmla="*/ 9491 w 10000"/>
              <a:gd name="connsiteY46" fmla="*/ 3206 h 8454"/>
              <a:gd name="connsiteX47" fmla="*/ 9437 w 10000"/>
              <a:gd name="connsiteY47" fmla="*/ 3163 h 8454"/>
              <a:gd name="connsiteX48" fmla="*/ 9386 w 10000"/>
              <a:gd name="connsiteY48" fmla="*/ 3126 h 8454"/>
              <a:gd name="connsiteX49" fmla="*/ 9325 w 10000"/>
              <a:gd name="connsiteY49" fmla="*/ 3093 h 8454"/>
              <a:gd name="connsiteX50" fmla="*/ 9274 w 10000"/>
              <a:gd name="connsiteY50" fmla="*/ 3061 h 8454"/>
              <a:gd name="connsiteX51" fmla="*/ 9214 w 10000"/>
              <a:gd name="connsiteY51" fmla="*/ 3021 h 8454"/>
              <a:gd name="connsiteX52" fmla="*/ 9157 w 10000"/>
              <a:gd name="connsiteY52" fmla="*/ 2994 h 8454"/>
              <a:gd name="connsiteX53" fmla="*/ 3147 w 10000"/>
              <a:gd name="connsiteY53" fmla="*/ 0 h 8454"/>
              <a:gd name="connsiteX54" fmla="*/ 1031 w 10000"/>
              <a:gd name="connsiteY54" fmla="*/ 24 h 8454"/>
              <a:gd name="connsiteX0" fmla="*/ 1031 w 10000"/>
              <a:gd name="connsiteY0" fmla="*/ 28 h 10000"/>
              <a:gd name="connsiteX1" fmla="*/ 0 w 10000"/>
              <a:gd name="connsiteY1" fmla="*/ 10000 h 10000"/>
              <a:gd name="connsiteX2" fmla="*/ 9081 w 10000"/>
              <a:gd name="connsiteY2" fmla="*/ 6328 h 10000"/>
              <a:gd name="connsiteX3" fmla="*/ 9151 w 10000"/>
              <a:gd name="connsiteY3" fmla="*/ 6299 h 10000"/>
              <a:gd name="connsiteX4" fmla="*/ 9220 w 10000"/>
              <a:gd name="connsiteY4" fmla="*/ 6264 h 10000"/>
              <a:gd name="connsiteX5" fmla="*/ 9283 w 10000"/>
              <a:gd name="connsiteY5" fmla="*/ 6233 h 10000"/>
              <a:gd name="connsiteX6" fmla="*/ 9343 w 10000"/>
              <a:gd name="connsiteY6" fmla="*/ 6191 h 10000"/>
              <a:gd name="connsiteX7" fmla="*/ 9401 w 10000"/>
              <a:gd name="connsiteY7" fmla="*/ 6146 h 10000"/>
              <a:gd name="connsiteX8" fmla="*/ 9458 w 10000"/>
              <a:gd name="connsiteY8" fmla="*/ 6101 h 10000"/>
              <a:gd name="connsiteX9" fmla="*/ 9512 w 10000"/>
              <a:gd name="connsiteY9" fmla="*/ 6057 h 10000"/>
              <a:gd name="connsiteX10" fmla="*/ 9566 w 10000"/>
              <a:gd name="connsiteY10" fmla="*/ 6007 h 10000"/>
              <a:gd name="connsiteX11" fmla="*/ 9614 w 10000"/>
              <a:gd name="connsiteY11" fmla="*/ 5949 h 10000"/>
              <a:gd name="connsiteX12" fmla="*/ 9660 w 10000"/>
              <a:gd name="connsiteY12" fmla="*/ 5901 h 10000"/>
              <a:gd name="connsiteX13" fmla="*/ 9699 w 10000"/>
              <a:gd name="connsiteY13" fmla="*/ 5843 h 10000"/>
              <a:gd name="connsiteX14" fmla="*/ 9741 w 10000"/>
              <a:gd name="connsiteY14" fmla="*/ 5783 h 10000"/>
              <a:gd name="connsiteX15" fmla="*/ 9777 w 10000"/>
              <a:gd name="connsiteY15" fmla="*/ 5719 h 10000"/>
              <a:gd name="connsiteX16" fmla="*/ 9816 w 10000"/>
              <a:gd name="connsiteY16" fmla="*/ 5665 h 10000"/>
              <a:gd name="connsiteX17" fmla="*/ 9846 w 10000"/>
              <a:gd name="connsiteY17" fmla="*/ 5595 h 10000"/>
              <a:gd name="connsiteX18" fmla="*/ 9880 w 10000"/>
              <a:gd name="connsiteY18" fmla="*/ 5535 h 10000"/>
              <a:gd name="connsiteX19" fmla="*/ 9907 w 10000"/>
              <a:gd name="connsiteY19" fmla="*/ 5468 h 10000"/>
              <a:gd name="connsiteX20" fmla="*/ 9928 w 10000"/>
              <a:gd name="connsiteY20" fmla="*/ 5395 h 10000"/>
              <a:gd name="connsiteX21" fmla="*/ 9949 w 10000"/>
              <a:gd name="connsiteY21" fmla="*/ 5328 h 10000"/>
              <a:gd name="connsiteX22" fmla="*/ 9964 w 10000"/>
              <a:gd name="connsiteY22" fmla="*/ 5261 h 10000"/>
              <a:gd name="connsiteX23" fmla="*/ 9979 w 10000"/>
              <a:gd name="connsiteY23" fmla="*/ 5188 h 10000"/>
              <a:gd name="connsiteX24" fmla="*/ 9991 w 10000"/>
              <a:gd name="connsiteY24" fmla="*/ 5115 h 10000"/>
              <a:gd name="connsiteX25" fmla="*/ 9994 w 10000"/>
              <a:gd name="connsiteY25" fmla="*/ 5041 h 10000"/>
              <a:gd name="connsiteX26" fmla="*/ 10000 w 10000"/>
              <a:gd name="connsiteY26" fmla="*/ 4968 h 10000"/>
              <a:gd name="connsiteX27" fmla="*/ 10000 w 10000"/>
              <a:gd name="connsiteY27" fmla="*/ 4895 h 10000"/>
              <a:gd name="connsiteX28" fmla="*/ 10000 w 10000"/>
              <a:gd name="connsiteY28" fmla="*/ 4821 h 10000"/>
              <a:gd name="connsiteX29" fmla="*/ 9994 w 10000"/>
              <a:gd name="connsiteY29" fmla="*/ 4748 h 10000"/>
              <a:gd name="connsiteX30" fmla="*/ 9985 w 10000"/>
              <a:gd name="connsiteY30" fmla="*/ 4675 h 10000"/>
              <a:gd name="connsiteX31" fmla="*/ 9970 w 10000"/>
              <a:gd name="connsiteY31" fmla="*/ 4595 h 10000"/>
              <a:gd name="connsiteX32" fmla="*/ 9952 w 10000"/>
              <a:gd name="connsiteY32" fmla="*/ 4526 h 10000"/>
              <a:gd name="connsiteX33" fmla="*/ 9931 w 10000"/>
              <a:gd name="connsiteY33" fmla="*/ 4452 h 10000"/>
              <a:gd name="connsiteX34" fmla="*/ 9907 w 10000"/>
              <a:gd name="connsiteY34" fmla="*/ 4379 h 10000"/>
              <a:gd name="connsiteX35" fmla="*/ 9895 w 10000"/>
              <a:gd name="connsiteY35" fmla="*/ 4344 h 10000"/>
              <a:gd name="connsiteX36" fmla="*/ 9880 w 10000"/>
              <a:gd name="connsiteY36" fmla="*/ 4312 h 10000"/>
              <a:gd name="connsiteX37" fmla="*/ 9867 w 10000"/>
              <a:gd name="connsiteY37" fmla="*/ 4277 h 10000"/>
              <a:gd name="connsiteX38" fmla="*/ 9846 w 10000"/>
              <a:gd name="connsiteY38" fmla="*/ 4242 h 10000"/>
              <a:gd name="connsiteX39" fmla="*/ 9816 w 10000"/>
              <a:gd name="connsiteY39" fmla="*/ 4174 h 10000"/>
              <a:gd name="connsiteX40" fmla="*/ 9777 w 10000"/>
              <a:gd name="connsiteY40" fmla="*/ 4121 h 10000"/>
              <a:gd name="connsiteX41" fmla="*/ 9735 w 10000"/>
              <a:gd name="connsiteY41" fmla="*/ 4057 h 10000"/>
              <a:gd name="connsiteX42" fmla="*/ 9687 w 10000"/>
              <a:gd name="connsiteY42" fmla="*/ 4003 h 10000"/>
              <a:gd name="connsiteX43" fmla="*/ 9645 w 10000"/>
              <a:gd name="connsiteY43" fmla="*/ 3946 h 10000"/>
              <a:gd name="connsiteX44" fmla="*/ 9590 w 10000"/>
              <a:gd name="connsiteY44" fmla="*/ 3888 h 10000"/>
              <a:gd name="connsiteX45" fmla="*/ 9545 w 10000"/>
              <a:gd name="connsiteY45" fmla="*/ 3837 h 10000"/>
              <a:gd name="connsiteX46" fmla="*/ 9491 w 10000"/>
              <a:gd name="connsiteY46" fmla="*/ 3792 h 10000"/>
              <a:gd name="connsiteX47" fmla="*/ 9437 w 10000"/>
              <a:gd name="connsiteY47" fmla="*/ 3741 h 10000"/>
              <a:gd name="connsiteX48" fmla="*/ 9386 w 10000"/>
              <a:gd name="connsiteY48" fmla="*/ 3698 h 10000"/>
              <a:gd name="connsiteX49" fmla="*/ 9325 w 10000"/>
              <a:gd name="connsiteY49" fmla="*/ 3659 h 10000"/>
              <a:gd name="connsiteX50" fmla="*/ 9274 w 10000"/>
              <a:gd name="connsiteY50" fmla="*/ 3621 h 10000"/>
              <a:gd name="connsiteX51" fmla="*/ 9214 w 10000"/>
              <a:gd name="connsiteY51" fmla="*/ 3573 h 10000"/>
              <a:gd name="connsiteX52" fmla="*/ 9157 w 10000"/>
              <a:gd name="connsiteY52" fmla="*/ 3542 h 10000"/>
              <a:gd name="connsiteX53" fmla="*/ 3147 w 10000"/>
              <a:gd name="connsiteY53" fmla="*/ 0 h 10000"/>
              <a:gd name="connsiteX54" fmla="*/ 1031 w 10000"/>
              <a:gd name="connsiteY54" fmla="*/ 28 h 10000"/>
              <a:gd name="connsiteX0" fmla="*/ 1031 w 10000"/>
              <a:gd name="connsiteY0" fmla="*/ 16 h 10000"/>
              <a:gd name="connsiteX1" fmla="*/ 0 w 10000"/>
              <a:gd name="connsiteY1" fmla="*/ 10000 h 10000"/>
              <a:gd name="connsiteX2" fmla="*/ 9081 w 10000"/>
              <a:gd name="connsiteY2" fmla="*/ 6328 h 10000"/>
              <a:gd name="connsiteX3" fmla="*/ 9151 w 10000"/>
              <a:gd name="connsiteY3" fmla="*/ 6299 h 10000"/>
              <a:gd name="connsiteX4" fmla="*/ 9220 w 10000"/>
              <a:gd name="connsiteY4" fmla="*/ 6264 h 10000"/>
              <a:gd name="connsiteX5" fmla="*/ 9283 w 10000"/>
              <a:gd name="connsiteY5" fmla="*/ 6233 h 10000"/>
              <a:gd name="connsiteX6" fmla="*/ 9343 w 10000"/>
              <a:gd name="connsiteY6" fmla="*/ 6191 h 10000"/>
              <a:gd name="connsiteX7" fmla="*/ 9401 w 10000"/>
              <a:gd name="connsiteY7" fmla="*/ 6146 h 10000"/>
              <a:gd name="connsiteX8" fmla="*/ 9458 w 10000"/>
              <a:gd name="connsiteY8" fmla="*/ 6101 h 10000"/>
              <a:gd name="connsiteX9" fmla="*/ 9512 w 10000"/>
              <a:gd name="connsiteY9" fmla="*/ 6057 h 10000"/>
              <a:gd name="connsiteX10" fmla="*/ 9566 w 10000"/>
              <a:gd name="connsiteY10" fmla="*/ 6007 h 10000"/>
              <a:gd name="connsiteX11" fmla="*/ 9614 w 10000"/>
              <a:gd name="connsiteY11" fmla="*/ 5949 h 10000"/>
              <a:gd name="connsiteX12" fmla="*/ 9660 w 10000"/>
              <a:gd name="connsiteY12" fmla="*/ 5901 h 10000"/>
              <a:gd name="connsiteX13" fmla="*/ 9699 w 10000"/>
              <a:gd name="connsiteY13" fmla="*/ 5843 h 10000"/>
              <a:gd name="connsiteX14" fmla="*/ 9741 w 10000"/>
              <a:gd name="connsiteY14" fmla="*/ 5783 h 10000"/>
              <a:gd name="connsiteX15" fmla="*/ 9777 w 10000"/>
              <a:gd name="connsiteY15" fmla="*/ 5719 h 10000"/>
              <a:gd name="connsiteX16" fmla="*/ 9816 w 10000"/>
              <a:gd name="connsiteY16" fmla="*/ 5665 h 10000"/>
              <a:gd name="connsiteX17" fmla="*/ 9846 w 10000"/>
              <a:gd name="connsiteY17" fmla="*/ 5595 h 10000"/>
              <a:gd name="connsiteX18" fmla="*/ 9880 w 10000"/>
              <a:gd name="connsiteY18" fmla="*/ 5535 h 10000"/>
              <a:gd name="connsiteX19" fmla="*/ 9907 w 10000"/>
              <a:gd name="connsiteY19" fmla="*/ 5468 h 10000"/>
              <a:gd name="connsiteX20" fmla="*/ 9928 w 10000"/>
              <a:gd name="connsiteY20" fmla="*/ 5395 h 10000"/>
              <a:gd name="connsiteX21" fmla="*/ 9949 w 10000"/>
              <a:gd name="connsiteY21" fmla="*/ 5328 h 10000"/>
              <a:gd name="connsiteX22" fmla="*/ 9964 w 10000"/>
              <a:gd name="connsiteY22" fmla="*/ 5261 h 10000"/>
              <a:gd name="connsiteX23" fmla="*/ 9979 w 10000"/>
              <a:gd name="connsiteY23" fmla="*/ 5188 h 10000"/>
              <a:gd name="connsiteX24" fmla="*/ 9991 w 10000"/>
              <a:gd name="connsiteY24" fmla="*/ 5115 h 10000"/>
              <a:gd name="connsiteX25" fmla="*/ 9994 w 10000"/>
              <a:gd name="connsiteY25" fmla="*/ 5041 h 10000"/>
              <a:gd name="connsiteX26" fmla="*/ 10000 w 10000"/>
              <a:gd name="connsiteY26" fmla="*/ 4968 h 10000"/>
              <a:gd name="connsiteX27" fmla="*/ 10000 w 10000"/>
              <a:gd name="connsiteY27" fmla="*/ 4895 h 10000"/>
              <a:gd name="connsiteX28" fmla="*/ 10000 w 10000"/>
              <a:gd name="connsiteY28" fmla="*/ 4821 h 10000"/>
              <a:gd name="connsiteX29" fmla="*/ 9994 w 10000"/>
              <a:gd name="connsiteY29" fmla="*/ 4748 h 10000"/>
              <a:gd name="connsiteX30" fmla="*/ 9985 w 10000"/>
              <a:gd name="connsiteY30" fmla="*/ 4675 h 10000"/>
              <a:gd name="connsiteX31" fmla="*/ 9970 w 10000"/>
              <a:gd name="connsiteY31" fmla="*/ 4595 h 10000"/>
              <a:gd name="connsiteX32" fmla="*/ 9952 w 10000"/>
              <a:gd name="connsiteY32" fmla="*/ 4526 h 10000"/>
              <a:gd name="connsiteX33" fmla="*/ 9931 w 10000"/>
              <a:gd name="connsiteY33" fmla="*/ 4452 h 10000"/>
              <a:gd name="connsiteX34" fmla="*/ 9907 w 10000"/>
              <a:gd name="connsiteY34" fmla="*/ 4379 h 10000"/>
              <a:gd name="connsiteX35" fmla="*/ 9895 w 10000"/>
              <a:gd name="connsiteY35" fmla="*/ 4344 h 10000"/>
              <a:gd name="connsiteX36" fmla="*/ 9880 w 10000"/>
              <a:gd name="connsiteY36" fmla="*/ 4312 h 10000"/>
              <a:gd name="connsiteX37" fmla="*/ 9867 w 10000"/>
              <a:gd name="connsiteY37" fmla="*/ 4277 h 10000"/>
              <a:gd name="connsiteX38" fmla="*/ 9846 w 10000"/>
              <a:gd name="connsiteY38" fmla="*/ 4242 h 10000"/>
              <a:gd name="connsiteX39" fmla="*/ 9816 w 10000"/>
              <a:gd name="connsiteY39" fmla="*/ 4174 h 10000"/>
              <a:gd name="connsiteX40" fmla="*/ 9777 w 10000"/>
              <a:gd name="connsiteY40" fmla="*/ 4121 h 10000"/>
              <a:gd name="connsiteX41" fmla="*/ 9735 w 10000"/>
              <a:gd name="connsiteY41" fmla="*/ 4057 h 10000"/>
              <a:gd name="connsiteX42" fmla="*/ 9687 w 10000"/>
              <a:gd name="connsiteY42" fmla="*/ 4003 h 10000"/>
              <a:gd name="connsiteX43" fmla="*/ 9645 w 10000"/>
              <a:gd name="connsiteY43" fmla="*/ 3946 h 10000"/>
              <a:gd name="connsiteX44" fmla="*/ 9590 w 10000"/>
              <a:gd name="connsiteY44" fmla="*/ 3888 h 10000"/>
              <a:gd name="connsiteX45" fmla="*/ 9545 w 10000"/>
              <a:gd name="connsiteY45" fmla="*/ 3837 h 10000"/>
              <a:gd name="connsiteX46" fmla="*/ 9491 w 10000"/>
              <a:gd name="connsiteY46" fmla="*/ 3792 h 10000"/>
              <a:gd name="connsiteX47" fmla="*/ 9437 w 10000"/>
              <a:gd name="connsiteY47" fmla="*/ 3741 h 10000"/>
              <a:gd name="connsiteX48" fmla="*/ 9386 w 10000"/>
              <a:gd name="connsiteY48" fmla="*/ 3698 h 10000"/>
              <a:gd name="connsiteX49" fmla="*/ 9325 w 10000"/>
              <a:gd name="connsiteY49" fmla="*/ 3659 h 10000"/>
              <a:gd name="connsiteX50" fmla="*/ 9274 w 10000"/>
              <a:gd name="connsiteY50" fmla="*/ 3621 h 10000"/>
              <a:gd name="connsiteX51" fmla="*/ 9214 w 10000"/>
              <a:gd name="connsiteY51" fmla="*/ 3573 h 10000"/>
              <a:gd name="connsiteX52" fmla="*/ 9157 w 10000"/>
              <a:gd name="connsiteY52" fmla="*/ 3542 h 10000"/>
              <a:gd name="connsiteX53" fmla="*/ 3147 w 10000"/>
              <a:gd name="connsiteY53" fmla="*/ 0 h 10000"/>
              <a:gd name="connsiteX54" fmla="*/ 1031 w 10000"/>
              <a:gd name="connsiteY54" fmla="*/ 16 h 10000"/>
              <a:gd name="connsiteX0" fmla="*/ 1031 w 10000"/>
              <a:gd name="connsiteY0" fmla="*/ 16 h 10000"/>
              <a:gd name="connsiteX1" fmla="*/ 0 w 10000"/>
              <a:gd name="connsiteY1" fmla="*/ 10000 h 10000"/>
              <a:gd name="connsiteX2" fmla="*/ 1005 w 10000"/>
              <a:gd name="connsiteY2" fmla="*/ 9560 h 10000"/>
              <a:gd name="connsiteX3" fmla="*/ 9081 w 10000"/>
              <a:gd name="connsiteY3" fmla="*/ 6328 h 10000"/>
              <a:gd name="connsiteX4" fmla="*/ 9151 w 10000"/>
              <a:gd name="connsiteY4" fmla="*/ 6299 h 10000"/>
              <a:gd name="connsiteX5" fmla="*/ 9220 w 10000"/>
              <a:gd name="connsiteY5" fmla="*/ 6264 h 10000"/>
              <a:gd name="connsiteX6" fmla="*/ 9283 w 10000"/>
              <a:gd name="connsiteY6" fmla="*/ 6233 h 10000"/>
              <a:gd name="connsiteX7" fmla="*/ 9343 w 10000"/>
              <a:gd name="connsiteY7" fmla="*/ 6191 h 10000"/>
              <a:gd name="connsiteX8" fmla="*/ 9401 w 10000"/>
              <a:gd name="connsiteY8" fmla="*/ 6146 h 10000"/>
              <a:gd name="connsiteX9" fmla="*/ 9458 w 10000"/>
              <a:gd name="connsiteY9" fmla="*/ 6101 h 10000"/>
              <a:gd name="connsiteX10" fmla="*/ 9512 w 10000"/>
              <a:gd name="connsiteY10" fmla="*/ 6057 h 10000"/>
              <a:gd name="connsiteX11" fmla="*/ 9566 w 10000"/>
              <a:gd name="connsiteY11" fmla="*/ 6007 h 10000"/>
              <a:gd name="connsiteX12" fmla="*/ 9614 w 10000"/>
              <a:gd name="connsiteY12" fmla="*/ 5949 h 10000"/>
              <a:gd name="connsiteX13" fmla="*/ 9660 w 10000"/>
              <a:gd name="connsiteY13" fmla="*/ 5901 h 10000"/>
              <a:gd name="connsiteX14" fmla="*/ 9699 w 10000"/>
              <a:gd name="connsiteY14" fmla="*/ 5843 h 10000"/>
              <a:gd name="connsiteX15" fmla="*/ 9741 w 10000"/>
              <a:gd name="connsiteY15" fmla="*/ 5783 h 10000"/>
              <a:gd name="connsiteX16" fmla="*/ 9777 w 10000"/>
              <a:gd name="connsiteY16" fmla="*/ 5719 h 10000"/>
              <a:gd name="connsiteX17" fmla="*/ 9816 w 10000"/>
              <a:gd name="connsiteY17" fmla="*/ 5665 h 10000"/>
              <a:gd name="connsiteX18" fmla="*/ 9846 w 10000"/>
              <a:gd name="connsiteY18" fmla="*/ 5595 h 10000"/>
              <a:gd name="connsiteX19" fmla="*/ 9880 w 10000"/>
              <a:gd name="connsiteY19" fmla="*/ 5535 h 10000"/>
              <a:gd name="connsiteX20" fmla="*/ 9907 w 10000"/>
              <a:gd name="connsiteY20" fmla="*/ 5468 h 10000"/>
              <a:gd name="connsiteX21" fmla="*/ 9928 w 10000"/>
              <a:gd name="connsiteY21" fmla="*/ 5395 h 10000"/>
              <a:gd name="connsiteX22" fmla="*/ 9949 w 10000"/>
              <a:gd name="connsiteY22" fmla="*/ 5328 h 10000"/>
              <a:gd name="connsiteX23" fmla="*/ 9964 w 10000"/>
              <a:gd name="connsiteY23" fmla="*/ 5261 h 10000"/>
              <a:gd name="connsiteX24" fmla="*/ 9979 w 10000"/>
              <a:gd name="connsiteY24" fmla="*/ 5188 h 10000"/>
              <a:gd name="connsiteX25" fmla="*/ 9991 w 10000"/>
              <a:gd name="connsiteY25" fmla="*/ 5115 h 10000"/>
              <a:gd name="connsiteX26" fmla="*/ 9994 w 10000"/>
              <a:gd name="connsiteY26" fmla="*/ 5041 h 10000"/>
              <a:gd name="connsiteX27" fmla="*/ 10000 w 10000"/>
              <a:gd name="connsiteY27" fmla="*/ 4968 h 10000"/>
              <a:gd name="connsiteX28" fmla="*/ 10000 w 10000"/>
              <a:gd name="connsiteY28" fmla="*/ 4895 h 10000"/>
              <a:gd name="connsiteX29" fmla="*/ 10000 w 10000"/>
              <a:gd name="connsiteY29" fmla="*/ 4821 h 10000"/>
              <a:gd name="connsiteX30" fmla="*/ 9994 w 10000"/>
              <a:gd name="connsiteY30" fmla="*/ 4748 h 10000"/>
              <a:gd name="connsiteX31" fmla="*/ 9985 w 10000"/>
              <a:gd name="connsiteY31" fmla="*/ 4675 h 10000"/>
              <a:gd name="connsiteX32" fmla="*/ 9970 w 10000"/>
              <a:gd name="connsiteY32" fmla="*/ 4595 h 10000"/>
              <a:gd name="connsiteX33" fmla="*/ 9952 w 10000"/>
              <a:gd name="connsiteY33" fmla="*/ 4526 h 10000"/>
              <a:gd name="connsiteX34" fmla="*/ 9931 w 10000"/>
              <a:gd name="connsiteY34" fmla="*/ 4452 h 10000"/>
              <a:gd name="connsiteX35" fmla="*/ 9907 w 10000"/>
              <a:gd name="connsiteY35" fmla="*/ 4379 h 10000"/>
              <a:gd name="connsiteX36" fmla="*/ 9895 w 10000"/>
              <a:gd name="connsiteY36" fmla="*/ 4344 h 10000"/>
              <a:gd name="connsiteX37" fmla="*/ 9880 w 10000"/>
              <a:gd name="connsiteY37" fmla="*/ 4312 h 10000"/>
              <a:gd name="connsiteX38" fmla="*/ 9867 w 10000"/>
              <a:gd name="connsiteY38" fmla="*/ 4277 h 10000"/>
              <a:gd name="connsiteX39" fmla="*/ 9846 w 10000"/>
              <a:gd name="connsiteY39" fmla="*/ 4242 h 10000"/>
              <a:gd name="connsiteX40" fmla="*/ 9816 w 10000"/>
              <a:gd name="connsiteY40" fmla="*/ 4174 h 10000"/>
              <a:gd name="connsiteX41" fmla="*/ 9777 w 10000"/>
              <a:gd name="connsiteY41" fmla="*/ 4121 h 10000"/>
              <a:gd name="connsiteX42" fmla="*/ 9735 w 10000"/>
              <a:gd name="connsiteY42" fmla="*/ 4057 h 10000"/>
              <a:gd name="connsiteX43" fmla="*/ 9687 w 10000"/>
              <a:gd name="connsiteY43" fmla="*/ 4003 h 10000"/>
              <a:gd name="connsiteX44" fmla="*/ 9645 w 10000"/>
              <a:gd name="connsiteY44" fmla="*/ 3946 h 10000"/>
              <a:gd name="connsiteX45" fmla="*/ 9590 w 10000"/>
              <a:gd name="connsiteY45" fmla="*/ 3888 h 10000"/>
              <a:gd name="connsiteX46" fmla="*/ 9545 w 10000"/>
              <a:gd name="connsiteY46" fmla="*/ 3837 h 10000"/>
              <a:gd name="connsiteX47" fmla="*/ 9491 w 10000"/>
              <a:gd name="connsiteY47" fmla="*/ 3792 h 10000"/>
              <a:gd name="connsiteX48" fmla="*/ 9437 w 10000"/>
              <a:gd name="connsiteY48" fmla="*/ 3741 h 10000"/>
              <a:gd name="connsiteX49" fmla="*/ 9386 w 10000"/>
              <a:gd name="connsiteY49" fmla="*/ 3698 h 10000"/>
              <a:gd name="connsiteX50" fmla="*/ 9325 w 10000"/>
              <a:gd name="connsiteY50" fmla="*/ 3659 h 10000"/>
              <a:gd name="connsiteX51" fmla="*/ 9274 w 10000"/>
              <a:gd name="connsiteY51" fmla="*/ 3621 h 10000"/>
              <a:gd name="connsiteX52" fmla="*/ 9214 w 10000"/>
              <a:gd name="connsiteY52" fmla="*/ 3573 h 10000"/>
              <a:gd name="connsiteX53" fmla="*/ 9157 w 10000"/>
              <a:gd name="connsiteY53" fmla="*/ 3542 h 10000"/>
              <a:gd name="connsiteX54" fmla="*/ 3147 w 10000"/>
              <a:gd name="connsiteY54" fmla="*/ 0 h 10000"/>
              <a:gd name="connsiteX55" fmla="*/ 1031 w 10000"/>
              <a:gd name="connsiteY55" fmla="*/ 16 h 10000"/>
              <a:gd name="connsiteX0" fmla="*/ 26 w 8995"/>
              <a:gd name="connsiteY0" fmla="*/ 16 h 9560"/>
              <a:gd name="connsiteX1" fmla="*/ 0 w 8995"/>
              <a:gd name="connsiteY1" fmla="*/ 9560 h 9560"/>
              <a:gd name="connsiteX2" fmla="*/ 8076 w 8995"/>
              <a:gd name="connsiteY2" fmla="*/ 6328 h 9560"/>
              <a:gd name="connsiteX3" fmla="*/ 8146 w 8995"/>
              <a:gd name="connsiteY3" fmla="*/ 6299 h 9560"/>
              <a:gd name="connsiteX4" fmla="*/ 8215 w 8995"/>
              <a:gd name="connsiteY4" fmla="*/ 6264 h 9560"/>
              <a:gd name="connsiteX5" fmla="*/ 8278 w 8995"/>
              <a:gd name="connsiteY5" fmla="*/ 6233 h 9560"/>
              <a:gd name="connsiteX6" fmla="*/ 8338 w 8995"/>
              <a:gd name="connsiteY6" fmla="*/ 6191 h 9560"/>
              <a:gd name="connsiteX7" fmla="*/ 8396 w 8995"/>
              <a:gd name="connsiteY7" fmla="*/ 6146 h 9560"/>
              <a:gd name="connsiteX8" fmla="*/ 8453 w 8995"/>
              <a:gd name="connsiteY8" fmla="*/ 6101 h 9560"/>
              <a:gd name="connsiteX9" fmla="*/ 8507 w 8995"/>
              <a:gd name="connsiteY9" fmla="*/ 6057 h 9560"/>
              <a:gd name="connsiteX10" fmla="*/ 8561 w 8995"/>
              <a:gd name="connsiteY10" fmla="*/ 6007 h 9560"/>
              <a:gd name="connsiteX11" fmla="*/ 8609 w 8995"/>
              <a:gd name="connsiteY11" fmla="*/ 5949 h 9560"/>
              <a:gd name="connsiteX12" fmla="*/ 8655 w 8995"/>
              <a:gd name="connsiteY12" fmla="*/ 5901 h 9560"/>
              <a:gd name="connsiteX13" fmla="*/ 8694 w 8995"/>
              <a:gd name="connsiteY13" fmla="*/ 5843 h 9560"/>
              <a:gd name="connsiteX14" fmla="*/ 8736 w 8995"/>
              <a:gd name="connsiteY14" fmla="*/ 5783 h 9560"/>
              <a:gd name="connsiteX15" fmla="*/ 8772 w 8995"/>
              <a:gd name="connsiteY15" fmla="*/ 5719 h 9560"/>
              <a:gd name="connsiteX16" fmla="*/ 8811 w 8995"/>
              <a:gd name="connsiteY16" fmla="*/ 5665 h 9560"/>
              <a:gd name="connsiteX17" fmla="*/ 8841 w 8995"/>
              <a:gd name="connsiteY17" fmla="*/ 5595 h 9560"/>
              <a:gd name="connsiteX18" fmla="*/ 8875 w 8995"/>
              <a:gd name="connsiteY18" fmla="*/ 5535 h 9560"/>
              <a:gd name="connsiteX19" fmla="*/ 8902 w 8995"/>
              <a:gd name="connsiteY19" fmla="*/ 5468 h 9560"/>
              <a:gd name="connsiteX20" fmla="*/ 8923 w 8995"/>
              <a:gd name="connsiteY20" fmla="*/ 5395 h 9560"/>
              <a:gd name="connsiteX21" fmla="*/ 8944 w 8995"/>
              <a:gd name="connsiteY21" fmla="*/ 5328 h 9560"/>
              <a:gd name="connsiteX22" fmla="*/ 8959 w 8995"/>
              <a:gd name="connsiteY22" fmla="*/ 5261 h 9560"/>
              <a:gd name="connsiteX23" fmla="*/ 8974 w 8995"/>
              <a:gd name="connsiteY23" fmla="*/ 5188 h 9560"/>
              <a:gd name="connsiteX24" fmla="*/ 8986 w 8995"/>
              <a:gd name="connsiteY24" fmla="*/ 5115 h 9560"/>
              <a:gd name="connsiteX25" fmla="*/ 8989 w 8995"/>
              <a:gd name="connsiteY25" fmla="*/ 5041 h 9560"/>
              <a:gd name="connsiteX26" fmla="*/ 8995 w 8995"/>
              <a:gd name="connsiteY26" fmla="*/ 4968 h 9560"/>
              <a:gd name="connsiteX27" fmla="*/ 8995 w 8995"/>
              <a:gd name="connsiteY27" fmla="*/ 4895 h 9560"/>
              <a:gd name="connsiteX28" fmla="*/ 8995 w 8995"/>
              <a:gd name="connsiteY28" fmla="*/ 4821 h 9560"/>
              <a:gd name="connsiteX29" fmla="*/ 8989 w 8995"/>
              <a:gd name="connsiteY29" fmla="*/ 4748 h 9560"/>
              <a:gd name="connsiteX30" fmla="*/ 8980 w 8995"/>
              <a:gd name="connsiteY30" fmla="*/ 4675 h 9560"/>
              <a:gd name="connsiteX31" fmla="*/ 8965 w 8995"/>
              <a:gd name="connsiteY31" fmla="*/ 4595 h 9560"/>
              <a:gd name="connsiteX32" fmla="*/ 8947 w 8995"/>
              <a:gd name="connsiteY32" fmla="*/ 4526 h 9560"/>
              <a:gd name="connsiteX33" fmla="*/ 8926 w 8995"/>
              <a:gd name="connsiteY33" fmla="*/ 4452 h 9560"/>
              <a:gd name="connsiteX34" fmla="*/ 8902 w 8995"/>
              <a:gd name="connsiteY34" fmla="*/ 4379 h 9560"/>
              <a:gd name="connsiteX35" fmla="*/ 8890 w 8995"/>
              <a:gd name="connsiteY35" fmla="*/ 4344 h 9560"/>
              <a:gd name="connsiteX36" fmla="*/ 8875 w 8995"/>
              <a:gd name="connsiteY36" fmla="*/ 4312 h 9560"/>
              <a:gd name="connsiteX37" fmla="*/ 8862 w 8995"/>
              <a:gd name="connsiteY37" fmla="*/ 4277 h 9560"/>
              <a:gd name="connsiteX38" fmla="*/ 8841 w 8995"/>
              <a:gd name="connsiteY38" fmla="*/ 4242 h 9560"/>
              <a:gd name="connsiteX39" fmla="*/ 8811 w 8995"/>
              <a:gd name="connsiteY39" fmla="*/ 4174 h 9560"/>
              <a:gd name="connsiteX40" fmla="*/ 8772 w 8995"/>
              <a:gd name="connsiteY40" fmla="*/ 4121 h 9560"/>
              <a:gd name="connsiteX41" fmla="*/ 8730 w 8995"/>
              <a:gd name="connsiteY41" fmla="*/ 4057 h 9560"/>
              <a:gd name="connsiteX42" fmla="*/ 8682 w 8995"/>
              <a:gd name="connsiteY42" fmla="*/ 4003 h 9560"/>
              <a:gd name="connsiteX43" fmla="*/ 8640 w 8995"/>
              <a:gd name="connsiteY43" fmla="*/ 3946 h 9560"/>
              <a:gd name="connsiteX44" fmla="*/ 8585 w 8995"/>
              <a:gd name="connsiteY44" fmla="*/ 3888 h 9560"/>
              <a:gd name="connsiteX45" fmla="*/ 8540 w 8995"/>
              <a:gd name="connsiteY45" fmla="*/ 3837 h 9560"/>
              <a:gd name="connsiteX46" fmla="*/ 8486 w 8995"/>
              <a:gd name="connsiteY46" fmla="*/ 3792 h 9560"/>
              <a:gd name="connsiteX47" fmla="*/ 8432 w 8995"/>
              <a:gd name="connsiteY47" fmla="*/ 3741 h 9560"/>
              <a:gd name="connsiteX48" fmla="*/ 8381 w 8995"/>
              <a:gd name="connsiteY48" fmla="*/ 3698 h 9560"/>
              <a:gd name="connsiteX49" fmla="*/ 8320 w 8995"/>
              <a:gd name="connsiteY49" fmla="*/ 3659 h 9560"/>
              <a:gd name="connsiteX50" fmla="*/ 8269 w 8995"/>
              <a:gd name="connsiteY50" fmla="*/ 3621 h 9560"/>
              <a:gd name="connsiteX51" fmla="*/ 8209 w 8995"/>
              <a:gd name="connsiteY51" fmla="*/ 3573 h 9560"/>
              <a:gd name="connsiteX52" fmla="*/ 8152 w 8995"/>
              <a:gd name="connsiteY52" fmla="*/ 3542 h 9560"/>
              <a:gd name="connsiteX53" fmla="*/ 2142 w 8995"/>
              <a:gd name="connsiteY53" fmla="*/ 0 h 9560"/>
              <a:gd name="connsiteX54" fmla="*/ 26 w 8995"/>
              <a:gd name="connsiteY54" fmla="*/ 16 h 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995" h="9560">
                <a:moveTo>
                  <a:pt x="26" y="16"/>
                </a:moveTo>
                <a:cubicBezTo>
                  <a:pt x="17" y="3197"/>
                  <a:pt x="9" y="6379"/>
                  <a:pt x="0" y="9560"/>
                </a:cubicBezTo>
                <a:lnTo>
                  <a:pt x="8076" y="6328"/>
                </a:lnTo>
                <a:cubicBezTo>
                  <a:pt x="8099" y="6318"/>
                  <a:pt x="8123" y="6309"/>
                  <a:pt x="8146" y="6299"/>
                </a:cubicBezTo>
                <a:cubicBezTo>
                  <a:pt x="8169" y="6287"/>
                  <a:pt x="8192" y="6276"/>
                  <a:pt x="8215" y="6264"/>
                </a:cubicBezTo>
                <a:cubicBezTo>
                  <a:pt x="8236" y="6254"/>
                  <a:pt x="8257" y="6243"/>
                  <a:pt x="8278" y="6233"/>
                </a:cubicBezTo>
                <a:cubicBezTo>
                  <a:pt x="8298" y="6218"/>
                  <a:pt x="8318" y="6205"/>
                  <a:pt x="8338" y="6191"/>
                </a:cubicBezTo>
                <a:cubicBezTo>
                  <a:pt x="8357" y="6176"/>
                  <a:pt x="8377" y="6162"/>
                  <a:pt x="8396" y="6146"/>
                </a:cubicBezTo>
                <a:cubicBezTo>
                  <a:pt x="8415" y="6131"/>
                  <a:pt x="8434" y="6117"/>
                  <a:pt x="8453" y="6101"/>
                </a:cubicBezTo>
                <a:cubicBezTo>
                  <a:pt x="8471" y="6087"/>
                  <a:pt x="8489" y="6072"/>
                  <a:pt x="8507" y="6057"/>
                </a:cubicBezTo>
                <a:cubicBezTo>
                  <a:pt x="8525" y="6041"/>
                  <a:pt x="8543" y="6023"/>
                  <a:pt x="8561" y="6007"/>
                </a:cubicBezTo>
                <a:cubicBezTo>
                  <a:pt x="8577" y="5988"/>
                  <a:pt x="8593" y="5968"/>
                  <a:pt x="8609" y="5949"/>
                </a:cubicBezTo>
                <a:cubicBezTo>
                  <a:pt x="8624" y="5933"/>
                  <a:pt x="8640" y="5917"/>
                  <a:pt x="8655" y="5901"/>
                </a:cubicBezTo>
                <a:cubicBezTo>
                  <a:pt x="8668" y="5882"/>
                  <a:pt x="8681" y="5862"/>
                  <a:pt x="8694" y="5843"/>
                </a:cubicBezTo>
                <a:lnTo>
                  <a:pt x="8736" y="5783"/>
                </a:lnTo>
                <a:cubicBezTo>
                  <a:pt x="8748" y="5762"/>
                  <a:pt x="8760" y="5740"/>
                  <a:pt x="8772" y="5719"/>
                </a:cubicBezTo>
                <a:lnTo>
                  <a:pt x="8811" y="5665"/>
                </a:lnTo>
                <a:cubicBezTo>
                  <a:pt x="8821" y="5641"/>
                  <a:pt x="8831" y="5619"/>
                  <a:pt x="8841" y="5595"/>
                </a:cubicBezTo>
                <a:cubicBezTo>
                  <a:pt x="8852" y="5575"/>
                  <a:pt x="8864" y="5555"/>
                  <a:pt x="8875" y="5535"/>
                </a:cubicBezTo>
                <a:cubicBezTo>
                  <a:pt x="8884" y="5512"/>
                  <a:pt x="8893" y="5491"/>
                  <a:pt x="8902" y="5468"/>
                </a:cubicBezTo>
                <a:cubicBezTo>
                  <a:pt x="8909" y="5444"/>
                  <a:pt x="8916" y="5420"/>
                  <a:pt x="8923" y="5395"/>
                </a:cubicBezTo>
                <a:cubicBezTo>
                  <a:pt x="8930" y="5373"/>
                  <a:pt x="8937" y="5350"/>
                  <a:pt x="8944" y="5328"/>
                </a:cubicBezTo>
                <a:cubicBezTo>
                  <a:pt x="8949" y="5305"/>
                  <a:pt x="8954" y="5284"/>
                  <a:pt x="8959" y="5261"/>
                </a:cubicBezTo>
                <a:cubicBezTo>
                  <a:pt x="8964" y="5237"/>
                  <a:pt x="8969" y="5213"/>
                  <a:pt x="8974" y="5188"/>
                </a:cubicBezTo>
                <a:cubicBezTo>
                  <a:pt x="8978" y="5163"/>
                  <a:pt x="8982" y="5140"/>
                  <a:pt x="8986" y="5115"/>
                </a:cubicBezTo>
                <a:cubicBezTo>
                  <a:pt x="8987" y="5090"/>
                  <a:pt x="8988" y="5066"/>
                  <a:pt x="8989" y="5041"/>
                </a:cubicBezTo>
                <a:cubicBezTo>
                  <a:pt x="8991" y="5017"/>
                  <a:pt x="8993" y="4993"/>
                  <a:pt x="8995" y="4968"/>
                </a:cubicBezTo>
                <a:lnTo>
                  <a:pt x="8995" y="4895"/>
                </a:lnTo>
                <a:lnTo>
                  <a:pt x="8995" y="4821"/>
                </a:lnTo>
                <a:cubicBezTo>
                  <a:pt x="8993" y="4797"/>
                  <a:pt x="8991" y="4773"/>
                  <a:pt x="8989" y="4748"/>
                </a:cubicBezTo>
                <a:cubicBezTo>
                  <a:pt x="8986" y="4723"/>
                  <a:pt x="8983" y="4700"/>
                  <a:pt x="8980" y="4675"/>
                </a:cubicBezTo>
                <a:cubicBezTo>
                  <a:pt x="8975" y="4649"/>
                  <a:pt x="8970" y="4621"/>
                  <a:pt x="8965" y="4595"/>
                </a:cubicBezTo>
                <a:lnTo>
                  <a:pt x="8947" y="4526"/>
                </a:lnTo>
                <a:cubicBezTo>
                  <a:pt x="8940" y="4501"/>
                  <a:pt x="8933" y="4477"/>
                  <a:pt x="8926" y="4452"/>
                </a:cubicBezTo>
                <a:cubicBezTo>
                  <a:pt x="8918" y="4427"/>
                  <a:pt x="8910" y="4404"/>
                  <a:pt x="8902" y="4379"/>
                </a:cubicBezTo>
                <a:cubicBezTo>
                  <a:pt x="8898" y="4367"/>
                  <a:pt x="8894" y="4356"/>
                  <a:pt x="8890" y="4344"/>
                </a:cubicBezTo>
                <a:cubicBezTo>
                  <a:pt x="8885" y="4333"/>
                  <a:pt x="8880" y="4323"/>
                  <a:pt x="8875" y="4312"/>
                </a:cubicBezTo>
                <a:cubicBezTo>
                  <a:pt x="8871" y="4300"/>
                  <a:pt x="8866" y="4289"/>
                  <a:pt x="8862" y="4277"/>
                </a:cubicBezTo>
                <a:cubicBezTo>
                  <a:pt x="8855" y="4265"/>
                  <a:pt x="8848" y="4254"/>
                  <a:pt x="8841" y="4242"/>
                </a:cubicBezTo>
                <a:cubicBezTo>
                  <a:pt x="8831" y="4219"/>
                  <a:pt x="8821" y="4197"/>
                  <a:pt x="8811" y="4174"/>
                </a:cubicBezTo>
                <a:cubicBezTo>
                  <a:pt x="8798" y="4156"/>
                  <a:pt x="8785" y="4139"/>
                  <a:pt x="8772" y="4121"/>
                </a:cubicBezTo>
                <a:cubicBezTo>
                  <a:pt x="8758" y="4100"/>
                  <a:pt x="8744" y="4078"/>
                  <a:pt x="8730" y="4057"/>
                </a:cubicBezTo>
                <a:cubicBezTo>
                  <a:pt x="8714" y="4040"/>
                  <a:pt x="8698" y="4021"/>
                  <a:pt x="8682" y="4003"/>
                </a:cubicBezTo>
                <a:lnTo>
                  <a:pt x="8640" y="3946"/>
                </a:lnTo>
                <a:lnTo>
                  <a:pt x="8585" y="3888"/>
                </a:lnTo>
                <a:cubicBezTo>
                  <a:pt x="8570" y="3872"/>
                  <a:pt x="8555" y="3854"/>
                  <a:pt x="8540" y="3837"/>
                </a:cubicBezTo>
                <a:cubicBezTo>
                  <a:pt x="8522" y="3822"/>
                  <a:pt x="8504" y="3808"/>
                  <a:pt x="8486" y="3792"/>
                </a:cubicBezTo>
                <a:cubicBezTo>
                  <a:pt x="8468" y="3776"/>
                  <a:pt x="8450" y="3758"/>
                  <a:pt x="8432" y="3741"/>
                </a:cubicBezTo>
                <a:cubicBezTo>
                  <a:pt x="8415" y="3727"/>
                  <a:pt x="8398" y="3712"/>
                  <a:pt x="8381" y="3698"/>
                </a:cubicBezTo>
                <a:cubicBezTo>
                  <a:pt x="8361" y="3685"/>
                  <a:pt x="8340" y="3672"/>
                  <a:pt x="8320" y="3659"/>
                </a:cubicBezTo>
                <a:cubicBezTo>
                  <a:pt x="8303" y="3646"/>
                  <a:pt x="8286" y="3634"/>
                  <a:pt x="8269" y="3621"/>
                </a:cubicBezTo>
                <a:lnTo>
                  <a:pt x="8209" y="3573"/>
                </a:lnTo>
                <a:cubicBezTo>
                  <a:pt x="8190" y="3563"/>
                  <a:pt x="8171" y="3552"/>
                  <a:pt x="8152" y="3542"/>
                </a:cubicBezTo>
                <a:lnTo>
                  <a:pt x="2142" y="0"/>
                </a:lnTo>
                <a:lnTo>
                  <a:pt x="26" y="16"/>
                </a:lnTo>
                <a:close/>
              </a:path>
            </a:pathLst>
          </a:custGeom>
          <a:solidFill>
            <a:srgbClr val="005EB8">
              <a:alpha val="55000"/>
            </a:srgbClr>
          </a:solidFill>
          <a:ln>
            <a:noFill/>
          </a:ln>
        </p:spPr>
        <p:txBody>
          <a:bodyPr vert="horz" wrap="square" lIns="91440" tIns="45720" rIns="91440" bIns="45720" numCol="1" anchor="t" anchorCtr="0" compatLnSpc="1">
            <a:prstTxWarp prst="textNoShape">
              <a:avLst/>
            </a:prstTxWarp>
          </a:bodyPr>
          <a:lstStyle/>
          <a:p>
            <a:endParaRPr lang="fr-FR">
              <a:solidFill>
                <a:srgbClr val="FFFFFF"/>
              </a:solidFill>
            </a:endParaRPr>
          </a:p>
        </p:txBody>
      </p:sp>
      <p:sp>
        <p:nvSpPr>
          <p:cNvPr id="17" name="Text Placeholder 19"/>
          <p:cNvSpPr>
            <a:spLocks noGrp="1"/>
          </p:cNvSpPr>
          <p:nvPr>
            <p:ph type="body" sz="quarter" idx="16" hasCustomPrompt="1"/>
          </p:nvPr>
        </p:nvSpPr>
        <p:spPr>
          <a:xfrm>
            <a:off x="6509442" y="4014488"/>
            <a:ext cx="5312463" cy="864000"/>
          </a:xfrm>
          <a:prstGeom prst="rect">
            <a:avLst/>
          </a:prstGeom>
        </p:spPr>
        <p:txBody>
          <a:bodyPr>
            <a:noAutofit/>
          </a:bodyPr>
          <a:lstStyle>
            <a:lvl1pPr marL="0" indent="0" algn="r">
              <a:lnSpc>
                <a:spcPct val="100000"/>
              </a:lnSpc>
              <a:buNone/>
              <a:defRPr sz="20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8" name="Text Placeholder 97"/>
          <p:cNvSpPr>
            <a:spLocks noGrp="1"/>
          </p:cNvSpPr>
          <p:nvPr>
            <p:ph type="body" sz="quarter" idx="17" hasCustomPrompt="1"/>
          </p:nvPr>
        </p:nvSpPr>
        <p:spPr>
          <a:xfrm>
            <a:off x="9202704" y="5343251"/>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pic>
        <p:nvPicPr>
          <p:cNvPr id="19" name="Imagen 2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421095" y="1859610"/>
            <a:ext cx="2609720" cy="909782"/>
          </a:xfrm>
          <a:prstGeom prst="rect">
            <a:avLst/>
          </a:prstGeom>
        </p:spPr>
      </p:pic>
      <p:sp>
        <p:nvSpPr>
          <p:cNvPr id="20" name="TextBox 19"/>
          <p:cNvSpPr txBox="1"/>
          <p:nvPr userDrawn="1"/>
        </p:nvSpPr>
        <p:spPr>
          <a:xfrm>
            <a:off x="178119" y="6498269"/>
            <a:ext cx="3942687" cy="276999"/>
          </a:xfrm>
          <a:prstGeom prst="rect">
            <a:avLst/>
          </a:prstGeom>
          <a:noFill/>
        </p:spPr>
        <p:txBody>
          <a:bodyPr wrap="square" rtlCol="0">
            <a:spAutoFit/>
          </a:bodyPr>
          <a:lstStyle/>
          <a:p>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21" name="Picture 20"/>
          <p:cNvPicPr>
            <a:picLocks noChangeAspect="1"/>
          </p:cNvPicPr>
          <p:nvPr userDrawn="1"/>
        </p:nvPicPr>
        <p:blipFill>
          <a:blip r:embed="rId8" cstate="screen">
            <a:biLevel thresh="25000"/>
            <a:extLst>
              <a:ext uri="{28A0092B-C50C-407E-A947-70E740481C1C}">
                <a14:useLocalDpi xmlns:a14="http://schemas.microsoft.com/office/drawing/2010/main"/>
              </a:ext>
            </a:extLst>
          </a:blip>
          <a:stretch>
            <a:fillRect/>
          </a:stretch>
        </p:blipFill>
        <p:spPr>
          <a:xfrm flipH="1">
            <a:off x="4000355" y="6431234"/>
            <a:ext cx="254224" cy="254224"/>
          </a:xfrm>
          <a:prstGeom prst="rect">
            <a:avLst/>
          </a:prstGeom>
        </p:spPr>
      </p:pic>
      <p:sp>
        <p:nvSpPr>
          <p:cNvPr id="5" name="Text Placeholder 4"/>
          <p:cNvSpPr>
            <a:spLocks noGrp="1"/>
          </p:cNvSpPr>
          <p:nvPr>
            <p:ph type="body" sz="quarter" idx="20" hasCustomPrompt="1"/>
          </p:nvPr>
        </p:nvSpPr>
        <p:spPr>
          <a:xfrm>
            <a:off x="6508751" y="2900363"/>
            <a:ext cx="5313154" cy="936625"/>
          </a:xfrm>
          <a:prstGeom prst="rect">
            <a:avLst/>
          </a:prstGeom>
        </p:spPr>
        <p:txBody>
          <a:bodyPr anchor="b"/>
          <a:lstStyle>
            <a:lvl1pPr marL="0" indent="0" algn="r">
              <a:buNone/>
              <a:defRPr sz="2800" baseline="0">
                <a:solidFill>
                  <a:schemeClr val="bg1"/>
                </a:solidFill>
              </a:defRPr>
            </a:lvl1pPr>
          </a:lstStyle>
          <a:p>
            <a:pPr lvl="0"/>
            <a:r>
              <a:rPr lang="en-US"/>
              <a:t>Insert your heading here</a:t>
            </a:r>
          </a:p>
        </p:txBody>
      </p:sp>
    </p:spTree>
    <p:extLst>
      <p:ext uri="{BB962C8B-B14F-4D97-AF65-F5344CB8AC3E}">
        <p14:creationId xmlns:p14="http://schemas.microsoft.com/office/powerpoint/2010/main" val="19542509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268224" y="296865"/>
            <a:ext cx="11253216" cy="482549"/>
          </a:xfrm>
          <a:prstGeom prst="rect">
            <a:avLst/>
          </a:prstGeom>
        </p:spPr>
        <p:txBody>
          <a:bodyPr anchor="t">
            <a:noAutofit/>
          </a:bodyPr>
          <a:lstStyle>
            <a:lvl1pPr>
              <a:defRPr sz="3200">
                <a:solidFill>
                  <a:schemeClr val="tx2"/>
                </a:solidFill>
                <a:latin typeface="+mj-lt"/>
              </a:defRPr>
            </a:lvl1pPr>
          </a:lstStyle>
          <a:p>
            <a:r>
              <a:rPr lang="en-GB" noProof="0"/>
              <a:t>Add your title here</a:t>
            </a:r>
          </a:p>
        </p:txBody>
      </p:sp>
      <p:sp>
        <p:nvSpPr>
          <p:cNvPr id="16" name="Text Placeholder 19"/>
          <p:cNvSpPr>
            <a:spLocks noGrp="1"/>
          </p:cNvSpPr>
          <p:nvPr>
            <p:ph type="body" sz="quarter" idx="13" hasCustomPrompt="1"/>
          </p:nvPr>
        </p:nvSpPr>
        <p:spPr>
          <a:xfrm>
            <a:off x="268224" y="789351"/>
            <a:ext cx="1125299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9" name="Marcador de texto 2"/>
          <p:cNvSpPr>
            <a:spLocks noGrp="1"/>
          </p:cNvSpPr>
          <p:nvPr>
            <p:ph type="body" sz="quarter" idx="18" hasCustomPrompt="1"/>
          </p:nvPr>
        </p:nvSpPr>
        <p:spPr>
          <a:xfrm>
            <a:off x="292609" y="1480159"/>
            <a:ext cx="11228409" cy="4298341"/>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42778173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7" name="Title 1"/>
          <p:cNvSpPr>
            <a:spLocks noGrp="1"/>
          </p:cNvSpPr>
          <p:nvPr>
            <p:ph type="title" hasCustomPrompt="1"/>
          </p:nvPr>
        </p:nvSpPr>
        <p:spPr>
          <a:xfrm>
            <a:off x="268224" y="296865"/>
            <a:ext cx="11253216" cy="482549"/>
          </a:xfrm>
          <a:prstGeom prst="rect">
            <a:avLst/>
          </a:prstGeom>
        </p:spPr>
        <p:txBody>
          <a:bodyPr anchor="t">
            <a:noAutofit/>
          </a:bodyPr>
          <a:lstStyle>
            <a:lvl1pPr>
              <a:defRPr sz="3200">
                <a:solidFill>
                  <a:schemeClr val="tx2"/>
                </a:solidFill>
                <a:latin typeface="+mj-lt"/>
              </a:defRPr>
            </a:lvl1pPr>
          </a:lstStyle>
          <a:p>
            <a:r>
              <a:rPr lang="en-GB" noProof="0"/>
              <a:t>Add your title here</a:t>
            </a:r>
          </a:p>
        </p:txBody>
      </p:sp>
      <p:sp>
        <p:nvSpPr>
          <p:cNvPr id="10" name="Text Placeholder 19"/>
          <p:cNvSpPr>
            <a:spLocks noGrp="1"/>
          </p:cNvSpPr>
          <p:nvPr>
            <p:ph type="body" sz="quarter" idx="13" hasCustomPrompt="1"/>
          </p:nvPr>
        </p:nvSpPr>
        <p:spPr>
          <a:xfrm>
            <a:off x="268224" y="795425"/>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3468086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ver with photo background and shap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ctr">
              <a:buNone/>
              <a:defRPr sz="1800" b="1" baseline="0"/>
            </a:lvl1pPr>
          </a:lstStyle>
          <a:p>
            <a:pPr lvl="0"/>
            <a:r>
              <a:rPr lang="en-GB" noProof="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96" name="Text Placeholder 19"/>
          <p:cNvSpPr>
            <a:spLocks noGrp="1"/>
          </p:cNvSpPr>
          <p:nvPr>
            <p:ph type="body" sz="quarter" idx="13" hasCustomPrompt="1"/>
          </p:nvPr>
        </p:nvSpPr>
        <p:spPr>
          <a:xfrm>
            <a:off x="576265" y="3425413"/>
            <a:ext cx="4602163" cy="498992"/>
          </a:xfrm>
          <a:prstGeom prst="rect">
            <a:avLst/>
          </a:prstGeom>
        </p:spPr>
        <p:txBody>
          <a:bodyPr>
            <a:noAutofit/>
          </a:bodyPr>
          <a:lstStyle>
            <a:lvl1pPr marL="0" indent="0">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2" name="TextBox 11"/>
          <p:cNvSpPr txBox="1"/>
          <p:nvPr userDrawn="1"/>
        </p:nvSpPr>
        <p:spPr>
          <a:xfrm>
            <a:off x="6809695" y="6444921"/>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flipH="1">
            <a:off x="6584655" y="6402113"/>
            <a:ext cx="254224" cy="254224"/>
          </a:xfrm>
          <a:prstGeom prst="rect">
            <a:avLst/>
          </a:prstGeom>
        </p:spPr>
      </p:pic>
      <p:pic>
        <p:nvPicPr>
          <p:cNvPr id="17" name="Imagen 2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77911" y="1330715"/>
            <a:ext cx="3366989" cy="1173775"/>
          </a:xfrm>
          <a:prstGeom prst="rect">
            <a:avLst/>
          </a:prstGeom>
        </p:spPr>
      </p:pic>
      <p:sp>
        <p:nvSpPr>
          <p:cNvPr id="19" name="Title 1"/>
          <p:cNvSpPr txBox="1">
            <a:spLocks/>
          </p:cNvSpPr>
          <p:nvPr userDrawn="1"/>
        </p:nvSpPr>
        <p:spPr>
          <a:xfrm>
            <a:off x="511278" y="2120651"/>
            <a:ext cx="4958914" cy="1178168"/>
          </a:xfrm>
          <a:prstGeom prst="rect">
            <a:avLst/>
          </a:prstGeom>
        </p:spPr>
        <p:txBody>
          <a:bodyPr vert="horz" lIns="91440" tIns="0" rIns="91440" bIns="45720" rtlCol="0" anchor="b">
            <a:noAutofit/>
          </a:bodyPr>
          <a:lstStyle>
            <a:lvl1pPr algn="l" defTabSz="914400" rtl="0" eaLnBrk="1" latinLnBrk="0" hangingPunct="1">
              <a:lnSpc>
                <a:spcPct val="100000"/>
              </a:lnSpc>
              <a:spcBef>
                <a:spcPct val="0"/>
              </a:spcBef>
              <a:buNone/>
              <a:defRPr sz="2800" kern="1200" baseline="0">
                <a:solidFill>
                  <a:schemeClr val="bg1"/>
                </a:solidFill>
                <a:latin typeface="+mj-lt"/>
                <a:ea typeface="+mj-ea"/>
                <a:cs typeface="+mj-cs"/>
              </a:defRPr>
            </a:lvl1pPr>
          </a:lstStyle>
          <a:p>
            <a:r>
              <a:rPr lang="en-GB">
                <a:solidFill>
                  <a:srgbClr val="FFFFFF"/>
                </a:solidFill>
              </a:rPr>
              <a:t>Add your title here</a:t>
            </a:r>
          </a:p>
        </p:txBody>
      </p:sp>
    </p:spTree>
    <p:extLst>
      <p:ext uri="{BB962C8B-B14F-4D97-AF65-F5344CB8AC3E}">
        <p14:creationId xmlns:p14="http://schemas.microsoft.com/office/powerpoint/2010/main" val="1451607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with photo and blu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bg1"/>
                </a:solidFill>
                <a:latin typeface="+mj-lt"/>
              </a:defRPr>
            </a:lvl1pPr>
          </a:lstStyle>
          <a:p>
            <a:r>
              <a:rPr lang="en-GB" noProof="0"/>
              <a:t>Add you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576481" y="5114229"/>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
        <p:nvSpPr>
          <p:cNvPr id="20"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21" name="Imagen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555" y="633583"/>
            <a:ext cx="3830824" cy="1335474"/>
          </a:xfrm>
          <a:prstGeom prst="rect">
            <a:avLst/>
          </a:prstGeom>
        </p:spPr>
      </p:pic>
      <p:sp>
        <p:nvSpPr>
          <p:cNvPr id="12" name="TextBox 11"/>
          <p:cNvSpPr txBox="1"/>
          <p:nvPr userDrawn="1"/>
        </p:nvSpPr>
        <p:spPr>
          <a:xfrm>
            <a:off x="576472" y="6498269"/>
            <a:ext cx="3942687" cy="276999"/>
          </a:xfrm>
          <a:prstGeom prst="rect">
            <a:avLst/>
          </a:prstGeom>
          <a:noFill/>
        </p:spPr>
        <p:txBody>
          <a:bodyPr wrap="square" rtlCol="0">
            <a:spAutoFit/>
          </a:bodyPr>
          <a:lstStyle/>
          <a:p>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3" name="Picture 12"/>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flipH="1">
            <a:off x="4398708" y="6431234"/>
            <a:ext cx="254224" cy="254224"/>
          </a:xfrm>
          <a:prstGeom prst="rect">
            <a:avLst/>
          </a:prstGeom>
        </p:spPr>
      </p:pic>
      <p:pic>
        <p:nvPicPr>
          <p:cNvPr id="15" name="Picture Placeholder 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p:spPr>
      </p:pic>
    </p:spTree>
    <p:extLst>
      <p:ext uri="{BB962C8B-B14F-4D97-AF65-F5344CB8AC3E}">
        <p14:creationId xmlns:p14="http://schemas.microsoft.com/office/powerpoint/2010/main" val="19591520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tx2"/>
                </a:solidFill>
                <a:latin typeface="+mj-lt"/>
              </a:defRPr>
            </a:lvl1pPr>
          </a:lstStyle>
          <a:p>
            <a:r>
              <a:rPr lang="en-GB" noProof="0"/>
              <a:t>Add your divide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a:br>
            <a:br>
              <a:rPr lang="en-GB" noProof="0"/>
            </a:br>
            <a:br>
              <a:rPr lang="en-GB" noProof="0"/>
            </a:br>
            <a:br>
              <a:rPr lang="en-GB" noProof="0"/>
            </a:br>
            <a:r>
              <a:rPr lang="en-GB" noProof="0"/>
              <a:t>Insert your picture here</a:t>
            </a:r>
          </a:p>
        </p:txBody>
      </p:sp>
      <p:pic>
        <p:nvPicPr>
          <p:cNvPr id="21" name="Imagen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10" name="TextBox 9"/>
          <p:cNvSpPr txBox="1"/>
          <p:nvPr userDrawn="1"/>
        </p:nvSpPr>
        <p:spPr>
          <a:xfrm>
            <a:off x="576472" y="6498269"/>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4398708" y="6431234"/>
            <a:ext cx="254224" cy="254224"/>
          </a:xfrm>
          <a:prstGeom prst="rect">
            <a:avLst/>
          </a:prstGeom>
        </p:spPr>
      </p:pic>
    </p:spTree>
    <p:extLst>
      <p:ext uri="{BB962C8B-B14F-4D97-AF65-F5344CB8AC3E}">
        <p14:creationId xmlns:p14="http://schemas.microsoft.com/office/powerpoint/2010/main" val="18243833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vider with photo and whit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pic>
        <p:nvPicPr>
          <p:cNvPr id="21" name="Imagen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10" name="TextBox 9"/>
          <p:cNvSpPr txBox="1"/>
          <p:nvPr userDrawn="1"/>
        </p:nvSpPr>
        <p:spPr>
          <a:xfrm>
            <a:off x="576472" y="6498269"/>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4398708" y="6431234"/>
            <a:ext cx="254224" cy="254224"/>
          </a:xfrm>
          <a:prstGeom prst="rect">
            <a:avLst/>
          </a:prstGeom>
        </p:spPr>
      </p:pic>
      <p:sp>
        <p:nvSpPr>
          <p:cNvPr id="24" name="Title 1"/>
          <p:cNvSpPr>
            <a:spLocks noGrp="1"/>
          </p:cNvSpPr>
          <p:nvPr>
            <p:ph type="title" hasCustomPrompt="1"/>
          </p:nvPr>
        </p:nvSpPr>
        <p:spPr>
          <a:xfrm>
            <a:off x="1317130" y="3334910"/>
            <a:ext cx="5594948" cy="597993"/>
          </a:xfrm>
        </p:spPr>
        <p:txBody>
          <a:bodyPr anchor="t">
            <a:noAutofit/>
          </a:bodyPr>
          <a:lstStyle>
            <a:lvl1pPr>
              <a:lnSpc>
                <a:spcPct val="100000"/>
              </a:lnSpc>
              <a:defRPr baseline="0">
                <a:solidFill>
                  <a:schemeClr val="tx2"/>
                </a:solidFill>
                <a:latin typeface="+mj-lt"/>
              </a:defRPr>
            </a:lvl1pPr>
          </a:lstStyle>
          <a:p>
            <a:r>
              <a:rPr lang="en-GB" noProof="0"/>
              <a:t>Divider title here</a:t>
            </a:r>
          </a:p>
        </p:txBody>
      </p:sp>
      <p:sp>
        <p:nvSpPr>
          <p:cNvPr id="25" name="Marcador de texto 4"/>
          <p:cNvSpPr>
            <a:spLocks noGrp="1"/>
          </p:cNvSpPr>
          <p:nvPr>
            <p:ph type="body" sz="quarter" idx="18" hasCustomPrompt="1"/>
          </p:nvPr>
        </p:nvSpPr>
        <p:spPr>
          <a:xfrm>
            <a:off x="1343084" y="3090840"/>
            <a:ext cx="5253038" cy="365169"/>
          </a:xfrm>
          <a:prstGeom prst="rect">
            <a:avLst/>
          </a:prstGeom>
        </p:spPr>
        <p:txBody>
          <a:bodyPr/>
          <a:lstStyle>
            <a:lvl1pPr marL="0" indent="0">
              <a:buNone/>
              <a:defRPr baseline="0"/>
            </a:lvl1pPr>
          </a:lstStyle>
          <a:p>
            <a:r>
              <a:rPr lang="es-ES" sz="1600" err="1">
                <a:solidFill>
                  <a:srgbClr val="00A9E0"/>
                </a:solidFill>
              </a:rPr>
              <a:t>Insert</a:t>
            </a:r>
            <a:r>
              <a:rPr lang="es-ES" sz="1600">
                <a:solidFill>
                  <a:srgbClr val="00A9E0"/>
                </a:solidFill>
              </a:rPr>
              <a:t> </a:t>
            </a:r>
            <a:r>
              <a:rPr lang="es-ES" sz="1600" err="1">
                <a:solidFill>
                  <a:srgbClr val="00A9E0"/>
                </a:solidFill>
              </a:rPr>
              <a:t>Title</a:t>
            </a:r>
            <a:endParaRPr lang="fr-FR" sz="1600">
              <a:solidFill>
                <a:srgbClr val="00A9E0"/>
              </a:solidFill>
            </a:endParaRPr>
          </a:p>
        </p:txBody>
      </p:sp>
      <p:grpSp>
        <p:nvGrpSpPr>
          <p:cNvPr id="26" name="Grupo 6"/>
          <p:cNvGrpSpPr/>
          <p:nvPr userDrawn="1"/>
        </p:nvGrpSpPr>
        <p:grpSpPr>
          <a:xfrm>
            <a:off x="601465" y="3106715"/>
            <a:ext cx="630056" cy="627890"/>
            <a:chOff x="5178153" y="2509517"/>
            <a:chExt cx="1846804" cy="1840454"/>
          </a:xfrm>
          <a:solidFill>
            <a:srgbClr val="00A9E0"/>
          </a:solidFill>
        </p:grpSpPr>
        <p:sp>
          <p:nvSpPr>
            <p:cNvPr id="27" name="Forma en L 7"/>
            <p:cNvSpPr/>
            <p:nvPr/>
          </p:nvSpPr>
          <p:spPr>
            <a:xfrm>
              <a:off x="5178153" y="3741417"/>
              <a:ext cx="608554" cy="608554"/>
            </a:xfrm>
            <a:prstGeom prst="corner">
              <a:avLst>
                <a:gd name="adj1" fmla="val 10870"/>
                <a:gd name="adj2" fmla="val 9305"/>
              </a:avLst>
            </a:prstGeom>
            <a:grp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28" name="Forma en L 136"/>
            <p:cNvSpPr/>
            <p:nvPr/>
          </p:nvSpPr>
          <p:spPr>
            <a:xfrm rot="5400000">
              <a:off x="5178153" y="2509517"/>
              <a:ext cx="608554" cy="608554"/>
            </a:xfrm>
            <a:prstGeom prst="corner">
              <a:avLst>
                <a:gd name="adj1" fmla="val 10870"/>
                <a:gd name="adj2" fmla="val 9305"/>
              </a:avLst>
            </a:prstGeom>
            <a:grp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29" name="Forma en L 137"/>
            <p:cNvSpPr/>
            <p:nvPr/>
          </p:nvSpPr>
          <p:spPr>
            <a:xfrm rot="16200000">
              <a:off x="6416403" y="3741417"/>
              <a:ext cx="608554" cy="608554"/>
            </a:xfrm>
            <a:prstGeom prst="corner">
              <a:avLst>
                <a:gd name="adj1" fmla="val 10870"/>
                <a:gd name="adj2" fmla="val 9305"/>
              </a:avLst>
            </a:prstGeom>
            <a:grp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1" name="Forma en L 144"/>
            <p:cNvSpPr/>
            <p:nvPr/>
          </p:nvSpPr>
          <p:spPr>
            <a:xfrm rot="10800000">
              <a:off x="6416403" y="2509517"/>
              <a:ext cx="608554" cy="608554"/>
            </a:xfrm>
            <a:prstGeom prst="corner">
              <a:avLst>
                <a:gd name="adj1" fmla="val 10870"/>
                <a:gd name="adj2" fmla="val 9305"/>
              </a:avLst>
            </a:prstGeom>
            <a:grp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grpSp>
      <p:sp>
        <p:nvSpPr>
          <p:cNvPr id="3" name="Text Placeholder 2"/>
          <p:cNvSpPr>
            <a:spLocks noGrp="1"/>
          </p:cNvSpPr>
          <p:nvPr>
            <p:ph type="body" sz="quarter" idx="19" hasCustomPrompt="1"/>
          </p:nvPr>
        </p:nvSpPr>
        <p:spPr>
          <a:xfrm>
            <a:off x="601663" y="3191801"/>
            <a:ext cx="630237" cy="628650"/>
          </a:xfrm>
          <a:prstGeom prst="rect">
            <a:avLst/>
          </a:prstGeom>
        </p:spPr>
        <p:txBody>
          <a:bodyPr/>
          <a:lstStyle>
            <a:lvl1pPr marL="0" indent="0">
              <a:buNone/>
              <a:defRPr sz="32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err="1"/>
              <a:t>Nr</a:t>
            </a:r>
            <a:endParaRPr lang="en-US"/>
          </a:p>
        </p:txBody>
      </p:sp>
      <p:sp>
        <p:nvSpPr>
          <p:cNvPr id="34"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a:br>
            <a:br>
              <a:rPr lang="en-GB" noProof="0"/>
            </a:br>
            <a:br>
              <a:rPr lang="en-GB" noProof="0"/>
            </a:br>
            <a:br>
              <a:rPr lang="en-GB" noProof="0"/>
            </a:br>
            <a:r>
              <a:rPr lang="en-GB" noProof="0"/>
              <a:t>Insert your picture here</a:t>
            </a:r>
          </a:p>
        </p:txBody>
      </p:sp>
    </p:spTree>
    <p:extLst>
      <p:ext uri="{BB962C8B-B14F-4D97-AF65-F5344CB8AC3E}">
        <p14:creationId xmlns:p14="http://schemas.microsoft.com/office/powerpoint/2010/main" val="518187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with photo and blu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
        <p:nvSpPr>
          <p:cNvPr id="11" name="Marcador de posición de imagen 17"/>
          <p:cNvSpPr>
            <a:spLocks noGrp="1"/>
          </p:cNvSpPr>
          <p:nvPr>
            <p:ph type="pic" sz="quarter" idx="16" hasCustomPrompt="1"/>
          </p:nvPr>
        </p:nvSpPr>
        <p:spPr>
          <a:xfrm>
            <a:off x="6235700" y="777732"/>
            <a:ext cx="5966653" cy="6096072"/>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20"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p>
        </p:txBody>
      </p:sp>
      <p:pic>
        <p:nvPicPr>
          <p:cNvPr id="21" name="Imagen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1555" y="633583"/>
            <a:ext cx="3830824" cy="1335474"/>
          </a:xfrm>
          <a:prstGeom prst="rect">
            <a:avLst/>
          </a:prstGeom>
        </p:spPr>
      </p:pic>
    </p:spTree>
    <p:extLst>
      <p:ext uri="{BB962C8B-B14F-4D97-AF65-F5344CB8AC3E}">
        <p14:creationId xmlns:p14="http://schemas.microsoft.com/office/powerpoint/2010/main" val="35839405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II">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10752382" y="6444921"/>
            <a:ext cx="1308114" cy="276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0" name="Rectangle 29"/>
          <p:cNvSpPr/>
          <p:nvPr userDrawn="1"/>
        </p:nvSpPr>
        <p:spPr>
          <a:xfrm>
            <a:off x="-6351"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826573" y="3285709"/>
            <a:ext cx="5956600" cy="1325563"/>
          </a:xfrm>
        </p:spPr>
        <p:txBody>
          <a:bodyPr anchor="b"/>
          <a:lstStyle>
            <a:lvl1pPr>
              <a:lnSpc>
                <a:spcPct val="100000"/>
              </a:lnSpc>
              <a:defRPr baseline="0">
                <a:solidFill>
                  <a:schemeClr val="tx2"/>
                </a:solidFill>
                <a:latin typeface="+mj-lt"/>
              </a:defRPr>
            </a:lvl1pPr>
          </a:lstStyle>
          <a:p>
            <a:r>
              <a:rPr lang="en-GB" noProof="0"/>
              <a:t>Add your divider title here</a:t>
            </a:r>
          </a:p>
        </p:txBody>
      </p:sp>
      <p:sp>
        <p:nvSpPr>
          <p:cNvPr id="96" name="Text Placeholder 19"/>
          <p:cNvSpPr>
            <a:spLocks noGrp="1"/>
          </p:cNvSpPr>
          <p:nvPr>
            <p:ph type="body" sz="quarter" idx="13" hasCustomPrompt="1"/>
          </p:nvPr>
        </p:nvSpPr>
        <p:spPr>
          <a:xfrm>
            <a:off x="5826366" y="4729493"/>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
        <p:nvSpPr>
          <p:cNvPr id="11" name="Marcador de posición de imagen 17"/>
          <p:cNvSpPr>
            <a:spLocks noGrp="1"/>
          </p:cNvSpPr>
          <p:nvPr>
            <p:ph type="pic" sz="quarter" idx="16" hasCustomPrompt="1"/>
          </p:nvPr>
        </p:nvSpPr>
        <p:spPr>
          <a:xfrm flipH="1">
            <a:off x="-6348"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a:br>
            <a:br>
              <a:rPr lang="en-GB" noProof="0"/>
            </a:br>
            <a:br>
              <a:rPr lang="en-GB" noProof="0"/>
            </a:br>
            <a:br>
              <a:rPr lang="en-GB" noProof="0"/>
            </a:br>
            <a:r>
              <a:rPr lang="en-GB" noProof="0"/>
              <a:t>Insert your picture here</a:t>
            </a:r>
          </a:p>
        </p:txBody>
      </p:sp>
      <p:pic>
        <p:nvPicPr>
          <p:cNvPr id="21" name="Imagen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697951" y="182970"/>
            <a:ext cx="2544887" cy="887180"/>
          </a:xfrm>
          <a:prstGeom prst="rect">
            <a:avLst/>
          </a:prstGeom>
        </p:spPr>
      </p:pic>
      <p:sp>
        <p:nvSpPr>
          <p:cNvPr id="12" name="TextBox 11"/>
          <p:cNvSpPr txBox="1"/>
          <p:nvPr userDrawn="1"/>
        </p:nvSpPr>
        <p:spPr>
          <a:xfrm>
            <a:off x="6809695" y="6444921"/>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flipH="1">
            <a:off x="6584655" y="6402113"/>
            <a:ext cx="254224" cy="254224"/>
          </a:xfrm>
          <a:prstGeom prst="rect">
            <a:avLst/>
          </a:prstGeom>
        </p:spPr>
      </p:pic>
      <p:sp>
        <p:nvSpPr>
          <p:cNvPr id="14"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34936390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dex pag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68225" y="310463"/>
            <a:ext cx="11252793" cy="596766"/>
          </a:xfrm>
        </p:spPr>
        <p:txBody>
          <a:bodyPr tIns="0" anchor="b"/>
          <a:lstStyle>
            <a:lvl1pPr>
              <a:lnSpc>
                <a:spcPct val="100000"/>
              </a:lnSpc>
              <a:defRPr sz="3200">
                <a:solidFill>
                  <a:schemeClr val="tx2"/>
                </a:solidFill>
                <a:latin typeface="+mj-lt"/>
              </a:defRPr>
            </a:lvl1pPr>
          </a:lstStyle>
          <a:p>
            <a:r>
              <a:rPr lang="en-GB" noProof="0"/>
              <a:t>Agenda</a:t>
            </a:r>
          </a:p>
        </p:txBody>
      </p:sp>
      <p:sp>
        <p:nvSpPr>
          <p:cNvPr id="5" name="Marcador de texto 4"/>
          <p:cNvSpPr>
            <a:spLocks noGrp="1"/>
          </p:cNvSpPr>
          <p:nvPr>
            <p:ph type="body" sz="quarter" idx="14" hasCustomPrompt="1"/>
          </p:nvPr>
        </p:nvSpPr>
        <p:spPr>
          <a:xfrm>
            <a:off x="302728" y="1155701"/>
            <a:ext cx="11252792"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Tree>
    <p:extLst>
      <p:ext uri="{BB962C8B-B14F-4D97-AF65-F5344CB8AC3E}">
        <p14:creationId xmlns:p14="http://schemas.microsoft.com/office/powerpoint/2010/main" val="6165669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dex with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a:off x="6361889" y="6308726"/>
            <a:ext cx="953311" cy="4714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a:solidFill>
                <a:srgbClr val="FFFFFF">
                  <a:lumMod val="65000"/>
                </a:srgbClr>
              </a:solidFill>
            </a:endParaRPr>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a:br>
            <a:br>
              <a:rPr lang="en-GB" noProof="0"/>
            </a:br>
            <a:br>
              <a:rPr lang="en-GB" noProof="0"/>
            </a:br>
            <a:br>
              <a:rPr lang="en-GB" noProof="0"/>
            </a:br>
            <a:r>
              <a:rPr lang="en-GB" noProof="0"/>
              <a:t>Insert your picture here</a:t>
            </a:r>
          </a:p>
        </p:txBody>
      </p:sp>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16" name="Title 1"/>
          <p:cNvSpPr>
            <a:spLocks noGrp="1"/>
          </p:cNvSpPr>
          <p:nvPr>
            <p:ph type="title" hasCustomPrompt="1"/>
          </p:nvPr>
        </p:nvSpPr>
        <p:spPr>
          <a:xfrm>
            <a:off x="268225" y="310463"/>
            <a:ext cx="6286759" cy="596766"/>
          </a:xfrm>
        </p:spPr>
        <p:txBody>
          <a:bodyPr tIns="0" anchor="b"/>
          <a:lstStyle>
            <a:lvl1pPr>
              <a:lnSpc>
                <a:spcPct val="100000"/>
              </a:lnSpc>
              <a:defRPr sz="3200">
                <a:solidFill>
                  <a:schemeClr val="tx2"/>
                </a:solidFill>
                <a:latin typeface="+mj-lt"/>
              </a:defRPr>
            </a:lvl1pPr>
          </a:lstStyle>
          <a:p>
            <a:r>
              <a:rPr lang="en-GB" noProof="0"/>
              <a:t>Agenda</a:t>
            </a:r>
          </a:p>
        </p:txBody>
      </p:sp>
      <p:sp>
        <p:nvSpPr>
          <p:cNvPr id="17" name="Marcador de texto 4"/>
          <p:cNvSpPr>
            <a:spLocks noGrp="1"/>
          </p:cNvSpPr>
          <p:nvPr>
            <p:ph type="body" sz="quarter" idx="14" hasCustomPrompt="1"/>
          </p:nvPr>
        </p:nvSpPr>
        <p:spPr>
          <a:xfrm>
            <a:off x="302728" y="1155701"/>
            <a:ext cx="6286758"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Index 1</a:t>
            </a:r>
          </a:p>
          <a:p>
            <a:pPr lvl="0"/>
            <a:r>
              <a:rPr lang="en-GB" noProof="0"/>
              <a:t>Index 2</a:t>
            </a:r>
          </a:p>
          <a:p>
            <a:pPr lvl="0"/>
            <a:r>
              <a:rPr lang="en-GB" noProof="0"/>
              <a:t>Index 3</a:t>
            </a:r>
          </a:p>
        </p:txBody>
      </p:sp>
    </p:spTree>
    <p:extLst>
      <p:ext uri="{BB962C8B-B14F-4D97-AF65-F5344CB8AC3E}">
        <p14:creationId xmlns:p14="http://schemas.microsoft.com/office/powerpoint/2010/main" val="27586404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09" y="1480159"/>
            <a:ext cx="11228409" cy="444268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6085496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292608" y="1480173"/>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7"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8"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8" name="Marcador de texto 2"/>
          <p:cNvSpPr>
            <a:spLocks noGrp="1"/>
          </p:cNvSpPr>
          <p:nvPr>
            <p:ph type="body" sz="quarter" idx="19" hasCustomPrompt="1"/>
          </p:nvPr>
        </p:nvSpPr>
        <p:spPr>
          <a:xfrm>
            <a:off x="6063308" y="1472789"/>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10817117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268224" y="1480159"/>
            <a:ext cx="5218176" cy="1349538"/>
          </a:xfrm>
          <a:prstGeom prst="rect">
            <a:avLst/>
          </a:prstGeom>
        </p:spPr>
        <p:txBody>
          <a:bodyPr>
            <a:noAutofit/>
          </a:bodyPr>
          <a:lstStyle>
            <a:lvl1pPr marL="0" indent="0">
              <a:lnSpc>
                <a:spcPct val="100000"/>
              </a:lnSpc>
              <a:buNone/>
              <a:defRPr sz="2000" kern="0" baseline="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lang="en-US" smtClean="0"/>
            </a:lvl1pPr>
          </a:lstStyle>
          <a:p>
            <a:r>
              <a:rPr lang="en-GB">
                <a:solidFill>
                  <a:srgbClr val="FFFFFF">
                    <a:lumMod val="65000"/>
                  </a:srgbClr>
                </a:solidFill>
              </a:rPr>
              <a:t>© Amadeus IT Group and its affiliates and subsidiaries</a:t>
            </a:r>
          </a:p>
        </p:txBody>
      </p:sp>
      <p:sp>
        <p:nvSpPr>
          <p:cNvPr id="13"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20"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Picture Placeholder 30"/>
          <p:cNvSpPr>
            <a:spLocks noGrp="1"/>
          </p:cNvSpPr>
          <p:nvPr>
            <p:ph type="pic" sz="quarter" idx="14" hasCustomPrompt="1"/>
          </p:nvPr>
        </p:nvSpPr>
        <p:spPr>
          <a:xfrm>
            <a:off x="6" y="2979036"/>
            <a:ext cx="4002685" cy="3878978"/>
          </a:xfrm>
          <a:custGeom>
            <a:avLst/>
            <a:gdLst>
              <a:gd name="connsiteX0" fmla="*/ 2435667 w 3352801"/>
              <a:gd name="connsiteY0" fmla="*/ 0 h 2652713"/>
              <a:gd name="connsiteX1" fmla="*/ 2441681 w 3352801"/>
              <a:gd name="connsiteY1" fmla="*/ 0 h 2652713"/>
              <a:gd name="connsiteX2" fmla="*/ 2467241 w 3352801"/>
              <a:gd name="connsiteY2" fmla="*/ 0 h 2652713"/>
              <a:gd name="connsiteX3" fmla="*/ 3352801 w 3352801"/>
              <a:gd name="connsiteY3" fmla="*/ 884739 h 2652713"/>
              <a:gd name="connsiteX4" fmla="*/ 3300179 w 3352801"/>
              <a:gd name="connsiteY4" fmla="*/ 1183657 h 2652713"/>
              <a:gd name="connsiteX5" fmla="*/ 3301682 w 3352801"/>
              <a:gd name="connsiteY5" fmla="*/ 1183657 h 2652713"/>
              <a:gd name="connsiteX6" fmla="*/ 2837101 w 3352801"/>
              <a:gd name="connsiteY6" fmla="*/ 2652713 h 2652713"/>
              <a:gd name="connsiteX7" fmla="*/ 4511 w 3352801"/>
              <a:gd name="connsiteY7" fmla="*/ 2652713 h 2652713"/>
              <a:gd name="connsiteX8" fmla="*/ 0 w 3352801"/>
              <a:gd name="connsiteY8" fmla="*/ 268876 h 2652713"/>
              <a:gd name="connsiteX9" fmla="*/ 2301856 w 3352801"/>
              <a:gd name="connsiteY9" fmla="*/ 15021 h 2652713"/>
              <a:gd name="connsiteX10" fmla="*/ 2435667 w 3352801"/>
              <a:gd name="connsiteY10" fmla="*/ 0 h 265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01" h="2652713">
                <a:moveTo>
                  <a:pt x="2435667" y="0"/>
                </a:moveTo>
                <a:cubicBezTo>
                  <a:pt x="2435667" y="0"/>
                  <a:pt x="2435667" y="0"/>
                  <a:pt x="2441681" y="0"/>
                </a:cubicBezTo>
                <a:cubicBezTo>
                  <a:pt x="2449199" y="0"/>
                  <a:pt x="2458220" y="0"/>
                  <a:pt x="2467241" y="0"/>
                </a:cubicBezTo>
                <a:cubicBezTo>
                  <a:pt x="2955878" y="0"/>
                  <a:pt x="3352801" y="395053"/>
                  <a:pt x="3352801" y="884739"/>
                </a:cubicBezTo>
                <a:cubicBezTo>
                  <a:pt x="3352801" y="989886"/>
                  <a:pt x="3334759" y="1090527"/>
                  <a:pt x="3300179" y="1183657"/>
                </a:cubicBezTo>
                <a:cubicBezTo>
                  <a:pt x="3300179" y="1183657"/>
                  <a:pt x="3300179" y="1183657"/>
                  <a:pt x="3301682" y="1183657"/>
                </a:cubicBezTo>
                <a:cubicBezTo>
                  <a:pt x="3301682" y="1183657"/>
                  <a:pt x="3301682" y="1183657"/>
                  <a:pt x="2837101" y="2652713"/>
                </a:cubicBezTo>
                <a:cubicBezTo>
                  <a:pt x="2837101" y="2652713"/>
                  <a:pt x="2837101" y="2652713"/>
                  <a:pt x="4511" y="2652713"/>
                </a:cubicBezTo>
                <a:cubicBezTo>
                  <a:pt x="4511" y="2652713"/>
                  <a:pt x="4511" y="2652713"/>
                  <a:pt x="0" y="268876"/>
                </a:cubicBezTo>
                <a:cubicBezTo>
                  <a:pt x="0" y="268876"/>
                  <a:pt x="0" y="268876"/>
                  <a:pt x="2301856" y="15021"/>
                </a:cubicBezTo>
                <a:cubicBezTo>
                  <a:pt x="2345457" y="6008"/>
                  <a:pt x="2390562" y="1502"/>
                  <a:pt x="2435667" y="0"/>
                </a:cubicBezTo>
                <a:close/>
              </a:path>
            </a:pathLst>
          </a:custGeom>
          <a:solidFill>
            <a:schemeClr val="bg1">
              <a:lumMod val="95000"/>
            </a:schemeClr>
          </a:solidFill>
        </p:spPr>
        <p:txBody>
          <a:bodyPr wrap="square" anchor="ctr">
            <a:noAutofit/>
          </a:bodyPr>
          <a:lstStyle>
            <a:lvl1pPr marL="0" indent="0" algn="ctr">
              <a:buNone/>
              <a:defRPr/>
            </a:lvl1pPr>
          </a:lstStyle>
          <a:p>
            <a:br>
              <a:rPr lang="en-GB" noProof="0"/>
            </a:br>
            <a:br>
              <a:rPr lang="en-GB" noProof="0"/>
            </a:br>
            <a:r>
              <a:rPr lang="en-GB" noProof="0"/>
              <a:t>Insert your picture here</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Tree>
    <p:extLst>
      <p:ext uri="{BB962C8B-B14F-4D97-AF65-F5344CB8AC3E}">
        <p14:creationId xmlns:p14="http://schemas.microsoft.com/office/powerpoint/2010/main" val="23405911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p:cNvSpPr>
            <a:spLocks noGrp="1"/>
          </p:cNvSpPr>
          <p:nvPr>
            <p:ph type="pic" sz="quarter" idx="15" hasCustomPrompt="1"/>
          </p:nvPr>
        </p:nvSpPr>
        <p:spPr>
          <a:xfrm>
            <a:off x="6050347" y="3747118"/>
            <a:ext cx="5470141" cy="1790083"/>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14" name="Text Placeholder 4"/>
          <p:cNvSpPr>
            <a:spLocks noGrp="1"/>
          </p:cNvSpPr>
          <p:nvPr>
            <p:ph type="body" sz="quarter" idx="17"/>
          </p:nvPr>
        </p:nvSpPr>
        <p:spPr>
          <a:xfrm>
            <a:off x="6060571" y="5581458"/>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p:cNvSpPr>
            <a:spLocks noGrp="1"/>
          </p:cNvSpPr>
          <p:nvPr>
            <p:ph type="pic" sz="quarter" idx="20" hasCustomPrompt="1"/>
          </p:nvPr>
        </p:nvSpPr>
        <p:spPr>
          <a:xfrm>
            <a:off x="6050084" y="1330841"/>
            <a:ext cx="5470141" cy="1790206"/>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a:br>
            <a:br>
              <a:rPr lang="en-GB" noProof="0"/>
            </a:br>
            <a:br>
              <a:rPr lang="en-GB" noProof="0"/>
            </a:br>
            <a:br>
              <a:rPr lang="en-GB" noProof="0"/>
            </a:br>
            <a:r>
              <a:rPr lang="en-GB" noProof="0"/>
              <a:t>Insert your picture here</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6" name="Title 1"/>
          <p:cNvSpPr>
            <a:spLocks noGrp="1"/>
          </p:cNvSpPr>
          <p:nvPr>
            <p:ph type="title" hasCustomPrompt="1"/>
          </p:nvPr>
        </p:nvSpPr>
        <p:spPr>
          <a:xfrm>
            <a:off x="268225" y="296865"/>
            <a:ext cx="9378888" cy="482549"/>
          </a:xfrm>
        </p:spPr>
        <p:txBody>
          <a:bodyPr anchor="t">
            <a:noAutofit/>
          </a:bodyPr>
          <a:lstStyle>
            <a:lvl1pPr>
              <a:defRPr sz="3200">
                <a:solidFill>
                  <a:schemeClr val="tx2"/>
                </a:solidFill>
                <a:latin typeface="+mj-lt"/>
              </a:defRPr>
            </a:lvl1pPr>
          </a:lstStyle>
          <a:p>
            <a:r>
              <a:rPr lang="en-GB" noProof="0"/>
              <a:t>Add your title here</a:t>
            </a:r>
          </a:p>
        </p:txBody>
      </p:sp>
      <p:sp>
        <p:nvSpPr>
          <p:cNvPr id="18" name="Text Placeholder 19"/>
          <p:cNvSpPr>
            <a:spLocks noGrp="1"/>
          </p:cNvSpPr>
          <p:nvPr>
            <p:ph type="body" sz="quarter" idx="13" hasCustomPrompt="1"/>
          </p:nvPr>
        </p:nvSpPr>
        <p:spPr>
          <a:xfrm>
            <a:off x="268225" y="779412"/>
            <a:ext cx="9378888"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1" name="Marcador de texto 2"/>
          <p:cNvSpPr>
            <a:spLocks noGrp="1"/>
          </p:cNvSpPr>
          <p:nvPr>
            <p:ph type="body" sz="quarter" idx="19" hasCustomPrompt="1"/>
          </p:nvPr>
        </p:nvSpPr>
        <p:spPr>
          <a:xfrm>
            <a:off x="268225" y="1302027"/>
            <a:ext cx="5492496" cy="4438374"/>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3" name="Text Placeholder 4"/>
          <p:cNvSpPr>
            <a:spLocks noGrp="1"/>
          </p:cNvSpPr>
          <p:nvPr>
            <p:ph type="body" sz="quarter" idx="21"/>
          </p:nvPr>
        </p:nvSpPr>
        <p:spPr>
          <a:xfrm>
            <a:off x="6050085" y="3202642"/>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16381609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83873" y="899886"/>
            <a:ext cx="11022863" cy="4267200"/>
          </a:xfrm>
        </p:spPr>
        <p:txBody>
          <a:bodyPr anchor="b">
            <a:normAutofit/>
          </a:bodyPr>
          <a:lstStyle>
            <a:lvl1pPr>
              <a:lnSpc>
                <a:spcPct val="100000"/>
              </a:lnSpc>
              <a:defRPr sz="3200" baseline="0">
                <a:solidFill>
                  <a:schemeClr val="tx2"/>
                </a:solidFill>
                <a:latin typeface="+mj-lt"/>
              </a:defRPr>
            </a:lvl1pPr>
          </a:lstStyle>
          <a:p>
            <a:r>
              <a:rPr lang="en-GB" noProof="0"/>
              <a:t>“Click to insert your quote”</a:t>
            </a:r>
          </a:p>
        </p:txBody>
      </p:sp>
      <p:sp>
        <p:nvSpPr>
          <p:cNvPr id="6" name="Text Placeholder 19"/>
          <p:cNvSpPr>
            <a:spLocks noGrp="1"/>
          </p:cNvSpPr>
          <p:nvPr>
            <p:ph type="body" sz="quarter" idx="13"/>
          </p:nvPr>
        </p:nvSpPr>
        <p:spPr>
          <a:xfrm>
            <a:off x="283657" y="5240908"/>
            <a:ext cx="4602163" cy="498992"/>
          </a:xfrm>
          <a:prstGeom prst="rect">
            <a:avLst/>
          </a:prstGeom>
        </p:spPr>
        <p:txBody>
          <a:bodyPr>
            <a:noAutofit/>
          </a:bodyPr>
          <a:lstStyle>
            <a:lvl1pPr marL="0" indent="0">
              <a:lnSpc>
                <a:spcPts val="1425"/>
              </a:lnSpc>
              <a:buNone/>
              <a:defRPr sz="135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Tree>
    <p:extLst>
      <p:ext uri="{BB962C8B-B14F-4D97-AF65-F5344CB8AC3E}">
        <p14:creationId xmlns:p14="http://schemas.microsoft.com/office/powerpoint/2010/main" val="14690489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2" name="Rectángulo 1"/>
          <p:cNvSpPr/>
          <p:nvPr userDrawn="1"/>
        </p:nvSpPr>
        <p:spPr>
          <a:xfrm>
            <a:off x="0" y="5828996"/>
            <a:ext cx="3781425" cy="1029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43" name="Content Placeholder 5"/>
          <p:cNvSpPr>
            <a:spLocks noGrp="1"/>
          </p:cNvSpPr>
          <p:nvPr>
            <p:ph sz="quarter" idx="4"/>
          </p:nvPr>
        </p:nvSpPr>
        <p:spPr>
          <a:xfrm>
            <a:off x="304085" y="4034980"/>
            <a:ext cx="3630108" cy="2240292"/>
          </a:xfrm>
          <a:prstGeom prst="rect">
            <a:avLst/>
          </a:prstGeom>
        </p:spPr>
        <p:txBody>
          <a:bodyPr anchor="b">
            <a:noAutofit/>
          </a:bodyPr>
          <a:lstStyle>
            <a:lvl1pPr marL="0" indent="0">
              <a:lnSpc>
                <a:spcPct val="100000"/>
              </a:lnSpc>
              <a:spcAft>
                <a:spcPts val="900"/>
              </a:spcAft>
              <a:buNone/>
              <a:defRPr sz="20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US" noProof="0"/>
              <a:t>Click to edit Master text styles</a:t>
            </a:r>
          </a:p>
        </p:txBody>
      </p:sp>
      <p:sp>
        <p:nvSpPr>
          <p:cNvPr id="36" name="Marcador de número de diapositiva 32"/>
          <p:cNvSpPr>
            <a:spLocks noGrp="1"/>
          </p:cNvSpPr>
          <p:nvPr>
            <p:ph type="sldNum" sz="quarter" idx="31"/>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6" name="Picture Placeholder 59"/>
          <p:cNvSpPr>
            <a:spLocks noGrp="1"/>
          </p:cNvSpPr>
          <p:nvPr>
            <p:ph type="pic" sz="quarter" idx="22" hasCustomPrompt="1"/>
          </p:nvPr>
        </p:nvSpPr>
        <p:spPr>
          <a:xfrm>
            <a:off x="6217528" y="13343"/>
            <a:ext cx="5956887" cy="4900446"/>
          </a:xfrm>
          <a:custGeom>
            <a:avLst/>
            <a:gdLst>
              <a:gd name="connsiteX0" fmla="*/ 1507176 w 7526189"/>
              <a:gd name="connsiteY0" fmla="*/ 0 h 4900446"/>
              <a:gd name="connsiteX1" fmla="*/ 7526189 w 7526189"/>
              <a:gd name="connsiteY1" fmla="*/ 0 h 4900446"/>
              <a:gd name="connsiteX2" fmla="*/ 7526189 w 7526189"/>
              <a:gd name="connsiteY2" fmla="*/ 3753700 h 4900446"/>
              <a:gd name="connsiteX3" fmla="*/ 416883 w 7526189"/>
              <a:gd name="connsiteY3" fmla="*/ 3876833 h 4900446"/>
              <a:gd name="connsiteX4" fmla="*/ 1507176 w 7526189"/>
              <a:gd name="connsiteY4" fmla="*/ 0 h 490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6189" h="4900446">
                <a:moveTo>
                  <a:pt x="1507176" y="0"/>
                </a:moveTo>
                <a:lnTo>
                  <a:pt x="7526189" y="0"/>
                </a:lnTo>
                <a:cubicBezTo>
                  <a:pt x="7526189" y="0"/>
                  <a:pt x="7526189" y="0"/>
                  <a:pt x="7526189" y="3753700"/>
                </a:cubicBezTo>
                <a:cubicBezTo>
                  <a:pt x="6581517" y="4171607"/>
                  <a:pt x="1660265" y="6037263"/>
                  <a:pt x="416883" y="3876833"/>
                </a:cubicBezTo>
                <a:cubicBezTo>
                  <a:pt x="-852636" y="1667897"/>
                  <a:pt x="1148723" y="235073"/>
                  <a:pt x="1507176" y="0"/>
                </a:cubicBezTo>
                <a:close/>
              </a:path>
            </a:pathLst>
          </a:custGeom>
          <a:solidFill>
            <a:srgbClr val="ECECEC"/>
          </a:solidFill>
        </p:spPr>
        <p:txBody>
          <a:bodyPr wrap="square" anchor="ctr">
            <a:noAutofit/>
          </a:bodyPr>
          <a:lstStyle>
            <a:lvl1pPr marL="0" indent="0" algn="ctr">
              <a:buNone/>
              <a:defRPr/>
            </a:lvl1pPr>
          </a:lstStyle>
          <a:p>
            <a:br>
              <a:rPr lang="en-GB" noProof="0"/>
            </a:br>
            <a:br>
              <a:rPr lang="en-GB" noProof="0"/>
            </a:br>
            <a:r>
              <a:rPr lang="en-GB" noProof="0"/>
              <a:t>Insert your picture here</a:t>
            </a:r>
          </a:p>
        </p:txBody>
      </p:sp>
      <p:sp>
        <p:nvSpPr>
          <p:cNvPr id="17" name="Text Placeholder 68"/>
          <p:cNvSpPr>
            <a:spLocks noGrp="1"/>
          </p:cNvSpPr>
          <p:nvPr>
            <p:ph type="body" sz="quarter" idx="23" hasCustomPrompt="1"/>
          </p:nvPr>
        </p:nvSpPr>
        <p:spPr>
          <a:xfrm>
            <a:off x="5759505" y="1091922"/>
            <a:ext cx="1440000" cy="1438317"/>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CE0058"/>
          </a:solidFill>
        </p:spPr>
        <p:txBody>
          <a:bodyPr wrap="square" tIns="864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a:t>Click to edit</a:t>
            </a:r>
          </a:p>
        </p:txBody>
      </p:sp>
      <p:sp>
        <p:nvSpPr>
          <p:cNvPr id="18" name="Text Placeholder 70"/>
          <p:cNvSpPr>
            <a:spLocks noGrp="1"/>
          </p:cNvSpPr>
          <p:nvPr>
            <p:ph type="body" sz="quarter" idx="24" hasCustomPrompt="1"/>
          </p:nvPr>
        </p:nvSpPr>
        <p:spPr>
          <a:xfrm>
            <a:off x="5883419" y="1517411"/>
            <a:ext cx="1205942" cy="463831"/>
          </a:xfrm>
          <a:prstGeom prst="rect">
            <a:avLst/>
          </a:prstGeom>
        </p:spPr>
        <p:txBody>
          <a:bodyPr>
            <a:noAutofit/>
          </a:bodyPr>
          <a:lstStyle>
            <a:lvl1pPr marL="0" indent="0" algn="ctr">
              <a:buNone/>
              <a:defRPr sz="2700">
                <a:solidFill>
                  <a:schemeClr val="bg1"/>
                </a:solidFill>
              </a:defRPr>
            </a:lvl1pPr>
          </a:lstStyle>
          <a:p>
            <a:pPr lvl="0"/>
            <a:r>
              <a:rPr lang="en-GB" noProof="0"/>
              <a:t>Numb</a:t>
            </a:r>
          </a:p>
        </p:txBody>
      </p:sp>
      <p:sp>
        <p:nvSpPr>
          <p:cNvPr id="19" name="Text Placeholder 71"/>
          <p:cNvSpPr>
            <a:spLocks noGrp="1"/>
          </p:cNvSpPr>
          <p:nvPr>
            <p:ph type="body" sz="quarter" idx="25" hasCustomPrompt="1"/>
          </p:nvPr>
        </p:nvSpPr>
        <p:spPr>
          <a:xfrm>
            <a:off x="6415026" y="3686660"/>
            <a:ext cx="2124000" cy="2124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2"/>
          </a:solidFill>
        </p:spPr>
        <p:txBody>
          <a:bodyPr wrap="square" tIns="1368000">
            <a:noAutofit/>
          </a:bodyPr>
          <a:lstStyle>
            <a:lvl1pPr marL="0" indent="0" algn="ctr">
              <a:lnSpc>
                <a:spcPct val="50000"/>
              </a:lnSpc>
              <a:spcBef>
                <a:spcPts val="450"/>
              </a:spcBef>
              <a:buNone/>
              <a:defRPr sz="1800" baseline="0">
                <a:solidFill>
                  <a:schemeClr val="bg1"/>
                </a:solidFill>
              </a:defRPr>
            </a:lvl1pPr>
            <a:lvl2pPr algn="ctr">
              <a:defRPr/>
            </a:lvl2pPr>
          </a:lstStyle>
          <a:p>
            <a:pPr lvl="0"/>
            <a:r>
              <a:rPr lang="en-GB" noProof="0"/>
              <a:t>Click to edit</a:t>
            </a:r>
          </a:p>
        </p:txBody>
      </p:sp>
      <p:sp>
        <p:nvSpPr>
          <p:cNvPr id="20" name="Text Placeholder 70"/>
          <p:cNvSpPr>
            <a:spLocks noGrp="1"/>
          </p:cNvSpPr>
          <p:nvPr>
            <p:ph type="body" sz="quarter" idx="26" hasCustomPrompt="1"/>
          </p:nvPr>
        </p:nvSpPr>
        <p:spPr>
          <a:xfrm>
            <a:off x="6453877" y="4415153"/>
            <a:ext cx="1939187" cy="615030"/>
          </a:xfrm>
          <a:prstGeom prst="rect">
            <a:avLst/>
          </a:prstGeom>
        </p:spPr>
        <p:txBody>
          <a:bodyPr>
            <a:noAutofit/>
          </a:bodyPr>
          <a:lstStyle>
            <a:lvl1pPr marL="0" indent="0" algn="ctr">
              <a:buNone/>
              <a:defRPr sz="4050">
                <a:solidFill>
                  <a:schemeClr val="bg1"/>
                </a:solidFill>
              </a:defRPr>
            </a:lvl1pPr>
          </a:lstStyle>
          <a:p>
            <a:pPr lvl="0"/>
            <a:r>
              <a:rPr lang="en-GB" noProof="0"/>
              <a:t>Numb</a:t>
            </a:r>
          </a:p>
        </p:txBody>
      </p:sp>
      <p:sp>
        <p:nvSpPr>
          <p:cNvPr id="21" name="Text Placeholder 73"/>
          <p:cNvSpPr>
            <a:spLocks noGrp="1"/>
          </p:cNvSpPr>
          <p:nvPr>
            <p:ph type="body" sz="quarter" idx="27" hasCustomPrompt="1"/>
          </p:nvPr>
        </p:nvSpPr>
        <p:spPr>
          <a:xfrm>
            <a:off x="8897242" y="3748156"/>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1"/>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a:t>Click to edit</a:t>
            </a:r>
          </a:p>
        </p:txBody>
      </p:sp>
      <p:sp>
        <p:nvSpPr>
          <p:cNvPr id="22" name="Text Placeholder 70"/>
          <p:cNvSpPr>
            <a:spLocks noGrp="1"/>
          </p:cNvSpPr>
          <p:nvPr>
            <p:ph type="body" sz="quarter" idx="28" hasCustomPrompt="1"/>
          </p:nvPr>
        </p:nvSpPr>
        <p:spPr>
          <a:xfrm>
            <a:off x="8950110" y="4216184"/>
            <a:ext cx="1266262" cy="414083"/>
          </a:xfrm>
          <a:prstGeom prst="rect">
            <a:avLst/>
          </a:prstGeom>
        </p:spPr>
        <p:txBody>
          <a:bodyPr>
            <a:noAutofit/>
          </a:bodyPr>
          <a:lstStyle>
            <a:lvl1pPr marL="0" indent="0" algn="ctr">
              <a:buNone/>
              <a:defRPr sz="2700">
                <a:solidFill>
                  <a:schemeClr val="bg1"/>
                </a:solidFill>
              </a:defRPr>
            </a:lvl1pPr>
          </a:lstStyle>
          <a:p>
            <a:pPr lvl="0"/>
            <a:r>
              <a:rPr lang="en-GB" noProof="0"/>
              <a:t>Numb</a:t>
            </a:r>
          </a:p>
        </p:txBody>
      </p:sp>
      <p:sp>
        <p:nvSpPr>
          <p:cNvPr id="26" name="Text Placeholder 75"/>
          <p:cNvSpPr>
            <a:spLocks noGrp="1"/>
          </p:cNvSpPr>
          <p:nvPr>
            <p:ph type="body" sz="quarter" idx="29" hasCustomPrompt="1"/>
          </p:nvPr>
        </p:nvSpPr>
        <p:spPr>
          <a:xfrm>
            <a:off x="10520740" y="4644293"/>
            <a:ext cx="1008000" cy="1008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E95326"/>
          </a:solidFill>
        </p:spPr>
        <p:txBody>
          <a:bodyPr wrap="square" tIns="684000">
            <a:noAutofit/>
          </a:bodyPr>
          <a:lstStyle>
            <a:lvl1pPr marL="0" indent="0" algn="ctr">
              <a:lnSpc>
                <a:spcPct val="50000"/>
              </a:lnSpc>
              <a:spcBef>
                <a:spcPts val="450"/>
              </a:spcBef>
              <a:buNone/>
              <a:defRPr sz="1050" baseline="0">
                <a:solidFill>
                  <a:schemeClr val="bg1"/>
                </a:solidFill>
              </a:defRPr>
            </a:lvl1pPr>
            <a:lvl2pPr algn="ctr">
              <a:defRPr/>
            </a:lvl2pPr>
          </a:lstStyle>
          <a:p>
            <a:pPr lvl="0"/>
            <a:r>
              <a:rPr lang="en-GB" noProof="0"/>
              <a:t>Click to edit</a:t>
            </a:r>
          </a:p>
        </p:txBody>
      </p:sp>
      <p:sp>
        <p:nvSpPr>
          <p:cNvPr id="27" name="Text Placeholder 70"/>
          <p:cNvSpPr>
            <a:spLocks noGrp="1"/>
          </p:cNvSpPr>
          <p:nvPr>
            <p:ph type="body" sz="quarter" idx="30" hasCustomPrompt="1"/>
          </p:nvPr>
        </p:nvSpPr>
        <p:spPr>
          <a:xfrm>
            <a:off x="10551870" y="4923524"/>
            <a:ext cx="967596" cy="300632"/>
          </a:xfrm>
          <a:prstGeom prst="rect">
            <a:avLst/>
          </a:prstGeom>
        </p:spPr>
        <p:txBody>
          <a:bodyPr>
            <a:noAutofit/>
          </a:bodyPr>
          <a:lstStyle>
            <a:lvl1pPr marL="0" indent="0" algn="ctr">
              <a:buNone/>
              <a:defRPr sz="2400">
                <a:solidFill>
                  <a:schemeClr val="bg1"/>
                </a:solidFill>
              </a:defRPr>
            </a:lvl1pPr>
          </a:lstStyle>
          <a:p>
            <a:pPr lvl="0"/>
            <a:r>
              <a:rPr lang="en-GB" noProof="0"/>
              <a:t>Numb</a:t>
            </a:r>
          </a:p>
        </p:txBody>
      </p:sp>
      <p:sp>
        <p:nvSpPr>
          <p:cNvPr id="24" name="Title 1"/>
          <p:cNvSpPr>
            <a:spLocks noGrp="1"/>
          </p:cNvSpPr>
          <p:nvPr>
            <p:ph type="title" hasCustomPrompt="1"/>
          </p:nvPr>
        </p:nvSpPr>
        <p:spPr>
          <a:xfrm>
            <a:off x="268224" y="296865"/>
            <a:ext cx="9459976" cy="482549"/>
          </a:xfrm>
        </p:spPr>
        <p:txBody>
          <a:bodyPr anchor="t">
            <a:noAutofit/>
          </a:bodyPr>
          <a:lstStyle>
            <a:lvl1pPr>
              <a:defRPr sz="3200">
                <a:solidFill>
                  <a:schemeClr val="tx2"/>
                </a:solidFill>
                <a:latin typeface="+mj-lt"/>
              </a:defRPr>
            </a:lvl1pPr>
          </a:lstStyle>
          <a:p>
            <a:r>
              <a:rPr lang="en-GB" noProof="0"/>
              <a:t>Add your title here</a:t>
            </a:r>
          </a:p>
        </p:txBody>
      </p:sp>
      <p:sp>
        <p:nvSpPr>
          <p:cNvPr id="25" name="Text Placeholder 19"/>
          <p:cNvSpPr>
            <a:spLocks noGrp="1"/>
          </p:cNvSpPr>
          <p:nvPr>
            <p:ph type="body" sz="quarter" idx="13"/>
          </p:nvPr>
        </p:nvSpPr>
        <p:spPr>
          <a:xfrm>
            <a:off x="268224" y="787824"/>
            <a:ext cx="7059676" cy="45151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28" name="Text Placeholder 73"/>
          <p:cNvSpPr>
            <a:spLocks noGrp="1"/>
          </p:cNvSpPr>
          <p:nvPr>
            <p:ph type="body" sz="quarter" idx="32" hasCustomPrompt="1"/>
          </p:nvPr>
        </p:nvSpPr>
        <p:spPr>
          <a:xfrm>
            <a:off x="4701870" y="2796165"/>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F7A827"/>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a:t>Click to edit</a:t>
            </a:r>
          </a:p>
        </p:txBody>
      </p:sp>
      <p:sp>
        <p:nvSpPr>
          <p:cNvPr id="29" name="Text Placeholder 70"/>
          <p:cNvSpPr>
            <a:spLocks noGrp="1"/>
          </p:cNvSpPr>
          <p:nvPr>
            <p:ph type="body" sz="quarter" idx="33" hasCustomPrompt="1"/>
          </p:nvPr>
        </p:nvSpPr>
        <p:spPr>
          <a:xfrm>
            <a:off x="4754738" y="3264193"/>
            <a:ext cx="1266262" cy="414083"/>
          </a:xfrm>
          <a:prstGeom prst="rect">
            <a:avLst/>
          </a:prstGeom>
        </p:spPr>
        <p:txBody>
          <a:bodyPr>
            <a:noAutofit/>
          </a:bodyPr>
          <a:lstStyle>
            <a:lvl1pPr marL="0" indent="0" algn="ctr">
              <a:buNone/>
              <a:defRPr sz="2700">
                <a:solidFill>
                  <a:schemeClr val="bg1"/>
                </a:solidFill>
              </a:defRPr>
            </a:lvl1pPr>
          </a:lstStyle>
          <a:p>
            <a:pPr lvl="0"/>
            <a:r>
              <a:rPr lang="en-GB" noProof="0"/>
              <a:t>Numb</a:t>
            </a:r>
          </a:p>
        </p:txBody>
      </p:sp>
    </p:spTree>
    <p:extLst>
      <p:ext uri="{BB962C8B-B14F-4D97-AF65-F5344CB8AC3E}">
        <p14:creationId xmlns:p14="http://schemas.microsoft.com/office/powerpoint/2010/main" val="30837496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268225" y="2117672"/>
            <a:ext cx="4909841"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1" name="Content Placeholder 5"/>
          <p:cNvSpPr>
            <a:spLocks noGrp="1"/>
          </p:cNvSpPr>
          <p:nvPr>
            <p:ph sz="quarter" idx="14" hasCustomPrompt="1"/>
          </p:nvPr>
        </p:nvSpPr>
        <p:spPr>
          <a:xfrm>
            <a:off x="268225" y="2854989"/>
            <a:ext cx="4909840"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2" name="Content Placeholder 5"/>
          <p:cNvSpPr>
            <a:spLocks noGrp="1"/>
          </p:cNvSpPr>
          <p:nvPr>
            <p:ph sz="quarter" idx="15" hasCustomPrompt="1"/>
          </p:nvPr>
        </p:nvSpPr>
        <p:spPr>
          <a:xfrm>
            <a:off x="268227" y="3592306"/>
            <a:ext cx="491020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25" name="Content Placeholder 5"/>
          <p:cNvSpPr>
            <a:spLocks noGrp="1"/>
          </p:cNvSpPr>
          <p:nvPr>
            <p:ph sz="quarter" idx="16" hasCustomPrompt="1"/>
          </p:nvPr>
        </p:nvSpPr>
        <p:spPr>
          <a:xfrm>
            <a:off x="268227" y="4322886"/>
            <a:ext cx="4909836"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a:t>Object</a:t>
            </a:r>
          </a:p>
        </p:txBody>
      </p:sp>
      <p:sp>
        <p:nvSpPr>
          <p:cNvPr id="16"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5" name="Title 1"/>
          <p:cNvSpPr>
            <a:spLocks noGrp="1"/>
          </p:cNvSpPr>
          <p:nvPr>
            <p:ph type="title" hasCustomPrompt="1"/>
          </p:nvPr>
        </p:nvSpPr>
        <p:spPr>
          <a:xfrm>
            <a:off x="268223" y="296865"/>
            <a:ext cx="9510777" cy="482549"/>
          </a:xfrm>
        </p:spPr>
        <p:txBody>
          <a:bodyPr anchor="t">
            <a:noAutofit/>
          </a:bodyPr>
          <a:lstStyle>
            <a:lvl1pPr>
              <a:defRPr sz="3200">
                <a:solidFill>
                  <a:schemeClr val="tx2"/>
                </a:solidFill>
                <a:latin typeface="+mj-lt"/>
              </a:defRPr>
            </a:lvl1pPr>
          </a:lstStyle>
          <a:p>
            <a:r>
              <a:rPr lang="en-GB" noProof="0"/>
              <a:t>Add your title here</a:t>
            </a:r>
          </a:p>
        </p:txBody>
      </p:sp>
      <p:sp>
        <p:nvSpPr>
          <p:cNvPr id="17" name="Text Placeholder 19"/>
          <p:cNvSpPr>
            <a:spLocks noGrp="1"/>
          </p:cNvSpPr>
          <p:nvPr>
            <p:ph type="body" sz="quarter" idx="13"/>
          </p:nvPr>
        </p:nvSpPr>
        <p:spPr>
          <a:xfrm>
            <a:off x="268223" y="779414"/>
            <a:ext cx="9510777" cy="376146"/>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2958831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tx2"/>
                </a:solidFill>
                <a:latin typeface="+mj-lt"/>
              </a:defRPr>
            </a:lvl1pPr>
          </a:lstStyle>
          <a:p>
            <a:r>
              <a:rPr lang="en-GB" noProof="0" dirty="0"/>
              <a:t>Add your divide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pic>
        <p:nvPicPr>
          <p:cNvPr id="21" name="Imagen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noProof="0" dirty="0"/>
          </a:p>
        </p:txBody>
      </p:sp>
    </p:spTree>
    <p:extLst>
      <p:ext uri="{BB962C8B-B14F-4D97-AF65-F5344CB8AC3E}">
        <p14:creationId xmlns:p14="http://schemas.microsoft.com/office/powerpoint/2010/main" val="17172209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6"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8" name="Content Placeholder 2"/>
          <p:cNvSpPr>
            <a:spLocks noGrp="1"/>
          </p:cNvSpPr>
          <p:nvPr>
            <p:ph idx="1" hasCustomPrompt="1"/>
          </p:nvPr>
        </p:nvSpPr>
        <p:spPr>
          <a:xfrm>
            <a:off x="287556" y="1640190"/>
            <a:ext cx="4271650" cy="447261"/>
          </a:xfrm>
          <a:prstGeom prst="rect">
            <a:avLst/>
          </a:prstGeom>
        </p:spPr>
        <p:txBody>
          <a:bodyPr>
            <a:noAutofit/>
          </a:bodyPr>
          <a:lstStyle>
            <a:lvl1pPr marL="0" indent="0" algn="l">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19" name="Text Placeholder 23"/>
          <p:cNvSpPr>
            <a:spLocks noGrp="1"/>
          </p:cNvSpPr>
          <p:nvPr>
            <p:ph type="body" sz="quarter" idx="21"/>
          </p:nvPr>
        </p:nvSpPr>
        <p:spPr>
          <a:xfrm>
            <a:off x="287347" y="2193951"/>
            <a:ext cx="4271953" cy="1312239"/>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30" hasCustomPrompt="1"/>
          </p:nvPr>
        </p:nvSpPr>
        <p:spPr>
          <a:xfrm>
            <a:off x="287338" y="3941158"/>
            <a:ext cx="4271954" cy="447261"/>
          </a:xfrm>
          <a:prstGeom prst="rect">
            <a:avLst/>
          </a:prstGeom>
        </p:spPr>
        <p:txBody>
          <a:bodyPr>
            <a:noAutofit/>
          </a:bodyPr>
          <a:lstStyle>
            <a:lvl1pPr marL="0" indent="0" algn="l">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3" name="Text Placeholder 23"/>
          <p:cNvSpPr>
            <a:spLocks noGrp="1"/>
          </p:cNvSpPr>
          <p:nvPr>
            <p:ph type="body" sz="quarter" idx="31"/>
          </p:nvPr>
        </p:nvSpPr>
        <p:spPr>
          <a:xfrm>
            <a:off x="287338" y="4494905"/>
            <a:ext cx="4271954" cy="126007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5" name="Content Placeholder 2"/>
          <p:cNvSpPr>
            <a:spLocks noGrp="1"/>
          </p:cNvSpPr>
          <p:nvPr>
            <p:ph idx="32" hasCustomPrompt="1"/>
          </p:nvPr>
        </p:nvSpPr>
        <p:spPr>
          <a:xfrm>
            <a:off x="6032638" y="1648609"/>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6" name="Text Placeholder 23"/>
          <p:cNvSpPr>
            <a:spLocks noGrp="1"/>
          </p:cNvSpPr>
          <p:nvPr>
            <p:ph type="body" sz="quarter" idx="33"/>
          </p:nvPr>
        </p:nvSpPr>
        <p:spPr>
          <a:xfrm>
            <a:off x="6032430" y="2193951"/>
            <a:ext cx="4131418" cy="1312239"/>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p:cNvSpPr>
            <a:spLocks noGrp="1"/>
          </p:cNvSpPr>
          <p:nvPr>
            <p:ph idx="34" hasCustomPrompt="1"/>
          </p:nvPr>
        </p:nvSpPr>
        <p:spPr>
          <a:xfrm>
            <a:off x="6032638" y="3941157"/>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29" name="Text Placeholder 23"/>
          <p:cNvSpPr>
            <a:spLocks noGrp="1"/>
          </p:cNvSpPr>
          <p:nvPr>
            <p:ph type="body" sz="quarter" idx="35"/>
          </p:nvPr>
        </p:nvSpPr>
        <p:spPr>
          <a:xfrm>
            <a:off x="6032638" y="4494905"/>
            <a:ext cx="4131418" cy="1260072"/>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7" name="Title 1"/>
          <p:cNvSpPr>
            <a:spLocks noGrp="1"/>
          </p:cNvSpPr>
          <p:nvPr>
            <p:ph type="title" hasCustomPrompt="1"/>
          </p:nvPr>
        </p:nvSpPr>
        <p:spPr>
          <a:xfrm>
            <a:off x="268224" y="296865"/>
            <a:ext cx="9378889" cy="482549"/>
          </a:xfrm>
        </p:spPr>
        <p:txBody>
          <a:bodyPr anchor="t">
            <a:noAutofit/>
          </a:bodyPr>
          <a:lstStyle>
            <a:lvl1pPr>
              <a:defRPr sz="3200">
                <a:solidFill>
                  <a:schemeClr val="tx2"/>
                </a:solidFill>
                <a:latin typeface="+mj-lt"/>
              </a:defRPr>
            </a:lvl1pPr>
          </a:lstStyle>
          <a:p>
            <a:r>
              <a:rPr lang="en-GB" noProof="0"/>
              <a:t>Add your title here</a:t>
            </a:r>
          </a:p>
        </p:txBody>
      </p:sp>
      <p:sp>
        <p:nvSpPr>
          <p:cNvPr id="21" name="Text Placeholder 19"/>
          <p:cNvSpPr>
            <a:spLocks noGrp="1"/>
          </p:cNvSpPr>
          <p:nvPr>
            <p:ph type="body" sz="quarter" idx="13" hasCustomPrompt="1"/>
          </p:nvPr>
        </p:nvSpPr>
        <p:spPr>
          <a:xfrm>
            <a:off x="268224" y="779413"/>
            <a:ext cx="9378889" cy="434229"/>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1095514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1951686"/>
            <a:ext cx="3713163" cy="998708"/>
          </a:xfrm>
          <a:prstGeom prst="rect">
            <a:avLst/>
          </a:prstGeom>
          <a:solidFill>
            <a:schemeClr val="bg1"/>
          </a:solidFill>
        </p:spPr>
        <p:txBody>
          <a:bodyPr anchor="ctr">
            <a:normAutofit/>
          </a:bodyPr>
          <a:lstStyle>
            <a:lvl1pPr marL="0" indent="0" algn="ctr">
              <a:buNone/>
              <a:defRPr sz="3300" b="0">
                <a:solidFill>
                  <a:schemeClr val="accent2"/>
                </a:solidFill>
              </a:defRPr>
            </a:lvl1pPr>
          </a:lstStyle>
          <a:p>
            <a:pPr lvl="0"/>
            <a:r>
              <a:rPr lang="en-GB" noProof="0"/>
              <a:t>Title </a:t>
            </a:r>
          </a:p>
        </p:txBody>
      </p:sp>
      <p:sp>
        <p:nvSpPr>
          <p:cNvPr id="18" name="Content Placeholder 2"/>
          <p:cNvSpPr>
            <a:spLocks noGrp="1"/>
          </p:cNvSpPr>
          <p:nvPr>
            <p:ph idx="24" hasCustomPrompt="1"/>
          </p:nvPr>
        </p:nvSpPr>
        <p:spPr>
          <a:xfrm>
            <a:off x="8505017" y="3601205"/>
            <a:ext cx="2963793"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1" name="Text Placeholder 23"/>
          <p:cNvSpPr>
            <a:spLocks noGrp="1"/>
          </p:cNvSpPr>
          <p:nvPr>
            <p:ph type="body" sz="quarter" idx="25"/>
          </p:nvPr>
        </p:nvSpPr>
        <p:spPr>
          <a:xfrm>
            <a:off x="8502762" y="4122667"/>
            <a:ext cx="2994075" cy="1611665"/>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26" hasCustomPrompt="1"/>
          </p:nvPr>
        </p:nvSpPr>
        <p:spPr>
          <a:xfrm>
            <a:off x="4306799"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7"/>
          </p:nvPr>
        </p:nvSpPr>
        <p:spPr>
          <a:xfrm>
            <a:off x="4304551"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p:cNvSpPr>
            <a:spLocks noGrp="1"/>
          </p:cNvSpPr>
          <p:nvPr>
            <p:ph idx="28" hasCustomPrompt="1"/>
          </p:nvPr>
        </p:nvSpPr>
        <p:spPr>
          <a:xfrm>
            <a:off x="320948"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5" name="Text Placeholder 23"/>
          <p:cNvSpPr>
            <a:spLocks noGrp="1"/>
          </p:cNvSpPr>
          <p:nvPr>
            <p:ph type="body" sz="quarter" idx="29"/>
          </p:nvPr>
        </p:nvSpPr>
        <p:spPr>
          <a:xfrm>
            <a:off x="318700"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6"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9" name="Text Placeholder 19"/>
          <p:cNvSpPr>
            <a:spLocks noGrp="1"/>
          </p:cNvSpPr>
          <p:nvPr>
            <p:ph type="body" sz="quarter" idx="13" hasCustomPrompt="1"/>
          </p:nvPr>
        </p:nvSpPr>
        <p:spPr>
          <a:xfrm>
            <a:off x="268224" y="779413"/>
            <a:ext cx="11228613" cy="582662"/>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3"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Tree>
    <p:extLst>
      <p:ext uri="{BB962C8B-B14F-4D97-AF65-F5344CB8AC3E}">
        <p14:creationId xmlns:p14="http://schemas.microsoft.com/office/powerpoint/2010/main" val="41504937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21"/>
          </p:nvPr>
        </p:nvSpPr>
        <p:spPr>
          <a:xfrm>
            <a:off x="58402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Marcador de texto 4"/>
          <p:cNvSpPr>
            <a:spLocks noGrp="1"/>
          </p:cNvSpPr>
          <p:nvPr>
            <p:ph type="body" sz="quarter" idx="36" hasCustomPrompt="1"/>
          </p:nvPr>
        </p:nvSpPr>
        <p:spPr>
          <a:xfrm>
            <a:off x="1307634" y="2249487"/>
            <a:ext cx="1255923" cy="973138"/>
          </a:xfrm>
          <a:prstGeom prst="rect">
            <a:avLst/>
          </a:prstGeom>
        </p:spPr>
        <p:txBody>
          <a:bodyPr>
            <a:normAutofit/>
          </a:bodyPr>
          <a:lstStyle>
            <a:lvl1pPr marL="0" indent="0" algn="ctr">
              <a:buNone/>
              <a:defRPr sz="4500">
                <a:solidFill>
                  <a:schemeClr val="tx2"/>
                </a:solidFill>
              </a:defRPr>
            </a:lvl1pPr>
          </a:lstStyle>
          <a:p>
            <a:pPr lvl="0"/>
            <a:r>
              <a:rPr lang="en-GB" noProof="0"/>
              <a:t>1</a:t>
            </a:r>
          </a:p>
        </p:txBody>
      </p:sp>
      <p:sp>
        <p:nvSpPr>
          <p:cNvPr id="30" name="Content Placeholder 2"/>
          <p:cNvSpPr>
            <a:spLocks noGrp="1"/>
          </p:cNvSpPr>
          <p:nvPr>
            <p:ph idx="37" hasCustomPrompt="1"/>
          </p:nvPr>
        </p:nvSpPr>
        <p:spPr>
          <a:xfrm>
            <a:off x="340917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1" name="Text Placeholder 23"/>
          <p:cNvSpPr>
            <a:spLocks noGrp="1"/>
          </p:cNvSpPr>
          <p:nvPr>
            <p:ph type="body" sz="quarter" idx="38"/>
          </p:nvPr>
        </p:nvSpPr>
        <p:spPr>
          <a:xfrm>
            <a:off x="340896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4117730"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a:t>2</a:t>
            </a:r>
          </a:p>
        </p:txBody>
      </p:sp>
      <p:sp>
        <p:nvSpPr>
          <p:cNvPr id="33" name="Content Placeholder 2"/>
          <p:cNvSpPr>
            <a:spLocks noGrp="1"/>
          </p:cNvSpPr>
          <p:nvPr>
            <p:ph idx="40" hasCustomPrompt="1"/>
          </p:nvPr>
        </p:nvSpPr>
        <p:spPr>
          <a:xfrm>
            <a:off x="6201823"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0161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911748"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a:t>3</a:t>
            </a:r>
          </a:p>
        </p:txBody>
      </p:sp>
      <p:sp>
        <p:nvSpPr>
          <p:cNvPr id="36" name="Content Placeholder 2"/>
          <p:cNvSpPr>
            <a:spLocks noGrp="1"/>
          </p:cNvSpPr>
          <p:nvPr>
            <p:ph idx="43" hasCustomPrompt="1"/>
          </p:nvPr>
        </p:nvSpPr>
        <p:spPr>
          <a:xfrm>
            <a:off x="9026759"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02655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736687"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a:t>4</a:t>
            </a:r>
          </a:p>
        </p:txBody>
      </p:sp>
      <p:sp>
        <p:nvSpPr>
          <p:cNvPr id="4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23"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24" name="Text Placeholder 19"/>
          <p:cNvSpPr>
            <a:spLocks noGrp="1"/>
          </p:cNvSpPr>
          <p:nvPr>
            <p:ph type="body" sz="quarter" idx="13" hasCustomPrompt="1"/>
          </p:nvPr>
        </p:nvSpPr>
        <p:spPr>
          <a:xfrm>
            <a:off x="268224" y="779413"/>
            <a:ext cx="11228613" cy="611237"/>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8"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Tree>
    <p:extLst>
      <p:ext uri="{BB962C8B-B14F-4D97-AF65-F5344CB8AC3E}">
        <p14:creationId xmlns:p14="http://schemas.microsoft.com/office/powerpoint/2010/main" val="9971707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0"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3" name="Text Placeholder 23"/>
          <p:cNvSpPr>
            <a:spLocks noGrp="1"/>
          </p:cNvSpPr>
          <p:nvPr>
            <p:ph type="body" sz="quarter" idx="21"/>
          </p:nvPr>
        </p:nvSpPr>
        <p:spPr>
          <a:xfrm>
            <a:off x="755215"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a:t>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28" name="Text Placeholder 23"/>
          <p:cNvSpPr>
            <a:spLocks noGrp="1"/>
          </p:cNvSpPr>
          <p:nvPr>
            <p:ph type="body" sz="quarter" idx="38"/>
          </p:nvPr>
        </p:nvSpPr>
        <p:spPr>
          <a:xfrm>
            <a:off x="3543679"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a:t>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4" name="Text Placeholder 23"/>
          <p:cNvSpPr>
            <a:spLocks noGrp="1"/>
          </p:cNvSpPr>
          <p:nvPr>
            <p:ph type="body" sz="quarter" idx="41"/>
          </p:nvPr>
        </p:nvSpPr>
        <p:spPr>
          <a:xfrm>
            <a:off x="6294324"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a:t>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Edit text style</a:t>
            </a:r>
          </a:p>
        </p:txBody>
      </p:sp>
      <p:sp>
        <p:nvSpPr>
          <p:cNvPr id="37" name="Text Placeholder 23"/>
          <p:cNvSpPr>
            <a:spLocks noGrp="1"/>
          </p:cNvSpPr>
          <p:nvPr>
            <p:ph type="body" sz="quarter" idx="44"/>
          </p:nvPr>
        </p:nvSpPr>
        <p:spPr>
          <a:xfrm>
            <a:off x="9133392"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a:t>4</a:t>
            </a:r>
          </a:p>
        </p:txBody>
      </p:sp>
      <p:sp>
        <p:nvSpPr>
          <p:cNvPr id="4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25"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29"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31399365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2"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s-ES" smtClean="0">
                <a:solidFill>
                  <a:srgbClr val="FFFFFF">
                    <a:lumMod val="50000"/>
                  </a:srgbClr>
                </a:solidFill>
              </a:rPr>
              <a:pPr/>
              <a:t>‹#›</a:t>
            </a:fld>
            <a:endParaRPr lang="es-ES">
              <a:solidFill>
                <a:srgbClr val="FFFFFF">
                  <a:lumMod val="50000"/>
                </a:srgbClr>
              </a:solidFill>
            </a:endParaRPr>
          </a:p>
        </p:txBody>
      </p:sp>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0" name="Marcador de texto 4"/>
          <p:cNvSpPr>
            <a:spLocks noGrp="1"/>
          </p:cNvSpPr>
          <p:nvPr>
            <p:ph type="body" sz="quarter" idx="36" hasCustomPrompt="1"/>
          </p:nvPr>
        </p:nvSpPr>
        <p:spPr>
          <a:xfrm>
            <a:off x="628190" y="2291032"/>
            <a:ext cx="956105" cy="663649"/>
          </a:xfrm>
          <a:prstGeom prst="rect">
            <a:avLst/>
          </a:prstGeom>
        </p:spPr>
        <p:txBody>
          <a:bodyPr>
            <a:noAutofit/>
          </a:bodyPr>
          <a:lstStyle>
            <a:lvl1pPr marL="0" indent="0" algn="ctr">
              <a:buNone/>
              <a:defRPr sz="4500">
                <a:solidFill>
                  <a:schemeClr val="tx1"/>
                </a:solidFill>
              </a:defRPr>
            </a:lvl1pPr>
          </a:lstStyle>
          <a:p>
            <a:pPr lvl="0"/>
            <a:r>
              <a:rPr lang="en-GB" noProof="0"/>
              <a:t>1.</a:t>
            </a:r>
          </a:p>
        </p:txBody>
      </p:sp>
      <p:sp>
        <p:nvSpPr>
          <p:cNvPr id="24" name="Marcador de texto 4"/>
          <p:cNvSpPr>
            <a:spLocks noGrp="1"/>
          </p:cNvSpPr>
          <p:nvPr>
            <p:ph type="body" sz="quarter" idx="38" hasCustomPrompt="1"/>
          </p:nvPr>
        </p:nvSpPr>
        <p:spPr>
          <a:xfrm>
            <a:off x="628190" y="3380951"/>
            <a:ext cx="956105" cy="663649"/>
          </a:xfrm>
          <a:prstGeom prst="rect">
            <a:avLst/>
          </a:prstGeom>
        </p:spPr>
        <p:txBody>
          <a:bodyPr>
            <a:noAutofit/>
          </a:bodyPr>
          <a:lstStyle>
            <a:lvl1pPr marL="0" indent="0" algn="ctr">
              <a:buNone/>
              <a:defRPr sz="4500">
                <a:solidFill>
                  <a:schemeClr val="tx1"/>
                </a:solidFill>
              </a:defRPr>
            </a:lvl1pPr>
          </a:lstStyle>
          <a:p>
            <a:pPr lvl="0"/>
            <a:r>
              <a:rPr lang="en-GB" noProof="0"/>
              <a:t>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27" name="Marcador de texto 4"/>
          <p:cNvSpPr>
            <a:spLocks noGrp="1"/>
          </p:cNvSpPr>
          <p:nvPr>
            <p:ph type="body" sz="quarter" idx="42" hasCustomPrompt="1"/>
          </p:nvPr>
        </p:nvSpPr>
        <p:spPr>
          <a:xfrm>
            <a:off x="628190" y="4459850"/>
            <a:ext cx="956105" cy="663649"/>
          </a:xfrm>
          <a:prstGeom prst="rect">
            <a:avLst/>
          </a:prstGeom>
        </p:spPr>
        <p:txBody>
          <a:bodyPr>
            <a:noAutofit/>
          </a:bodyPr>
          <a:lstStyle>
            <a:lvl1pPr marL="0" indent="0" algn="ctr">
              <a:buNone/>
              <a:defRPr sz="4500">
                <a:solidFill>
                  <a:schemeClr val="tx1"/>
                </a:solidFill>
              </a:defRPr>
            </a:lvl1pPr>
          </a:lstStyle>
          <a:p>
            <a:pPr lvl="0"/>
            <a:r>
              <a:rPr lang="en-GB" noProof="0"/>
              <a:t>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a:t>Edit master text slide</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5"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3" name="Marcador de posición de imagen 28"/>
          <p:cNvSpPr>
            <a:spLocks noGrp="1"/>
          </p:cNvSpPr>
          <p:nvPr>
            <p:ph type="pic" sz="quarter" idx="44" hasCustomPrompt="1"/>
          </p:nvPr>
        </p:nvSpPr>
        <p:spPr>
          <a:xfrm>
            <a:off x="7695959" y="2218004"/>
            <a:ext cx="3359735" cy="3256492"/>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95000"/>
            </a:schemeClr>
          </a:solidFill>
        </p:spPr>
        <p:txBody>
          <a:bodyPr wrap="square" anchor="ctr">
            <a:noAutofit/>
          </a:bodyPr>
          <a:lstStyle>
            <a:lvl1pPr marL="0" indent="0" algn="l">
              <a:buNone/>
              <a:defRPr/>
            </a:lvl1pPr>
          </a:lstStyle>
          <a:p>
            <a:r>
              <a:rPr lang="en-GB" noProof="0"/>
              <a:t>     </a:t>
            </a:r>
            <a:br>
              <a:rPr lang="en-GB" noProof="0"/>
            </a:br>
            <a:br>
              <a:rPr lang="en-GB" noProof="0"/>
            </a:br>
            <a:r>
              <a:rPr lang="en-GB" noProof="0"/>
              <a:t> Insert your picture here</a:t>
            </a:r>
          </a:p>
        </p:txBody>
      </p:sp>
    </p:spTree>
    <p:extLst>
      <p:ext uri="{BB962C8B-B14F-4D97-AF65-F5344CB8AC3E}">
        <p14:creationId xmlns:p14="http://schemas.microsoft.com/office/powerpoint/2010/main" val="4501677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8"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000" baseline="0">
                <a:solidFill>
                  <a:schemeClr val="accent2"/>
                </a:solidFill>
              </a:defRPr>
            </a:lvl1pPr>
          </a:lstStyle>
          <a:p>
            <a:pPr lvl="0"/>
            <a:r>
              <a:rPr lang="en-GB" noProof="0"/>
              <a:t>Title here</a:t>
            </a:r>
          </a:p>
        </p:txBody>
      </p:sp>
      <p:sp>
        <p:nvSpPr>
          <p:cNvPr id="19" name="Marcador de texto 33"/>
          <p:cNvSpPr>
            <a:spLocks noGrp="1"/>
          </p:cNvSpPr>
          <p:nvPr>
            <p:ph type="body" sz="quarter" idx="16" hasCustomPrompt="1"/>
          </p:nvPr>
        </p:nvSpPr>
        <p:spPr>
          <a:xfrm>
            <a:off x="576481" y="4420860"/>
            <a:ext cx="2942647" cy="431800"/>
          </a:xfrm>
          <a:prstGeom prst="rect">
            <a:avLst/>
          </a:prstGeom>
        </p:spPr>
        <p:txBody>
          <a:bodyPr>
            <a:noAutofit/>
          </a:bodyPr>
          <a:lstStyle>
            <a:lvl1pPr marL="0" indent="0">
              <a:buNone/>
              <a:defRPr sz="2400" baseline="0">
                <a:solidFill>
                  <a:schemeClr val="accent2"/>
                </a:solidFill>
              </a:defRPr>
            </a:lvl1pPr>
          </a:lstStyle>
          <a:p>
            <a:pPr lvl="0"/>
            <a:r>
              <a:rPr lang="en-GB" noProof="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2800" baseline="0">
                <a:solidFill>
                  <a:schemeClr val="accent2"/>
                </a:solidFill>
              </a:defRPr>
            </a:lvl1pPr>
          </a:lstStyle>
          <a:p>
            <a:pPr lvl="0"/>
            <a:r>
              <a:rPr lang="en-GB" noProof="0"/>
              <a:t>Highlight here</a:t>
            </a:r>
          </a:p>
        </p:txBody>
      </p:sp>
      <p:sp>
        <p:nvSpPr>
          <p:cNvPr id="22" name="Marcador de texto 2"/>
          <p:cNvSpPr>
            <a:spLocks noGrp="1"/>
          </p:cNvSpPr>
          <p:nvPr>
            <p:ph type="body" sz="quarter" idx="18" hasCustomPrompt="1"/>
          </p:nvPr>
        </p:nvSpPr>
        <p:spPr>
          <a:xfrm>
            <a:off x="576481" y="4875698"/>
            <a:ext cx="2929143" cy="1307738"/>
          </a:xfrm>
          <a:prstGeom prst="rect">
            <a:avLst/>
          </a:prstGeom>
        </p:spPr>
        <p:txBody>
          <a:bodyPr>
            <a:normAutofit/>
          </a:bodyPr>
          <a:lstStyle>
            <a:lvl1pPr marL="130960" indent="-130960">
              <a:lnSpc>
                <a:spcPct val="100000"/>
              </a:lnSpc>
              <a:defRPr sz="2000">
                <a:solidFill>
                  <a:srgbClr val="323232"/>
                </a:solidFill>
              </a:defRPr>
            </a:lvl1pPr>
            <a:lvl2pPr marL="538163" indent="-139700">
              <a:lnSpc>
                <a:spcPct val="100000"/>
              </a:lnSpc>
              <a:defRPr sz="2000">
                <a:solidFill>
                  <a:srgbClr val="323232"/>
                </a:solidFill>
              </a:defRPr>
            </a:lvl2pPr>
            <a:lvl3pPr marL="985838" indent="-138113">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2000">
                <a:solidFill>
                  <a:srgbClr val="323232"/>
                </a:solidFill>
              </a:defRPr>
            </a:lvl2pPr>
            <a:lvl3pPr marL="1076325" indent="-161925">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1800">
                <a:solidFill>
                  <a:srgbClr val="323232"/>
                </a:solidFill>
              </a:defRPr>
            </a:lvl2pPr>
            <a:lvl3pPr marL="1076325" indent="-228600">
              <a:lnSpc>
                <a:spcPct val="100000"/>
              </a:lnSpc>
              <a:defRPr sz="1400">
                <a:solidFill>
                  <a:srgbClr val="323232"/>
                </a:solidFill>
              </a:defRPr>
            </a:lvl3pPr>
            <a:lvl4pPr marL="1371600" indent="0">
              <a:lnSpc>
                <a:spcPct val="100000"/>
              </a:lnSpc>
              <a:buNone/>
              <a:defRPr sz="1200"/>
            </a:lvl4pPr>
            <a:lvl5pPr>
              <a:lnSpc>
                <a:spcPct val="100000"/>
              </a:lnSpc>
              <a:defRPr sz="1200"/>
            </a:lvl5pPr>
          </a:lstStyle>
          <a:p>
            <a:pPr lvl="0"/>
            <a:r>
              <a:rPr lang="en-GB" noProof="0"/>
              <a:t>Bullet level 1</a:t>
            </a:r>
          </a:p>
          <a:p>
            <a:pPr lvl="1"/>
            <a:r>
              <a:rPr lang="en-GB" noProof="0"/>
              <a:t>Bullet level 2</a:t>
            </a:r>
          </a:p>
          <a:p>
            <a:pPr lvl="2"/>
            <a:r>
              <a:rPr lang="en-GB" noProof="0"/>
              <a:t>Bullet level 3	</a:t>
            </a:r>
          </a:p>
        </p:txBody>
      </p:sp>
      <p:sp>
        <p:nvSpPr>
          <p:cNvPr id="27"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4" name="Title 1"/>
          <p:cNvSpPr>
            <a:spLocks noGrp="1"/>
          </p:cNvSpPr>
          <p:nvPr>
            <p:ph type="title" hasCustomPrompt="1"/>
          </p:nvPr>
        </p:nvSpPr>
        <p:spPr>
          <a:xfrm>
            <a:off x="268224" y="296865"/>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Tree>
    <p:extLst>
      <p:ext uri="{BB962C8B-B14F-4D97-AF65-F5344CB8AC3E}">
        <p14:creationId xmlns:p14="http://schemas.microsoft.com/office/powerpoint/2010/main" val="37815496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17"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3" name="Text Placeholder 23"/>
          <p:cNvSpPr>
            <a:spLocks noGrp="1"/>
          </p:cNvSpPr>
          <p:nvPr>
            <p:ph type="body" sz="quarter" idx="21"/>
          </p:nvPr>
        </p:nvSpPr>
        <p:spPr>
          <a:xfrm>
            <a:off x="768777"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a:t>Click to add text</a:t>
            </a:r>
          </a:p>
        </p:txBody>
      </p:sp>
      <p:sp>
        <p:nvSpPr>
          <p:cNvPr id="35" name="Text Placeholder 23"/>
          <p:cNvSpPr>
            <a:spLocks noGrp="1"/>
          </p:cNvSpPr>
          <p:nvPr>
            <p:ph type="body" sz="quarter" idx="31"/>
          </p:nvPr>
        </p:nvSpPr>
        <p:spPr>
          <a:xfrm>
            <a:off x="3563913"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3" name="Text Placeholder 23"/>
          <p:cNvSpPr>
            <a:spLocks noGrp="1"/>
          </p:cNvSpPr>
          <p:nvPr>
            <p:ph type="body" sz="quarter" idx="33"/>
          </p:nvPr>
        </p:nvSpPr>
        <p:spPr>
          <a:xfrm>
            <a:off x="6364567" y="4332130"/>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err="1"/>
              <a:t>Click</a:t>
            </a:r>
            <a:r>
              <a:rPr lang="es-ES" noProof="0"/>
              <a:t> to </a:t>
            </a:r>
            <a:r>
              <a:rPr lang="es-ES" noProof="0" err="1"/>
              <a:t>add</a:t>
            </a:r>
            <a:r>
              <a:rPr lang="es-ES" noProof="0"/>
              <a:t> </a:t>
            </a:r>
            <a:r>
              <a:rPr lang="es-ES" noProof="0" err="1"/>
              <a:t>text</a:t>
            </a:r>
            <a:endParaRPr lang="en-GB" noProof="0"/>
          </a:p>
        </p:txBody>
      </p:sp>
      <p:sp>
        <p:nvSpPr>
          <p:cNvPr id="45" name="Text Placeholder 23"/>
          <p:cNvSpPr>
            <a:spLocks noGrp="1"/>
          </p:cNvSpPr>
          <p:nvPr>
            <p:ph type="body" sz="quarter" idx="35"/>
          </p:nvPr>
        </p:nvSpPr>
        <p:spPr>
          <a:xfrm>
            <a:off x="9135814"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9" name="Title 1"/>
          <p:cNvSpPr>
            <a:spLocks noGrp="1"/>
          </p:cNvSpPr>
          <p:nvPr>
            <p:ph type="title" hasCustomPrompt="1"/>
          </p:nvPr>
        </p:nvSpPr>
        <p:spPr>
          <a:xfrm>
            <a:off x="268224" y="296865"/>
            <a:ext cx="10915493" cy="482549"/>
          </a:xfrm>
        </p:spPr>
        <p:txBody>
          <a:bodyPr anchor="t">
            <a:noAutofit/>
          </a:bodyPr>
          <a:lstStyle>
            <a:lvl1pPr>
              <a:defRPr sz="3200">
                <a:solidFill>
                  <a:schemeClr val="tx2"/>
                </a:solidFill>
                <a:latin typeface="+mj-lt"/>
              </a:defRPr>
            </a:lvl1pPr>
          </a:lstStyle>
          <a:p>
            <a:r>
              <a:rPr lang="en-GB" noProof="0"/>
              <a:t>Add your title here</a:t>
            </a:r>
          </a:p>
        </p:txBody>
      </p:sp>
      <p:sp>
        <p:nvSpPr>
          <p:cNvPr id="20" name="Text Placeholder 19"/>
          <p:cNvSpPr>
            <a:spLocks noGrp="1"/>
          </p:cNvSpPr>
          <p:nvPr>
            <p:ph type="body" sz="quarter" idx="13"/>
          </p:nvPr>
        </p:nvSpPr>
        <p:spPr>
          <a:xfrm>
            <a:off x="268224" y="779412"/>
            <a:ext cx="10891629"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9807055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1" y="5905500"/>
            <a:ext cx="6332706" cy="952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a:solidFill>
                <a:srgbClr val="005EB8"/>
              </a:solidFill>
            </a:endParaRPr>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5" name="Text Placeholder 23"/>
          <p:cNvSpPr>
            <a:spLocks noGrp="1"/>
          </p:cNvSpPr>
          <p:nvPr>
            <p:ph type="body" sz="quarter" idx="38" hasCustomPrompt="1"/>
          </p:nvPr>
        </p:nvSpPr>
        <p:spPr>
          <a:xfrm>
            <a:off x="389804" y="6323083"/>
            <a:ext cx="1764284"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Tree>
    <p:extLst>
      <p:ext uri="{BB962C8B-B14F-4D97-AF65-F5344CB8AC3E}">
        <p14:creationId xmlns:p14="http://schemas.microsoft.com/office/powerpoint/2010/main" val="37952693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hape 1">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4377712"/>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292608" y="779416"/>
            <a:ext cx="11228613" cy="411209"/>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9" name="Picture Placeholder 18"/>
          <p:cNvSpPr>
            <a:spLocks noGrp="1"/>
          </p:cNvSpPr>
          <p:nvPr>
            <p:ph type="pic" sz="quarter" idx="19" hasCustomPrompt="1"/>
          </p:nvPr>
        </p:nvSpPr>
        <p:spPr>
          <a:xfrm>
            <a:off x="6434720" y="1753456"/>
            <a:ext cx="4556125" cy="3886200"/>
          </a:xfrm>
          <a:custGeom>
            <a:avLst/>
            <a:gdLst>
              <a:gd name="connsiteX0" fmla="*/ 3764756 w 4556125"/>
              <a:gd name="connsiteY0" fmla="*/ 0 h 3886200"/>
              <a:gd name="connsiteX1" fmla="*/ 3778647 w 4556125"/>
              <a:gd name="connsiteY1" fmla="*/ 0 h 3886200"/>
              <a:gd name="connsiteX2" fmla="*/ 3792538 w 4556125"/>
              <a:gd name="connsiteY2" fmla="*/ 397 h 3886200"/>
              <a:gd name="connsiteX3" fmla="*/ 3806031 w 4556125"/>
              <a:gd name="connsiteY3" fmla="*/ 1191 h 3886200"/>
              <a:gd name="connsiteX4" fmla="*/ 3819922 w 4556125"/>
              <a:gd name="connsiteY4" fmla="*/ 2381 h 3886200"/>
              <a:gd name="connsiteX5" fmla="*/ 3833019 w 4556125"/>
              <a:gd name="connsiteY5" fmla="*/ 3969 h 3886200"/>
              <a:gd name="connsiteX6" fmla="*/ 3846512 w 4556125"/>
              <a:gd name="connsiteY6" fmla="*/ 5953 h 3886200"/>
              <a:gd name="connsiteX7" fmla="*/ 3859610 w 4556125"/>
              <a:gd name="connsiteY7" fmla="*/ 8731 h 3886200"/>
              <a:gd name="connsiteX8" fmla="*/ 3871912 w 4556125"/>
              <a:gd name="connsiteY8" fmla="*/ 11510 h 3886200"/>
              <a:gd name="connsiteX9" fmla="*/ 3885010 w 4556125"/>
              <a:gd name="connsiteY9" fmla="*/ 14685 h 3886200"/>
              <a:gd name="connsiteX10" fmla="*/ 3897710 w 4556125"/>
              <a:gd name="connsiteY10" fmla="*/ 18256 h 3886200"/>
              <a:gd name="connsiteX11" fmla="*/ 3910410 w 4556125"/>
              <a:gd name="connsiteY11" fmla="*/ 22622 h 3886200"/>
              <a:gd name="connsiteX12" fmla="*/ 3923110 w 4556125"/>
              <a:gd name="connsiteY12" fmla="*/ 26591 h 3886200"/>
              <a:gd name="connsiteX13" fmla="*/ 3935016 w 4556125"/>
              <a:gd name="connsiteY13" fmla="*/ 31750 h 3886200"/>
              <a:gd name="connsiteX14" fmla="*/ 3947716 w 4556125"/>
              <a:gd name="connsiteY14" fmla="*/ 36910 h 3886200"/>
              <a:gd name="connsiteX15" fmla="*/ 3959622 w 4556125"/>
              <a:gd name="connsiteY15" fmla="*/ 42863 h 3886200"/>
              <a:gd name="connsiteX16" fmla="*/ 3971131 w 4556125"/>
              <a:gd name="connsiteY16" fmla="*/ 48419 h 3886200"/>
              <a:gd name="connsiteX17" fmla="*/ 3983434 w 4556125"/>
              <a:gd name="connsiteY17" fmla="*/ 54769 h 3886200"/>
              <a:gd name="connsiteX18" fmla="*/ 3994944 w 4556125"/>
              <a:gd name="connsiteY18" fmla="*/ 61516 h 3886200"/>
              <a:gd name="connsiteX19" fmla="*/ 4006453 w 4556125"/>
              <a:gd name="connsiteY19" fmla="*/ 68660 h 3886200"/>
              <a:gd name="connsiteX20" fmla="*/ 4017962 w 4556125"/>
              <a:gd name="connsiteY20" fmla="*/ 76200 h 3886200"/>
              <a:gd name="connsiteX21" fmla="*/ 4029075 w 4556125"/>
              <a:gd name="connsiteY21" fmla="*/ 83741 h 3886200"/>
              <a:gd name="connsiteX22" fmla="*/ 4040188 w 4556125"/>
              <a:gd name="connsiteY22" fmla="*/ 91678 h 3886200"/>
              <a:gd name="connsiteX23" fmla="*/ 4051300 w 4556125"/>
              <a:gd name="connsiteY23" fmla="*/ 100013 h 3886200"/>
              <a:gd name="connsiteX24" fmla="*/ 4062412 w 4556125"/>
              <a:gd name="connsiteY24" fmla="*/ 108744 h 3886200"/>
              <a:gd name="connsiteX25" fmla="*/ 4073128 w 4556125"/>
              <a:gd name="connsiteY25" fmla="*/ 117872 h 3886200"/>
              <a:gd name="connsiteX26" fmla="*/ 4083844 w 4556125"/>
              <a:gd name="connsiteY26" fmla="*/ 127000 h 3886200"/>
              <a:gd name="connsiteX27" fmla="*/ 4094560 w 4556125"/>
              <a:gd name="connsiteY27" fmla="*/ 136525 h 3886200"/>
              <a:gd name="connsiteX28" fmla="*/ 4104481 w 4556125"/>
              <a:gd name="connsiteY28" fmla="*/ 146447 h 3886200"/>
              <a:gd name="connsiteX29" fmla="*/ 4125119 w 4556125"/>
              <a:gd name="connsiteY29" fmla="*/ 167084 h 3886200"/>
              <a:gd name="connsiteX30" fmla="*/ 4145360 w 4556125"/>
              <a:gd name="connsiteY30" fmla="*/ 188913 h 3886200"/>
              <a:gd name="connsiteX31" fmla="*/ 4164410 w 4556125"/>
              <a:gd name="connsiteY31" fmla="*/ 211931 h 3886200"/>
              <a:gd name="connsiteX32" fmla="*/ 4183856 w 4556125"/>
              <a:gd name="connsiteY32" fmla="*/ 235744 h 3886200"/>
              <a:gd name="connsiteX33" fmla="*/ 4202112 w 4556125"/>
              <a:gd name="connsiteY33" fmla="*/ 260350 h 3886200"/>
              <a:gd name="connsiteX34" fmla="*/ 4219972 w 4556125"/>
              <a:gd name="connsiteY34" fmla="*/ 286544 h 3886200"/>
              <a:gd name="connsiteX35" fmla="*/ 4237434 w 4556125"/>
              <a:gd name="connsiteY35" fmla="*/ 313135 h 3886200"/>
              <a:gd name="connsiteX36" fmla="*/ 4254500 w 4556125"/>
              <a:gd name="connsiteY36" fmla="*/ 340519 h 3886200"/>
              <a:gd name="connsiteX37" fmla="*/ 4271169 w 4556125"/>
              <a:gd name="connsiteY37" fmla="*/ 369094 h 3886200"/>
              <a:gd name="connsiteX38" fmla="*/ 4286647 w 4556125"/>
              <a:gd name="connsiteY38" fmla="*/ 398463 h 3886200"/>
              <a:gd name="connsiteX39" fmla="*/ 4302522 w 4556125"/>
              <a:gd name="connsiteY39" fmla="*/ 427831 h 3886200"/>
              <a:gd name="connsiteX40" fmla="*/ 4317603 w 4556125"/>
              <a:gd name="connsiteY40" fmla="*/ 458391 h 3886200"/>
              <a:gd name="connsiteX41" fmla="*/ 4332288 w 4556125"/>
              <a:gd name="connsiteY41" fmla="*/ 489347 h 3886200"/>
              <a:gd name="connsiteX42" fmla="*/ 4346178 w 4556125"/>
              <a:gd name="connsiteY42" fmla="*/ 521097 h 3886200"/>
              <a:gd name="connsiteX43" fmla="*/ 4359672 w 4556125"/>
              <a:gd name="connsiteY43" fmla="*/ 553244 h 3886200"/>
              <a:gd name="connsiteX44" fmla="*/ 4372769 w 4556125"/>
              <a:gd name="connsiteY44" fmla="*/ 586185 h 3886200"/>
              <a:gd name="connsiteX45" fmla="*/ 4385469 w 4556125"/>
              <a:gd name="connsiteY45" fmla="*/ 619522 h 3886200"/>
              <a:gd name="connsiteX46" fmla="*/ 4398169 w 4556125"/>
              <a:gd name="connsiteY46" fmla="*/ 652463 h 3886200"/>
              <a:gd name="connsiteX47" fmla="*/ 4409678 w 4556125"/>
              <a:gd name="connsiteY47" fmla="*/ 686991 h 3886200"/>
              <a:gd name="connsiteX48" fmla="*/ 4420790 w 4556125"/>
              <a:gd name="connsiteY48" fmla="*/ 721122 h 3886200"/>
              <a:gd name="connsiteX49" fmla="*/ 4431903 w 4556125"/>
              <a:gd name="connsiteY49" fmla="*/ 755253 h 3886200"/>
              <a:gd name="connsiteX50" fmla="*/ 4441825 w 4556125"/>
              <a:gd name="connsiteY50" fmla="*/ 790178 h 3886200"/>
              <a:gd name="connsiteX51" fmla="*/ 4451747 w 4556125"/>
              <a:gd name="connsiteY51" fmla="*/ 824706 h 3886200"/>
              <a:gd name="connsiteX52" fmla="*/ 4461669 w 4556125"/>
              <a:gd name="connsiteY52" fmla="*/ 859631 h 3886200"/>
              <a:gd name="connsiteX53" fmla="*/ 4470003 w 4556125"/>
              <a:gd name="connsiteY53" fmla="*/ 894953 h 3886200"/>
              <a:gd name="connsiteX54" fmla="*/ 4478734 w 4556125"/>
              <a:gd name="connsiteY54" fmla="*/ 929878 h 3886200"/>
              <a:gd name="connsiteX55" fmla="*/ 4486672 w 4556125"/>
              <a:gd name="connsiteY55" fmla="*/ 964803 h 3886200"/>
              <a:gd name="connsiteX56" fmla="*/ 4494212 w 4556125"/>
              <a:gd name="connsiteY56" fmla="*/ 1000125 h 3886200"/>
              <a:gd name="connsiteX57" fmla="*/ 4501753 w 4556125"/>
              <a:gd name="connsiteY57" fmla="*/ 1034653 h 3886200"/>
              <a:gd name="connsiteX58" fmla="*/ 4508500 w 4556125"/>
              <a:gd name="connsiteY58" fmla="*/ 1069578 h 3886200"/>
              <a:gd name="connsiteX59" fmla="*/ 4514453 w 4556125"/>
              <a:gd name="connsiteY59" fmla="*/ 1104106 h 3886200"/>
              <a:gd name="connsiteX60" fmla="*/ 4520406 w 4556125"/>
              <a:gd name="connsiteY60" fmla="*/ 1138635 h 3886200"/>
              <a:gd name="connsiteX61" fmla="*/ 4525566 w 4556125"/>
              <a:gd name="connsiteY61" fmla="*/ 1172369 h 3886200"/>
              <a:gd name="connsiteX62" fmla="*/ 4530328 w 4556125"/>
              <a:gd name="connsiteY62" fmla="*/ 1206103 h 3886200"/>
              <a:gd name="connsiteX63" fmla="*/ 4535090 w 4556125"/>
              <a:gd name="connsiteY63" fmla="*/ 1239044 h 3886200"/>
              <a:gd name="connsiteX64" fmla="*/ 4539060 w 4556125"/>
              <a:gd name="connsiteY64" fmla="*/ 1271985 h 3886200"/>
              <a:gd name="connsiteX65" fmla="*/ 4542631 w 4556125"/>
              <a:gd name="connsiteY65" fmla="*/ 1304528 h 3886200"/>
              <a:gd name="connsiteX66" fmla="*/ 4546203 w 4556125"/>
              <a:gd name="connsiteY66" fmla="*/ 1336278 h 3886200"/>
              <a:gd name="connsiteX67" fmla="*/ 4548584 w 4556125"/>
              <a:gd name="connsiteY67" fmla="*/ 1367631 h 3886200"/>
              <a:gd name="connsiteX68" fmla="*/ 4550966 w 4556125"/>
              <a:gd name="connsiteY68" fmla="*/ 1398191 h 3886200"/>
              <a:gd name="connsiteX69" fmla="*/ 4552950 w 4556125"/>
              <a:gd name="connsiteY69" fmla="*/ 1428353 h 3886200"/>
              <a:gd name="connsiteX70" fmla="*/ 4554538 w 4556125"/>
              <a:gd name="connsiteY70" fmla="*/ 1458119 h 3886200"/>
              <a:gd name="connsiteX71" fmla="*/ 4555728 w 4556125"/>
              <a:gd name="connsiteY71" fmla="*/ 1486297 h 3886200"/>
              <a:gd name="connsiteX72" fmla="*/ 4556125 w 4556125"/>
              <a:gd name="connsiteY72" fmla="*/ 1514475 h 3886200"/>
              <a:gd name="connsiteX73" fmla="*/ 4556125 w 4556125"/>
              <a:gd name="connsiteY73" fmla="*/ 1541463 h 3886200"/>
              <a:gd name="connsiteX74" fmla="*/ 4556125 w 4556125"/>
              <a:gd name="connsiteY74" fmla="*/ 1572022 h 3886200"/>
              <a:gd name="connsiteX75" fmla="*/ 4555728 w 4556125"/>
              <a:gd name="connsiteY75" fmla="*/ 1602185 h 3886200"/>
              <a:gd name="connsiteX76" fmla="*/ 4554538 w 4556125"/>
              <a:gd name="connsiteY76" fmla="*/ 1631950 h 3886200"/>
              <a:gd name="connsiteX77" fmla="*/ 4552950 w 4556125"/>
              <a:gd name="connsiteY77" fmla="*/ 1662113 h 3886200"/>
              <a:gd name="connsiteX78" fmla="*/ 4551760 w 4556125"/>
              <a:gd name="connsiteY78" fmla="*/ 1692275 h 3886200"/>
              <a:gd name="connsiteX79" fmla="*/ 4549775 w 4556125"/>
              <a:gd name="connsiteY79" fmla="*/ 1722041 h 3886200"/>
              <a:gd name="connsiteX80" fmla="*/ 4546997 w 4556125"/>
              <a:gd name="connsiteY80" fmla="*/ 1751806 h 3886200"/>
              <a:gd name="connsiteX81" fmla="*/ 4544219 w 4556125"/>
              <a:gd name="connsiteY81" fmla="*/ 1781572 h 3886200"/>
              <a:gd name="connsiteX82" fmla="*/ 4541044 w 4556125"/>
              <a:gd name="connsiteY82" fmla="*/ 1810544 h 3886200"/>
              <a:gd name="connsiteX83" fmla="*/ 4537472 w 4556125"/>
              <a:gd name="connsiteY83" fmla="*/ 1840310 h 3886200"/>
              <a:gd name="connsiteX84" fmla="*/ 4533503 w 4556125"/>
              <a:gd name="connsiteY84" fmla="*/ 1869678 h 3886200"/>
              <a:gd name="connsiteX85" fmla="*/ 4529534 w 4556125"/>
              <a:gd name="connsiteY85" fmla="*/ 1898650 h 3886200"/>
              <a:gd name="connsiteX86" fmla="*/ 4524375 w 4556125"/>
              <a:gd name="connsiteY86" fmla="*/ 1927622 h 3886200"/>
              <a:gd name="connsiteX87" fmla="*/ 4520010 w 4556125"/>
              <a:gd name="connsiteY87" fmla="*/ 1956594 h 3886200"/>
              <a:gd name="connsiteX88" fmla="*/ 4514453 w 4556125"/>
              <a:gd name="connsiteY88" fmla="*/ 1985566 h 3886200"/>
              <a:gd name="connsiteX89" fmla="*/ 4508897 w 4556125"/>
              <a:gd name="connsiteY89" fmla="*/ 2014141 h 3886200"/>
              <a:gd name="connsiteX90" fmla="*/ 4502944 w 4556125"/>
              <a:gd name="connsiteY90" fmla="*/ 2042716 h 3886200"/>
              <a:gd name="connsiteX91" fmla="*/ 4496197 w 4556125"/>
              <a:gd name="connsiteY91" fmla="*/ 2070894 h 3886200"/>
              <a:gd name="connsiteX92" fmla="*/ 4489847 w 4556125"/>
              <a:gd name="connsiteY92" fmla="*/ 2099072 h 3886200"/>
              <a:gd name="connsiteX93" fmla="*/ 4482703 w 4556125"/>
              <a:gd name="connsiteY93" fmla="*/ 2127250 h 3886200"/>
              <a:gd name="connsiteX94" fmla="*/ 4475162 w 4556125"/>
              <a:gd name="connsiteY94" fmla="*/ 2155428 h 3886200"/>
              <a:gd name="connsiteX95" fmla="*/ 4467622 w 4556125"/>
              <a:gd name="connsiteY95" fmla="*/ 2183210 h 3886200"/>
              <a:gd name="connsiteX96" fmla="*/ 4459684 w 4556125"/>
              <a:gd name="connsiteY96" fmla="*/ 2210991 h 3886200"/>
              <a:gd name="connsiteX97" fmla="*/ 4450953 w 4556125"/>
              <a:gd name="connsiteY97" fmla="*/ 2238772 h 3886200"/>
              <a:gd name="connsiteX98" fmla="*/ 4442222 w 4556125"/>
              <a:gd name="connsiteY98" fmla="*/ 2266553 h 3886200"/>
              <a:gd name="connsiteX99" fmla="*/ 4433490 w 4556125"/>
              <a:gd name="connsiteY99" fmla="*/ 2293541 h 3886200"/>
              <a:gd name="connsiteX100" fmla="*/ 4423569 w 4556125"/>
              <a:gd name="connsiteY100" fmla="*/ 2320925 h 3886200"/>
              <a:gd name="connsiteX101" fmla="*/ 4414044 w 4556125"/>
              <a:gd name="connsiteY101" fmla="*/ 2347913 h 3886200"/>
              <a:gd name="connsiteX102" fmla="*/ 4404122 w 4556125"/>
              <a:gd name="connsiteY102" fmla="*/ 2374503 h 3886200"/>
              <a:gd name="connsiteX103" fmla="*/ 4393406 w 4556125"/>
              <a:gd name="connsiteY103" fmla="*/ 2401491 h 3886200"/>
              <a:gd name="connsiteX104" fmla="*/ 4383088 w 4556125"/>
              <a:gd name="connsiteY104" fmla="*/ 2428081 h 3886200"/>
              <a:gd name="connsiteX105" fmla="*/ 4371975 w 4556125"/>
              <a:gd name="connsiteY105" fmla="*/ 2454275 h 3886200"/>
              <a:gd name="connsiteX106" fmla="*/ 4360862 w 4556125"/>
              <a:gd name="connsiteY106" fmla="*/ 2480469 h 3886200"/>
              <a:gd name="connsiteX107" fmla="*/ 4349353 w 4556125"/>
              <a:gd name="connsiteY107" fmla="*/ 2506663 h 3886200"/>
              <a:gd name="connsiteX108" fmla="*/ 4337050 w 4556125"/>
              <a:gd name="connsiteY108" fmla="*/ 2532063 h 3886200"/>
              <a:gd name="connsiteX109" fmla="*/ 4325144 w 4556125"/>
              <a:gd name="connsiteY109" fmla="*/ 2557860 h 3886200"/>
              <a:gd name="connsiteX110" fmla="*/ 4312444 w 4556125"/>
              <a:gd name="connsiteY110" fmla="*/ 2583656 h 3886200"/>
              <a:gd name="connsiteX111" fmla="*/ 4299744 w 4556125"/>
              <a:gd name="connsiteY111" fmla="*/ 2608660 h 3886200"/>
              <a:gd name="connsiteX112" fmla="*/ 4286647 w 4556125"/>
              <a:gd name="connsiteY112" fmla="*/ 2634060 h 3886200"/>
              <a:gd name="connsiteX113" fmla="*/ 4273153 w 4556125"/>
              <a:gd name="connsiteY113" fmla="*/ 2659063 h 3886200"/>
              <a:gd name="connsiteX114" fmla="*/ 4259660 w 4556125"/>
              <a:gd name="connsiteY114" fmla="*/ 2683669 h 3886200"/>
              <a:gd name="connsiteX115" fmla="*/ 4245769 w 4556125"/>
              <a:gd name="connsiteY115" fmla="*/ 2708275 h 3886200"/>
              <a:gd name="connsiteX116" fmla="*/ 4231481 w 4556125"/>
              <a:gd name="connsiteY116" fmla="*/ 2733278 h 3886200"/>
              <a:gd name="connsiteX117" fmla="*/ 4216797 w 4556125"/>
              <a:gd name="connsiteY117" fmla="*/ 2757488 h 3886200"/>
              <a:gd name="connsiteX118" fmla="*/ 4202112 w 4556125"/>
              <a:gd name="connsiteY118" fmla="*/ 2781300 h 3886200"/>
              <a:gd name="connsiteX119" fmla="*/ 4187031 w 4556125"/>
              <a:gd name="connsiteY119" fmla="*/ 2805113 h 3886200"/>
              <a:gd name="connsiteX120" fmla="*/ 4171553 w 4556125"/>
              <a:gd name="connsiteY120" fmla="*/ 2828925 h 3886200"/>
              <a:gd name="connsiteX121" fmla="*/ 4156075 w 4556125"/>
              <a:gd name="connsiteY121" fmla="*/ 2852341 h 3886200"/>
              <a:gd name="connsiteX122" fmla="*/ 4139803 w 4556125"/>
              <a:gd name="connsiteY122" fmla="*/ 2875756 h 3886200"/>
              <a:gd name="connsiteX123" fmla="*/ 4123928 w 4556125"/>
              <a:gd name="connsiteY123" fmla="*/ 2898775 h 3886200"/>
              <a:gd name="connsiteX124" fmla="*/ 4107260 w 4556125"/>
              <a:gd name="connsiteY124" fmla="*/ 2921794 h 3886200"/>
              <a:gd name="connsiteX125" fmla="*/ 4090590 w 4556125"/>
              <a:gd name="connsiteY125" fmla="*/ 2944416 h 3886200"/>
              <a:gd name="connsiteX126" fmla="*/ 4073525 w 4556125"/>
              <a:gd name="connsiteY126" fmla="*/ 2966641 h 3886200"/>
              <a:gd name="connsiteX127" fmla="*/ 4056460 w 4556125"/>
              <a:gd name="connsiteY127" fmla="*/ 2988866 h 3886200"/>
              <a:gd name="connsiteX128" fmla="*/ 4038600 w 4556125"/>
              <a:gd name="connsiteY128" fmla="*/ 3011091 h 3886200"/>
              <a:gd name="connsiteX129" fmla="*/ 4021138 w 4556125"/>
              <a:gd name="connsiteY129" fmla="*/ 3033316 h 3886200"/>
              <a:gd name="connsiteX130" fmla="*/ 4002881 w 4556125"/>
              <a:gd name="connsiteY130" fmla="*/ 3054350 h 3886200"/>
              <a:gd name="connsiteX131" fmla="*/ 3985022 w 4556125"/>
              <a:gd name="connsiteY131" fmla="*/ 3076178 h 3886200"/>
              <a:gd name="connsiteX132" fmla="*/ 3966369 w 4556125"/>
              <a:gd name="connsiteY132" fmla="*/ 3097213 h 3886200"/>
              <a:gd name="connsiteX133" fmla="*/ 3947716 w 4556125"/>
              <a:gd name="connsiteY133" fmla="*/ 3117850 h 3886200"/>
              <a:gd name="connsiteX134" fmla="*/ 3928666 w 4556125"/>
              <a:gd name="connsiteY134" fmla="*/ 3138885 h 3886200"/>
              <a:gd name="connsiteX135" fmla="*/ 3908822 w 4556125"/>
              <a:gd name="connsiteY135" fmla="*/ 3159125 h 3886200"/>
              <a:gd name="connsiteX136" fmla="*/ 3889772 w 4556125"/>
              <a:gd name="connsiteY136" fmla="*/ 3179366 h 3886200"/>
              <a:gd name="connsiteX137" fmla="*/ 3869531 w 4556125"/>
              <a:gd name="connsiteY137" fmla="*/ 3199210 h 3886200"/>
              <a:gd name="connsiteX138" fmla="*/ 3850084 w 4556125"/>
              <a:gd name="connsiteY138" fmla="*/ 3219053 h 3886200"/>
              <a:gd name="connsiteX139" fmla="*/ 3829447 w 4556125"/>
              <a:gd name="connsiteY139" fmla="*/ 3238500 h 3886200"/>
              <a:gd name="connsiteX140" fmla="*/ 3809206 w 4556125"/>
              <a:gd name="connsiteY140" fmla="*/ 3258344 h 3886200"/>
              <a:gd name="connsiteX141" fmla="*/ 3788569 w 4556125"/>
              <a:gd name="connsiteY141" fmla="*/ 3276997 h 3886200"/>
              <a:gd name="connsiteX142" fmla="*/ 3767534 w 4556125"/>
              <a:gd name="connsiteY142" fmla="*/ 3296047 h 3886200"/>
              <a:gd name="connsiteX143" fmla="*/ 3746103 w 4556125"/>
              <a:gd name="connsiteY143" fmla="*/ 3314700 h 3886200"/>
              <a:gd name="connsiteX144" fmla="*/ 3725069 w 4556125"/>
              <a:gd name="connsiteY144" fmla="*/ 3332956 h 3886200"/>
              <a:gd name="connsiteX145" fmla="*/ 3703638 w 4556125"/>
              <a:gd name="connsiteY145" fmla="*/ 3350816 h 3886200"/>
              <a:gd name="connsiteX146" fmla="*/ 3681412 w 4556125"/>
              <a:gd name="connsiteY146" fmla="*/ 3368675 h 3886200"/>
              <a:gd name="connsiteX147" fmla="*/ 3659584 w 4556125"/>
              <a:gd name="connsiteY147" fmla="*/ 3386138 h 3886200"/>
              <a:gd name="connsiteX148" fmla="*/ 3636962 w 4556125"/>
              <a:gd name="connsiteY148" fmla="*/ 3403203 h 3886200"/>
              <a:gd name="connsiteX149" fmla="*/ 3614738 w 4556125"/>
              <a:gd name="connsiteY149" fmla="*/ 3420269 h 3886200"/>
              <a:gd name="connsiteX150" fmla="*/ 3592116 w 4556125"/>
              <a:gd name="connsiteY150" fmla="*/ 3436938 h 3886200"/>
              <a:gd name="connsiteX151" fmla="*/ 3569097 w 4556125"/>
              <a:gd name="connsiteY151" fmla="*/ 3453606 h 3886200"/>
              <a:gd name="connsiteX152" fmla="*/ 3546078 w 4556125"/>
              <a:gd name="connsiteY152" fmla="*/ 3469878 h 3886200"/>
              <a:gd name="connsiteX153" fmla="*/ 3522662 w 4556125"/>
              <a:gd name="connsiteY153" fmla="*/ 3485753 h 3886200"/>
              <a:gd name="connsiteX154" fmla="*/ 3499644 w 4556125"/>
              <a:gd name="connsiteY154" fmla="*/ 3501628 h 3886200"/>
              <a:gd name="connsiteX155" fmla="*/ 3475831 w 4556125"/>
              <a:gd name="connsiteY155" fmla="*/ 3517106 h 3886200"/>
              <a:gd name="connsiteX156" fmla="*/ 3452019 w 4556125"/>
              <a:gd name="connsiteY156" fmla="*/ 3532188 h 3886200"/>
              <a:gd name="connsiteX157" fmla="*/ 3427810 w 4556125"/>
              <a:gd name="connsiteY157" fmla="*/ 3546872 h 3886200"/>
              <a:gd name="connsiteX158" fmla="*/ 3403600 w 4556125"/>
              <a:gd name="connsiteY158" fmla="*/ 3561556 h 3886200"/>
              <a:gd name="connsiteX159" fmla="*/ 3379390 w 4556125"/>
              <a:gd name="connsiteY159" fmla="*/ 3575447 h 3886200"/>
              <a:gd name="connsiteX160" fmla="*/ 3354784 w 4556125"/>
              <a:gd name="connsiteY160" fmla="*/ 3589735 h 3886200"/>
              <a:gd name="connsiteX161" fmla="*/ 3329384 w 4556125"/>
              <a:gd name="connsiteY161" fmla="*/ 3603228 h 3886200"/>
              <a:gd name="connsiteX162" fmla="*/ 3304778 w 4556125"/>
              <a:gd name="connsiteY162" fmla="*/ 3616722 h 3886200"/>
              <a:gd name="connsiteX163" fmla="*/ 3279775 w 4556125"/>
              <a:gd name="connsiteY163" fmla="*/ 3629819 h 3886200"/>
              <a:gd name="connsiteX164" fmla="*/ 3253978 w 4556125"/>
              <a:gd name="connsiteY164" fmla="*/ 3642519 h 3886200"/>
              <a:gd name="connsiteX165" fmla="*/ 3228975 w 4556125"/>
              <a:gd name="connsiteY165" fmla="*/ 3655219 h 3886200"/>
              <a:gd name="connsiteX166" fmla="*/ 3202781 w 4556125"/>
              <a:gd name="connsiteY166" fmla="*/ 3667125 h 3886200"/>
              <a:gd name="connsiteX167" fmla="*/ 3176984 w 4556125"/>
              <a:gd name="connsiteY167" fmla="*/ 3679428 h 3886200"/>
              <a:gd name="connsiteX168" fmla="*/ 3150790 w 4556125"/>
              <a:gd name="connsiteY168" fmla="*/ 3690938 h 3886200"/>
              <a:gd name="connsiteX169" fmla="*/ 3124597 w 4556125"/>
              <a:gd name="connsiteY169" fmla="*/ 3702050 h 3886200"/>
              <a:gd name="connsiteX170" fmla="*/ 3098403 w 4556125"/>
              <a:gd name="connsiteY170" fmla="*/ 3713163 h 3886200"/>
              <a:gd name="connsiteX171" fmla="*/ 3071812 w 4556125"/>
              <a:gd name="connsiteY171" fmla="*/ 3723481 h 3886200"/>
              <a:gd name="connsiteX172" fmla="*/ 3045222 w 4556125"/>
              <a:gd name="connsiteY172" fmla="*/ 3734197 h 3886200"/>
              <a:gd name="connsiteX173" fmla="*/ 3018631 w 4556125"/>
              <a:gd name="connsiteY173" fmla="*/ 3744119 h 3886200"/>
              <a:gd name="connsiteX174" fmla="*/ 2991247 w 4556125"/>
              <a:gd name="connsiteY174" fmla="*/ 3753644 h 3886200"/>
              <a:gd name="connsiteX175" fmla="*/ 2964260 w 4556125"/>
              <a:gd name="connsiteY175" fmla="*/ 3763169 h 3886200"/>
              <a:gd name="connsiteX176" fmla="*/ 2936875 w 4556125"/>
              <a:gd name="connsiteY176" fmla="*/ 3771900 h 3886200"/>
              <a:gd name="connsiteX177" fmla="*/ 2909094 w 4556125"/>
              <a:gd name="connsiteY177" fmla="*/ 3781028 h 3886200"/>
              <a:gd name="connsiteX178" fmla="*/ 2882106 w 4556125"/>
              <a:gd name="connsiteY178" fmla="*/ 3789363 h 3886200"/>
              <a:gd name="connsiteX179" fmla="*/ 2853928 w 4556125"/>
              <a:gd name="connsiteY179" fmla="*/ 3797697 h 3886200"/>
              <a:gd name="connsiteX180" fmla="*/ 2826147 w 4556125"/>
              <a:gd name="connsiteY180" fmla="*/ 3805238 h 3886200"/>
              <a:gd name="connsiteX181" fmla="*/ 2797969 w 4556125"/>
              <a:gd name="connsiteY181" fmla="*/ 3812778 h 3886200"/>
              <a:gd name="connsiteX182" fmla="*/ 2770188 w 4556125"/>
              <a:gd name="connsiteY182" fmla="*/ 3819922 h 3886200"/>
              <a:gd name="connsiteX183" fmla="*/ 2741612 w 4556125"/>
              <a:gd name="connsiteY183" fmla="*/ 3826272 h 3886200"/>
              <a:gd name="connsiteX184" fmla="*/ 2713434 w 4556125"/>
              <a:gd name="connsiteY184" fmla="*/ 3833019 h 3886200"/>
              <a:gd name="connsiteX185" fmla="*/ 2684860 w 4556125"/>
              <a:gd name="connsiteY185" fmla="*/ 3838972 h 3886200"/>
              <a:gd name="connsiteX186" fmla="*/ 2655888 w 4556125"/>
              <a:gd name="connsiteY186" fmla="*/ 3844528 h 3886200"/>
              <a:gd name="connsiteX187" fmla="*/ 2627312 w 4556125"/>
              <a:gd name="connsiteY187" fmla="*/ 3849291 h 3886200"/>
              <a:gd name="connsiteX188" fmla="*/ 2598738 w 4556125"/>
              <a:gd name="connsiteY188" fmla="*/ 3854450 h 3886200"/>
              <a:gd name="connsiteX189" fmla="*/ 2569369 w 4556125"/>
              <a:gd name="connsiteY189" fmla="*/ 3859610 h 3886200"/>
              <a:gd name="connsiteX190" fmla="*/ 2540397 w 4556125"/>
              <a:gd name="connsiteY190" fmla="*/ 3863578 h 3886200"/>
              <a:gd name="connsiteX191" fmla="*/ 2511028 w 4556125"/>
              <a:gd name="connsiteY191" fmla="*/ 3867547 h 3886200"/>
              <a:gd name="connsiteX192" fmla="*/ 2481262 w 4556125"/>
              <a:gd name="connsiteY192" fmla="*/ 3871119 h 3886200"/>
              <a:gd name="connsiteX193" fmla="*/ 2452290 w 4556125"/>
              <a:gd name="connsiteY193" fmla="*/ 3874294 h 3886200"/>
              <a:gd name="connsiteX194" fmla="*/ 2422525 w 4556125"/>
              <a:gd name="connsiteY194" fmla="*/ 3877072 h 3886200"/>
              <a:gd name="connsiteX195" fmla="*/ 2392760 w 4556125"/>
              <a:gd name="connsiteY195" fmla="*/ 3879850 h 3886200"/>
              <a:gd name="connsiteX196" fmla="*/ 2362994 w 4556125"/>
              <a:gd name="connsiteY196" fmla="*/ 3881835 h 3886200"/>
              <a:gd name="connsiteX197" fmla="*/ 2332831 w 4556125"/>
              <a:gd name="connsiteY197" fmla="*/ 3883025 h 3886200"/>
              <a:gd name="connsiteX198" fmla="*/ 2303066 w 4556125"/>
              <a:gd name="connsiteY198" fmla="*/ 3884613 h 3886200"/>
              <a:gd name="connsiteX199" fmla="*/ 2272903 w 4556125"/>
              <a:gd name="connsiteY199" fmla="*/ 3885803 h 3886200"/>
              <a:gd name="connsiteX200" fmla="*/ 2242740 w 4556125"/>
              <a:gd name="connsiteY200" fmla="*/ 3886200 h 3886200"/>
              <a:gd name="connsiteX201" fmla="*/ 2212578 w 4556125"/>
              <a:gd name="connsiteY201" fmla="*/ 3886200 h 3886200"/>
              <a:gd name="connsiteX202" fmla="*/ 2169716 w 4556125"/>
              <a:gd name="connsiteY202" fmla="*/ 3885803 h 3886200"/>
              <a:gd name="connsiteX203" fmla="*/ 2127647 w 4556125"/>
              <a:gd name="connsiteY203" fmla="*/ 3884613 h 3886200"/>
              <a:gd name="connsiteX204" fmla="*/ 2085975 w 4556125"/>
              <a:gd name="connsiteY204" fmla="*/ 3883025 h 3886200"/>
              <a:gd name="connsiteX205" fmla="*/ 2043906 w 4556125"/>
              <a:gd name="connsiteY205" fmla="*/ 3880247 h 3886200"/>
              <a:gd name="connsiteX206" fmla="*/ 2002234 w 4556125"/>
              <a:gd name="connsiteY206" fmla="*/ 3877072 h 3886200"/>
              <a:gd name="connsiteX207" fmla="*/ 1960960 w 4556125"/>
              <a:gd name="connsiteY207" fmla="*/ 3873103 h 3886200"/>
              <a:gd name="connsiteX208" fmla="*/ 1919685 w 4556125"/>
              <a:gd name="connsiteY208" fmla="*/ 3867944 h 3886200"/>
              <a:gd name="connsiteX209" fmla="*/ 1878410 w 4556125"/>
              <a:gd name="connsiteY209" fmla="*/ 3862388 h 3886200"/>
              <a:gd name="connsiteX210" fmla="*/ 1837531 w 4556125"/>
              <a:gd name="connsiteY210" fmla="*/ 3856435 h 3886200"/>
              <a:gd name="connsiteX211" fmla="*/ 1797050 w 4556125"/>
              <a:gd name="connsiteY211" fmla="*/ 3849291 h 3886200"/>
              <a:gd name="connsiteX212" fmla="*/ 1756569 w 4556125"/>
              <a:gd name="connsiteY212" fmla="*/ 3841750 h 3886200"/>
              <a:gd name="connsiteX213" fmla="*/ 1716881 w 4556125"/>
              <a:gd name="connsiteY213" fmla="*/ 3833813 h 3886200"/>
              <a:gd name="connsiteX214" fmla="*/ 1677194 w 4556125"/>
              <a:gd name="connsiteY214" fmla="*/ 3824685 h 3886200"/>
              <a:gd name="connsiteX215" fmla="*/ 1637506 w 4556125"/>
              <a:gd name="connsiteY215" fmla="*/ 3815160 h 3886200"/>
              <a:gd name="connsiteX216" fmla="*/ 1598216 w 4556125"/>
              <a:gd name="connsiteY216" fmla="*/ 3804444 h 3886200"/>
              <a:gd name="connsiteX217" fmla="*/ 1558925 w 4556125"/>
              <a:gd name="connsiteY217" fmla="*/ 3794125 h 3886200"/>
              <a:gd name="connsiteX218" fmla="*/ 1520031 w 4556125"/>
              <a:gd name="connsiteY218" fmla="*/ 3782616 h 3886200"/>
              <a:gd name="connsiteX219" fmla="*/ 1481931 w 4556125"/>
              <a:gd name="connsiteY219" fmla="*/ 3769916 h 3886200"/>
              <a:gd name="connsiteX220" fmla="*/ 1443435 w 4556125"/>
              <a:gd name="connsiteY220" fmla="*/ 3757216 h 3886200"/>
              <a:gd name="connsiteX221" fmla="*/ 1405731 w 4556125"/>
              <a:gd name="connsiteY221" fmla="*/ 3743722 h 3886200"/>
              <a:gd name="connsiteX222" fmla="*/ 1368028 w 4556125"/>
              <a:gd name="connsiteY222" fmla="*/ 3729435 h 3886200"/>
              <a:gd name="connsiteX223" fmla="*/ 1330722 w 4556125"/>
              <a:gd name="connsiteY223" fmla="*/ 3714353 h 3886200"/>
              <a:gd name="connsiteX224" fmla="*/ 1294210 w 4556125"/>
              <a:gd name="connsiteY224" fmla="*/ 3699272 h 3886200"/>
              <a:gd name="connsiteX225" fmla="*/ 1257300 w 4556125"/>
              <a:gd name="connsiteY225" fmla="*/ 3683397 h 3886200"/>
              <a:gd name="connsiteX226" fmla="*/ 1221185 w 4556125"/>
              <a:gd name="connsiteY226" fmla="*/ 3666728 h 3886200"/>
              <a:gd name="connsiteX227" fmla="*/ 1184672 w 4556125"/>
              <a:gd name="connsiteY227" fmla="*/ 3649663 h 3886200"/>
              <a:gd name="connsiteX228" fmla="*/ 1148953 w 4556125"/>
              <a:gd name="connsiteY228" fmla="*/ 3631803 h 3886200"/>
              <a:gd name="connsiteX229" fmla="*/ 1114028 w 4556125"/>
              <a:gd name="connsiteY229" fmla="*/ 3613150 h 3886200"/>
              <a:gd name="connsiteX230" fmla="*/ 1079103 w 4556125"/>
              <a:gd name="connsiteY230" fmla="*/ 3594100 h 3886200"/>
              <a:gd name="connsiteX231" fmla="*/ 1044575 w 4556125"/>
              <a:gd name="connsiteY231" fmla="*/ 3575050 h 3886200"/>
              <a:gd name="connsiteX232" fmla="*/ 1010047 w 4556125"/>
              <a:gd name="connsiteY232" fmla="*/ 3554810 h 3886200"/>
              <a:gd name="connsiteX233" fmla="*/ 976313 w 4556125"/>
              <a:gd name="connsiteY233" fmla="*/ 3534172 h 3886200"/>
              <a:gd name="connsiteX234" fmla="*/ 943372 w 4556125"/>
              <a:gd name="connsiteY234" fmla="*/ 3513138 h 3886200"/>
              <a:gd name="connsiteX235" fmla="*/ 910035 w 4556125"/>
              <a:gd name="connsiteY235" fmla="*/ 3490913 h 3886200"/>
              <a:gd name="connsiteX236" fmla="*/ 877491 w 4556125"/>
              <a:gd name="connsiteY236" fmla="*/ 3468688 h 3886200"/>
              <a:gd name="connsiteX237" fmla="*/ 844947 w 4556125"/>
              <a:gd name="connsiteY237" fmla="*/ 3446066 h 3886200"/>
              <a:gd name="connsiteX238" fmla="*/ 813197 w 4556125"/>
              <a:gd name="connsiteY238" fmla="*/ 3422650 h 3886200"/>
              <a:gd name="connsiteX239" fmla="*/ 781844 w 4556125"/>
              <a:gd name="connsiteY239" fmla="*/ 3398838 h 3886200"/>
              <a:gd name="connsiteX240" fmla="*/ 750888 w 4556125"/>
              <a:gd name="connsiteY240" fmla="*/ 3374231 h 3886200"/>
              <a:gd name="connsiteX241" fmla="*/ 720328 w 4556125"/>
              <a:gd name="connsiteY241" fmla="*/ 3349625 h 3886200"/>
              <a:gd name="connsiteX242" fmla="*/ 690166 w 4556125"/>
              <a:gd name="connsiteY242" fmla="*/ 3324225 h 3886200"/>
              <a:gd name="connsiteX243" fmla="*/ 660400 w 4556125"/>
              <a:gd name="connsiteY243" fmla="*/ 3298031 h 3886200"/>
              <a:gd name="connsiteX244" fmla="*/ 630635 w 4556125"/>
              <a:gd name="connsiteY244" fmla="*/ 3271838 h 3886200"/>
              <a:gd name="connsiteX245" fmla="*/ 602060 w 4556125"/>
              <a:gd name="connsiteY245" fmla="*/ 3244850 h 3886200"/>
              <a:gd name="connsiteX246" fmla="*/ 573881 w 4556125"/>
              <a:gd name="connsiteY246" fmla="*/ 3217466 h 3886200"/>
              <a:gd name="connsiteX247" fmla="*/ 545703 w 4556125"/>
              <a:gd name="connsiteY247" fmla="*/ 3189685 h 3886200"/>
              <a:gd name="connsiteX248" fmla="*/ 518319 w 4556125"/>
              <a:gd name="connsiteY248" fmla="*/ 3161506 h 3886200"/>
              <a:gd name="connsiteX249" fmla="*/ 491331 w 4556125"/>
              <a:gd name="connsiteY249" fmla="*/ 3132931 h 3886200"/>
              <a:gd name="connsiteX250" fmla="*/ 464741 w 4556125"/>
              <a:gd name="connsiteY250" fmla="*/ 3103563 h 3886200"/>
              <a:gd name="connsiteX251" fmla="*/ 438944 w 4556125"/>
              <a:gd name="connsiteY251" fmla="*/ 3074194 h 3886200"/>
              <a:gd name="connsiteX252" fmla="*/ 413147 w 4556125"/>
              <a:gd name="connsiteY252" fmla="*/ 3043635 h 3886200"/>
              <a:gd name="connsiteX253" fmla="*/ 388144 w 4556125"/>
              <a:gd name="connsiteY253" fmla="*/ 3013472 h 3886200"/>
              <a:gd name="connsiteX254" fmla="*/ 363538 w 4556125"/>
              <a:gd name="connsiteY254" fmla="*/ 2982516 h 3886200"/>
              <a:gd name="connsiteX255" fmla="*/ 339725 w 4556125"/>
              <a:gd name="connsiteY255" fmla="*/ 2951163 h 3886200"/>
              <a:gd name="connsiteX256" fmla="*/ 315913 w 4556125"/>
              <a:gd name="connsiteY256" fmla="*/ 2919413 h 3886200"/>
              <a:gd name="connsiteX257" fmla="*/ 292894 w 4556125"/>
              <a:gd name="connsiteY257" fmla="*/ 2887266 h 3886200"/>
              <a:gd name="connsiteX258" fmla="*/ 270669 w 4556125"/>
              <a:gd name="connsiteY258" fmla="*/ 2854325 h 3886200"/>
              <a:gd name="connsiteX259" fmla="*/ 248841 w 4556125"/>
              <a:gd name="connsiteY259" fmla="*/ 2821781 h 3886200"/>
              <a:gd name="connsiteX260" fmla="*/ 227410 w 4556125"/>
              <a:gd name="connsiteY260" fmla="*/ 2788444 h 3886200"/>
              <a:gd name="connsiteX261" fmla="*/ 206375 w 4556125"/>
              <a:gd name="connsiteY261" fmla="*/ 2754710 h 3886200"/>
              <a:gd name="connsiteX262" fmla="*/ 186135 w 4556125"/>
              <a:gd name="connsiteY262" fmla="*/ 2720578 h 3886200"/>
              <a:gd name="connsiteX263" fmla="*/ 166688 w 4556125"/>
              <a:gd name="connsiteY263" fmla="*/ 2685653 h 3886200"/>
              <a:gd name="connsiteX264" fmla="*/ 147638 w 4556125"/>
              <a:gd name="connsiteY264" fmla="*/ 2651125 h 3886200"/>
              <a:gd name="connsiteX265" fmla="*/ 128985 w 4556125"/>
              <a:gd name="connsiteY265" fmla="*/ 2615803 h 3886200"/>
              <a:gd name="connsiteX266" fmla="*/ 114697 w 4556125"/>
              <a:gd name="connsiteY266" fmla="*/ 2589213 h 3886200"/>
              <a:gd name="connsiteX267" fmla="*/ 101600 w 4556125"/>
              <a:gd name="connsiteY267" fmla="*/ 2561828 h 3886200"/>
              <a:gd name="connsiteX268" fmla="*/ 89694 w 4556125"/>
              <a:gd name="connsiteY268" fmla="*/ 2534841 h 3886200"/>
              <a:gd name="connsiteX269" fmla="*/ 78185 w 4556125"/>
              <a:gd name="connsiteY269" fmla="*/ 2507060 h 3886200"/>
              <a:gd name="connsiteX270" fmla="*/ 67072 w 4556125"/>
              <a:gd name="connsiteY270" fmla="*/ 2479278 h 3886200"/>
              <a:gd name="connsiteX271" fmla="*/ 57547 w 4556125"/>
              <a:gd name="connsiteY271" fmla="*/ 2451100 h 3886200"/>
              <a:gd name="connsiteX272" fmla="*/ 47625 w 4556125"/>
              <a:gd name="connsiteY272" fmla="*/ 2422922 h 3886200"/>
              <a:gd name="connsiteX273" fmla="*/ 39688 w 4556125"/>
              <a:gd name="connsiteY273" fmla="*/ 2394347 h 3886200"/>
              <a:gd name="connsiteX274" fmla="*/ 32147 w 4556125"/>
              <a:gd name="connsiteY274" fmla="*/ 2365375 h 3886200"/>
              <a:gd name="connsiteX275" fmla="*/ 25797 w 4556125"/>
              <a:gd name="connsiteY275" fmla="*/ 2336800 h 3886200"/>
              <a:gd name="connsiteX276" fmla="*/ 19447 w 4556125"/>
              <a:gd name="connsiteY276" fmla="*/ 2308225 h 3886200"/>
              <a:gd name="connsiteX277" fmla="*/ 14685 w 4556125"/>
              <a:gd name="connsiteY277" fmla="*/ 2278856 h 3886200"/>
              <a:gd name="connsiteX278" fmla="*/ 9922 w 4556125"/>
              <a:gd name="connsiteY278" fmla="*/ 2250281 h 3886200"/>
              <a:gd name="connsiteX279" fmla="*/ 6350 w 4556125"/>
              <a:gd name="connsiteY279" fmla="*/ 2220913 h 3886200"/>
              <a:gd name="connsiteX280" fmla="*/ 3572 w 4556125"/>
              <a:gd name="connsiteY280" fmla="*/ 2191941 h 3886200"/>
              <a:gd name="connsiteX281" fmla="*/ 1588 w 4556125"/>
              <a:gd name="connsiteY281" fmla="*/ 2162175 h 3886200"/>
              <a:gd name="connsiteX282" fmla="*/ 397 w 4556125"/>
              <a:gd name="connsiteY282" fmla="*/ 2132806 h 3886200"/>
              <a:gd name="connsiteX283" fmla="*/ 0 w 4556125"/>
              <a:gd name="connsiteY283" fmla="*/ 2103835 h 3886200"/>
              <a:gd name="connsiteX284" fmla="*/ 0 w 4556125"/>
              <a:gd name="connsiteY284" fmla="*/ 2074466 h 3886200"/>
              <a:gd name="connsiteX285" fmla="*/ 1588 w 4556125"/>
              <a:gd name="connsiteY285" fmla="*/ 2044700 h 3886200"/>
              <a:gd name="connsiteX286" fmla="*/ 3175 w 4556125"/>
              <a:gd name="connsiteY286" fmla="*/ 2015728 h 3886200"/>
              <a:gd name="connsiteX287" fmla="*/ 5556 w 4556125"/>
              <a:gd name="connsiteY287" fmla="*/ 1986360 h 3886200"/>
              <a:gd name="connsiteX288" fmla="*/ 9128 w 4556125"/>
              <a:gd name="connsiteY288" fmla="*/ 1957388 h 3886200"/>
              <a:gd name="connsiteX289" fmla="*/ 13097 w 4556125"/>
              <a:gd name="connsiteY289" fmla="*/ 1928019 h 3886200"/>
              <a:gd name="connsiteX290" fmla="*/ 18256 w 4556125"/>
              <a:gd name="connsiteY290" fmla="*/ 1898650 h 3886200"/>
              <a:gd name="connsiteX291" fmla="*/ 23813 w 4556125"/>
              <a:gd name="connsiteY291" fmla="*/ 1870075 h 3886200"/>
              <a:gd name="connsiteX292" fmla="*/ 29766 w 4556125"/>
              <a:gd name="connsiteY292" fmla="*/ 1841500 h 3886200"/>
              <a:gd name="connsiteX293" fmla="*/ 36910 w 4556125"/>
              <a:gd name="connsiteY293" fmla="*/ 1812528 h 3886200"/>
              <a:gd name="connsiteX294" fmla="*/ 44847 w 4556125"/>
              <a:gd name="connsiteY294" fmla="*/ 1783953 h 3886200"/>
              <a:gd name="connsiteX295" fmla="*/ 53181 w 4556125"/>
              <a:gd name="connsiteY295" fmla="*/ 1755775 h 3886200"/>
              <a:gd name="connsiteX296" fmla="*/ 62310 w 4556125"/>
              <a:gd name="connsiteY296" fmla="*/ 1727597 h 3886200"/>
              <a:gd name="connsiteX297" fmla="*/ 72628 w 4556125"/>
              <a:gd name="connsiteY297" fmla="*/ 1699419 h 3886200"/>
              <a:gd name="connsiteX298" fmla="*/ 83741 w 4556125"/>
              <a:gd name="connsiteY298" fmla="*/ 1671638 h 3886200"/>
              <a:gd name="connsiteX299" fmla="*/ 94456 w 4556125"/>
              <a:gd name="connsiteY299" fmla="*/ 1644650 h 3886200"/>
              <a:gd name="connsiteX300" fmla="*/ 106760 w 4556125"/>
              <a:gd name="connsiteY300" fmla="*/ 1617266 h 3886200"/>
              <a:gd name="connsiteX301" fmla="*/ 119856 w 4556125"/>
              <a:gd name="connsiteY301" fmla="*/ 1590278 h 3886200"/>
              <a:gd name="connsiteX302" fmla="*/ 133350 w 4556125"/>
              <a:gd name="connsiteY302" fmla="*/ 1563291 h 3886200"/>
              <a:gd name="connsiteX303" fmla="*/ 148035 w 4556125"/>
              <a:gd name="connsiteY303" fmla="*/ 1537097 h 3886200"/>
              <a:gd name="connsiteX304" fmla="*/ 162719 w 4556125"/>
              <a:gd name="connsiteY304" fmla="*/ 1510903 h 3886200"/>
              <a:gd name="connsiteX305" fmla="*/ 178594 w 4556125"/>
              <a:gd name="connsiteY305" fmla="*/ 1485503 h 3886200"/>
              <a:gd name="connsiteX306" fmla="*/ 194866 w 4556125"/>
              <a:gd name="connsiteY306" fmla="*/ 1460103 h 3886200"/>
              <a:gd name="connsiteX307" fmla="*/ 211931 w 4556125"/>
              <a:gd name="connsiteY307" fmla="*/ 1435100 h 3886200"/>
              <a:gd name="connsiteX308" fmla="*/ 230188 w 4556125"/>
              <a:gd name="connsiteY308" fmla="*/ 1410494 h 3886200"/>
              <a:gd name="connsiteX309" fmla="*/ 248047 w 4556125"/>
              <a:gd name="connsiteY309" fmla="*/ 1386285 h 3886200"/>
              <a:gd name="connsiteX310" fmla="*/ 267891 w 4556125"/>
              <a:gd name="connsiteY310" fmla="*/ 1362472 h 3886200"/>
              <a:gd name="connsiteX311" fmla="*/ 287338 w 4556125"/>
              <a:gd name="connsiteY311" fmla="*/ 1339056 h 3886200"/>
              <a:gd name="connsiteX312" fmla="*/ 307975 w 4556125"/>
              <a:gd name="connsiteY312" fmla="*/ 1316038 h 3886200"/>
              <a:gd name="connsiteX313" fmla="*/ 329010 w 4556125"/>
              <a:gd name="connsiteY313" fmla="*/ 1293416 h 3886200"/>
              <a:gd name="connsiteX314" fmla="*/ 351235 w 4556125"/>
              <a:gd name="connsiteY314" fmla="*/ 1271588 h 3886200"/>
              <a:gd name="connsiteX315" fmla="*/ 373856 w 4556125"/>
              <a:gd name="connsiteY315" fmla="*/ 1249760 h 3886200"/>
              <a:gd name="connsiteX316" fmla="*/ 397272 w 4556125"/>
              <a:gd name="connsiteY316" fmla="*/ 1229122 h 3886200"/>
              <a:gd name="connsiteX317" fmla="*/ 421481 w 4556125"/>
              <a:gd name="connsiteY317" fmla="*/ 1208485 h 3886200"/>
              <a:gd name="connsiteX318" fmla="*/ 445294 w 4556125"/>
              <a:gd name="connsiteY318" fmla="*/ 1188641 h 3886200"/>
              <a:gd name="connsiteX319" fmla="*/ 471091 w 4556125"/>
              <a:gd name="connsiteY319" fmla="*/ 1169194 h 3886200"/>
              <a:gd name="connsiteX320" fmla="*/ 496888 w 4556125"/>
              <a:gd name="connsiteY320" fmla="*/ 1150541 h 3886200"/>
              <a:gd name="connsiteX321" fmla="*/ 523478 w 4556125"/>
              <a:gd name="connsiteY321" fmla="*/ 1132285 h 3886200"/>
              <a:gd name="connsiteX322" fmla="*/ 550466 w 4556125"/>
              <a:gd name="connsiteY322" fmla="*/ 1114822 h 3886200"/>
              <a:gd name="connsiteX323" fmla="*/ 578644 w 4556125"/>
              <a:gd name="connsiteY323" fmla="*/ 1097756 h 3886200"/>
              <a:gd name="connsiteX324" fmla="*/ 606822 w 4556125"/>
              <a:gd name="connsiteY324" fmla="*/ 1081088 h 3886200"/>
              <a:gd name="connsiteX325" fmla="*/ 636191 w 4556125"/>
              <a:gd name="connsiteY325" fmla="*/ 1065610 h 3886200"/>
              <a:gd name="connsiteX326" fmla="*/ 666353 w 4556125"/>
              <a:gd name="connsiteY326" fmla="*/ 1050528 h 3886200"/>
              <a:gd name="connsiteX327" fmla="*/ 696516 w 4556125"/>
              <a:gd name="connsiteY327" fmla="*/ 1036241 h 3886200"/>
              <a:gd name="connsiteX328" fmla="*/ 727869 w 4556125"/>
              <a:gd name="connsiteY328" fmla="*/ 1022747 h 3886200"/>
              <a:gd name="connsiteX329" fmla="*/ 759619 w 4556125"/>
              <a:gd name="connsiteY329" fmla="*/ 1009650 h 3886200"/>
              <a:gd name="connsiteX330" fmla="*/ 3618310 w 4556125"/>
              <a:gd name="connsiteY330" fmla="*/ 26591 h 3886200"/>
              <a:gd name="connsiteX331" fmla="*/ 3633390 w 4556125"/>
              <a:gd name="connsiteY331" fmla="*/ 22225 h 3886200"/>
              <a:gd name="connsiteX332" fmla="*/ 3648472 w 4556125"/>
              <a:gd name="connsiteY332" fmla="*/ 17463 h 3886200"/>
              <a:gd name="connsiteX333" fmla="*/ 3663553 w 4556125"/>
              <a:gd name="connsiteY333" fmla="*/ 13494 h 3886200"/>
              <a:gd name="connsiteX334" fmla="*/ 3678634 w 4556125"/>
              <a:gd name="connsiteY334" fmla="*/ 10716 h 3886200"/>
              <a:gd name="connsiteX335" fmla="*/ 3693319 w 4556125"/>
              <a:gd name="connsiteY335" fmla="*/ 7541 h 3886200"/>
              <a:gd name="connsiteX336" fmla="*/ 3708003 w 4556125"/>
              <a:gd name="connsiteY336" fmla="*/ 5159 h 3886200"/>
              <a:gd name="connsiteX337" fmla="*/ 3722290 w 4556125"/>
              <a:gd name="connsiteY337" fmla="*/ 3175 h 3886200"/>
              <a:gd name="connsiteX338" fmla="*/ 3736578 w 4556125"/>
              <a:gd name="connsiteY338" fmla="*/ 1588 h 3886200"/>
              <a:gd name="connsiteX339" fmla="*/ 3750866 w 4556125"/>
              <a:gd name="connsiteY339" fmla="*/ 397 h 38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4556125" h="3886200">
                <a:moveTo>
                  <a:pt x="3764756" y="0"/>
                </a:moveTo>
                <a:lnTo>
                  <a:pt x="3778647" y="0"/>
                </a:lnTo>
                <a:lnTo>
                  <a:pt x="3792538" y="397"/>
                </a:lnTo>
                <a:lnTo>
                  <a:pt x="3806031" y="1191"/>
                </a:lnTo>
                <a:lnTo>
                  <a:pt x="3819922" y="2381"/>
                </a:lnTo>
                <a:lnTo>
                  <a:pt x="3833019" y="3969"/>
                </a:lnTo>
                <a:lnTo>
                  <a:pt x="3846512" y="5953"/>
                </a:lnTo>
                <a:lnTo>
                  <a:pt x="3859610" y="8731"/>
                </a:lnTo>
                <a:lnTo>
                  <a:pt x="3871912" y="11510"/>
                </a:lnTo>
                <a:lnTo>
                  <a:pt x="3885010" y="14685"/>
                </a:lnTo>
                <a:lnTo>
                  <a:pt x="3897710" y="18256"/>
                </a:lnTo>
                <a:lnTo>
                  <a:pt x="3910410" y="22622"/>
                </a:lnTo>
                <a:lnTo>
                  <a:pt x="3923110" y="26591"/>
                </a:lnTo>
                <a:lnTo>
                  <a:pt x="3935016" y="31750"/>
                </a:lnTo>
                <a:lnTo>
                  <a:pt x="3947716" y="36910"/>
                </a:lnTo>
                <a:lnTo>
                  <a:pt x="3959622" y="42863"/>
                </a:lnTo>
                <a:lnTo>
                  <a:pt x="3971131" y="48419"/>
                </a:lnTo>
                <a:lnTo>
                  <a:pt x="3983434" y="54769"/>
                </a:lnTo>
                <a:lnTo>
                  <a:pt x="3994944" y="61516"/>
                </a:lnTo>
                <a:lnTo>
                  <a:pt x="4006453" y="68660"/>
                </a:lnTo>
                <a:lnTo>
                  <a:pt x="4017962" y="76200"/>
                </a:lnTo>
                <a:lnTo>
                  <a:pt x="4029075" y="83741"/>
                </a:lnTo>
                <a:lnTo>
                  <a:pt x="4040188" y="91678"/>
                </a:lnTo>
                <a:lnTo>
                  <a:pt x="4051300" y="100013"/>
                </a:lnTo>
                <a:lnTo>
                  <a:pt x="4062412" y="108744"/>
                </a:lnTo>
                <a:lnTo>
                  <a:pt x="4073128" y="117872"/>
                </a:lnTo>
                <a:lnTo>
                  <a:pt x="4083844" y="127000"/>
                </a:lnTo>
                <a:lnTo>
                  <a:pt x="4094560" y="136525"/>
                </a:lnTo>
                <a:lnTo>
                  <a:pt x="4104481" y="146447"/>
                </a:lnTo>
                <a:lnTo>
                  <a:pt x="4125119" y="167084"/>
                </a:lnTo>
                <a:lnTo>
                  <a:pt x="4145360" y="188913"/>
                </a:lnTo>
                <a:lnTo>
                  <a:pt x="4164410" y="211931"/>
                </a:lnTo>
                <a:lnTo>
                  <a:pt x="4183856" y="235744"/>
                </a:lnTo>
                <a:lnTo>
                  <a:pt x="4202112" y="260350"/>
                </a:lnTo>
                <a:lnTo>
                  <a:pt x="4219972" y="286544"/>
                </a:lnTo>
                <a:lnTo>
                  <a:pt x="4237434" y="313135"/>
                </a:lnTo>
                <a:lnTo>
                  <a:pt x="4254500" y="340519"/>
                </a:lnTo>
                <a:lnTo>
                  <a:pt x="4271169" y="369094"/>
                </a:lnTo>
                <a:lnTo>
                  <a:pt x="4286647" y="398463"/>
                </a:lnTo>
                <a:lnTo>
                  <a:pt x="4302522" y="427831"/>
                </a:lnTo>
                <a:lnTo>
                  <a:pt x="4317603" y="458391"/>
                </a:lnTo>
                <a:lnTo>
                  <a:pt x="4332288" y="489347"/>
                </a:lnTo>
                <a:lnTo>
                  <a:pt x="4346178" y="521097"/>
                </a:lnTo>
                <a:lnTo>
                  <a:pt x="4359672" y="553244"/>
                </a:lnTo>
                <a:lnTo>
                  <a:pt x="4372769" y="586185"/>
                </a:lnTo>
                <a:lnTo>
                  <a:pt x="4385469" y="619522"/>
                </a:lnTo>
                <a:lnTo>
                  <a:pt x="4398169" y="652463"/>
                </a:lnTo>
                <a:lnTo>
                  <a:pt x="4409678" y="686991"/>
                </a:lnTo>
                <a:lnTo>
                  <a:pt x="4420790" y="721122"/>
                </a:lnTo>
                <a:lnTo>
                  <a:pt x="4431903" y="755253"/>
                </a:lnTo>
                <a:lnTo>
                  <a:pt x="4441825" y="790178"/>
                </a:lnTo>
                <a:lnTo>
                  <a:pt x="4451747" y="824706"/>
                </a:lnTo>
                <a:lnTo>
                  <a:pt x="4461669" y="859631"/>
                </a:lnTo>
                <a:lnTo>
                  <a:pt x="4470003" y="894953"/>
                </a:lnTo>
                <a:lnTo>
                  <a:pt x="4478734" y="929878"/>
                </a:lnTo>
                <a:lnTo>
                  <a:pt x="4486672" y="964803"/>
                </a:lnTo>
                <a:lnTo>
                  <a:pt x="4494212" y="1000125"/>
                </a:lnTo>
                <a:lnTo>
                  <a:pt x="4501753" y="1034653"/>
                </a:lnTo>
                <a:lnTo>
                  <a:pt x="4508500" y="1069578"/>
                </a:lnTo>
                <a:lnTo>
                  <a:pt x="4514453" y="1104106"/>
                </a:lnTo>
                <a:lnTo>
                  <a:pt x="4520406" y="1138635"/>
                </a:lnTo>
                <a:lnTo>
                  <a:pt x="4525566" y="1172369"/>
                </a:lnTo>
                <a:lnTo>
                  <a:pt x="4530328" y="1206103"/>
                </a:lnTo>
                <a:lnTo>
                  <a:pt x="4535090" y="1239044"/>
                </a:lnTo>
                <a:lnTo>
                  <a:pt x="4539060" y="1271985"/>
                </a:lnTo>
                <a:lnTo>
                  <a:pt x="4542631" y="1304528"/>
                </a:lnTo>
                <a:lnTo>
                  <a:pt x="4546203" y="1336278"/>
                </a:lnTo>
                <a:lnTo>
                  <a:pt x="4548584" y="1367631"/>
                </a:lnTo>
                <a:lnTo>
                  <a:pt x="4550966" y="1398191"/>
                </a:lnTo>
                <a:lnTo>
                  <a:pt x="4552950" y="1428353"/>
                </a:lnTo>
                <a:lnTo>
                  <a:pt x="4554538" y="1458119"/>
                </a:lnTo>
                <a:lnTo>
                  <a:pt x="4555728" y="1486297"/>
                </a:lnTo>
                <a:lnTo>
                  <a:pt x="4556125" y="1514475"/>
                </a:lnTo>
                <a:lnTo>
                  <a:pt x="4556125" y="1541463"/>
                </a:lnTo>
                <a:lnTo>
                  <a:pt x="4556125" y="1572022"/>
                </a:lnTo>
                <a:lnTo>
                  <a:pt x="4555728" y="1602185"/>
                </a:lnTo>
                <a:lnTo>
                  <a:pt x="4554538" y="1631950"/>
                </a:lnTo>
                <a:lnTo>
                  <a:pt x="4552950" y="1662113"/>
                </a:lnTo>
                <a:lnTo>
                  <a:pt x="4551760" y="1692275"/>
                </a:lnTo>
                <a:lnTo>
                  <a:pt x="4549775" y="1722041"/>
                </a:lnTo>
                <a:lnTo>
                  <a:pt x="4546997" y="1751806"/>
                </a:lnTo>
                <a:lnTo>
                  <a:pt x="4544219" y="1781572"/>
                </a:lnTo>
                <a:lnTo>
                  <a:pt x="4541044" y="1810544"/>
                </a:lnTo>
                <a:lnTo>
                  <a:pt x="4537472" y="1840310"/>
                </a:lnTo>
                <a:lnTo>
                  <a:pt x="4533503" y="1869678"/>
                </a:lnTo>
                <a:lnTo>
                  <a:pt x="4529534" y="1898650"/>
                </a:lnTo>
                <a:lnTo>
                  <a:pt x="4524375" y="1927622"/>
                </a:lnTo>
                <a:lnTo>
                  <a:pt x="4520010" y="1956594"/>
                </a:lnTo>
                <a:lnTo>
                  <a:pt x="4514453" y="1985566"/>
                </a:lnTo>
                <a:lnTo>
                  <a:pt x="4508897" y="2014141"/>
                </a:lnTo>
                <a:lnTo>
                  <a:pt x="4502944" y="2042716"/>
                </a:lnTo>
                <a:lnTo>
                  <a:pt x="4496197" y="2070894"/>
                </a:lnTo>
                <a:lnTo>
                  <a:pt x="4489847" y="2099072"/>
                </a:lnTo>
                <a:lnTo>
                  <a:pt x="4482703" y="2127250"/>
                </a:lnTo>
                <a:lnTo>
                  <a:pt x="4475162" y="2155428"/>
                </a:lnTo>
                <a:lnTo>
                  <a:pt x="4467622" y="2183210"/>
                </a:lnTo>
                <a:lnTo>
                  <a:pt x="4459684" y="2210991"/>
                </a:lnTo>
                <a:lnTo>
                  <a:pt x="4450953" y="2238772"/>
                </a:lnTo>
                <a:lnTo>
                  <a:pt x="4442222" y="2266553"/>
                </a:lnTo>
                <a:lnTo>
                  <a:pt x="4433490" y="2293541"/>
                </a:lnTo>
                <a:lnTo>
                  <a:pt x="4423569" y="2320925"/>
                </a:lnTo>
                <a:lnTo>
                  <a:pt x="4414044" y="2347913"/>
                </a:lnTo>
                <a:lnTo>
                  <a:pt x="4404122" y="2374503"/>
                </a:lnTo>
                <a:lnTo>
                  <a:pt x="4393406" y="2401491"/>
                </a:lnTo>
                <a:lnTo>
                  <a:pt x="4383088" y="2428081"/>
                </a:lnTo>
                <a:lnTo>
                  <a:pt x="4371975" y="2454275"/>
                </a:lnTo>
                <a:lnTo>
                  <a:pt x="4360862" y="2480469"/>
                </a:lnTo>
                <a:lnTo>
                  <a:pt x="4349353" y="2506663"/>
                </a:lnTo>
                <a:lnTo>
                  <a:pt x="4337050" y="2532063"/>
                </a:lnTo>
                <a:lnTo>
                  <a:pt x="4325144" y="2557860"/>
                </a:lnTo>
                <a:lnTo>
                  <a:pt x="4312444" y="2583656"/>
                </a:lnTo>
                <a:lnTo>
                  <a:pt x="4299744" y="2608660"/>
                </a:lnTo>
                <a:lnTo>
                  <a:pt x="4286647" y="2634060"/>
                </a:lnTo>
                <a:lnTo>
                  <a:pt x="4273153" y="2659063"/>
                </a:lnTo>
                <a:lnTo>
                  <a:pt x="4259660" y="2683669"/>
                </a:lnTo>
                <a:lnTo>
                  <a:pt x="4245769" y="2708275"/>
                </a:lnTo>
                <a:lnTo>
                  <a:pt x="4231481" y="2733278"/>
                </a:lnTo>
                <a:lnTo>
                  <a:pt x="4216797" y="2757488"/>
                </a:lnTo>
                <a:lnTo>
                  <a:pt x="4202112" y="2781300"/>
                </a:lnTo>
                <a:lnTo>
                  <a:pt x="4187031" y="2805113"/>
                </a:lnTo>
                <a:lnTo>
                  <a:pt x="4171553" y="2828925"/>
                </a:lnTo>
                <a:lnTo>
                  <a:pt x="4156075" y="2852341"/>
                </a:lnTo>
                <a:lnTo>
                  <a:pt x="4139803" y="2875756"/>
                </a:lnTo>
                <a:lnTo>
                  <a:pt x="4123928" y="2898775"/>
                </a:lnTo>
                <a:lnTo>
                  <a:pt x="4107260" y="2921794"/>
                </a:lnTo>
                <a:lnTo>
                  <a:pt x="4090590" y="2944416"/>
                </a:lnTo>
                <a:lnTo>
                  <a:pt x="4073525" y="2966641"/>
                </a:lnTo>
                <a:lnTo>
                  <a:pt x="4056460" y="2988866"/>
                </a:lnTo>
                <a:lnTo>
                  <a:pt x="4038600" y="3011091"/>
                </a:lnTo>
                <a:lnTo>
                  <a:pt x="4021138" y="3033316"/>
                </a:lnTo>
                <a:lnTo>
                  <a:pt x="4002881" y="3054350"/>
                </a:lnTo>
                <a:lnTo>
                  <a:pt x="3985022" y="3076178"/>
                </a:lnTo>
                <a:lnTo>
                  <a:pt x="3966369" y="3097213"/>
                </a:lnTo>
                <a:lnTo>
                  <a:pt x="3947716" y="3117850"/>
                </a:lnTo>
                <a:lnTo>
                  <a:pt x="3928666" y="3138885"/>
                </a:lnTo>
                <a:lnTo>
                  <a:pt x="3908822" y="3159125"/>
                </a:lnTo>
                <a:lnTo>
                  <a:pt x="3889772" y="3179366"/>
                </a:lnTo>
                <a:lnTo>
                  <a:pt x="3869531" y="3199210"/>
                </a:lnTo>
                <a:lnTo>
                  <a:pt x="3850084" y="3219053"/>
                </a:lnTo>
                <a:lnTo>
                  <a:pt x="3829447" y="3238500"/>
                </a:lnTo>
                <a:lnTo>
                  <a:pt x="3809206" y="3258344"/>
                </a:lnTo>
                <a:lnTo>
                  <a:pt x="3788569" y="3276997"/>
                </a:lnTo>
                <a:lnTo>
                  <a:pt x="3767534" y="3296047"/>
                </a:lnTo>
                <a:lnTo>
                  <a:pt x="3746103" y="3314700"/>
                </a:lnTo>
                <a:lnTo>
                  <a:pt x="3725069" y="3332956"/>
                </a:lnTo>
                <a:lnTo>
                  <a:pt x="3703638" y="3350816"/>
                </a:lnTo>
                <a:lnTo>
                  <a:pt x="3681412" y="3368675"/>
                </a:lnTo>
                <a:lnTo>
                  <a:pt x="3659584" y="3386138"/>
                </a:lnTo>
                <a:lnTo>
                  <a:pt x="3636962" y="3403203"/>
                </a:lnTo>
                <a:lnTo>
                  <a:pt x="3614738" y="3420269"/>
                </a:lnTo>
                <a:lnTo>
                  <a:pt x="3592116" y="3436938"/>
                </a:lnTo>
                <a:lnTo>
                  <a:pt x="3569097" y="3453606"/>
                </a:lnTo>
                <a:lnTo>
                  <a:pt x="3546078" y="3469878"/>
                </a:lnTo>
                <a:lnTo>
                  <a:pt x="3522662" y="3485753"/>
                </a:lnTo>
                <a:lnTo>
                  <a:pt x="3499644" y="3501628"/>
                </a:lnTo>
                <a:lnTo>
                  <a:pt x="3475831" y="3517106"/>
                </a:lnTo>
                <a:lnTo>
                  <a:pt x="3452019" y="3532188"/>
                </a:lnTo>
                <a:lnTo>
                  <a:pt x="3427810" y="3546872"/>
                </a:lnTo>
                <a:lnTo>
                  <a:pt x="3403600" y="3561556"/>
                </a:lnTo>
                <a:lnTo>
                  <a:pt x="3379390" y="3575447"/>
                </a:lnTo>
                <a:lnTo>
                  <a:pt x="3354784" y="3589735"/>
                </a:lnTo>
                <a:lnTo>
                  <a:pt x="3329384" y="3603228"/>
                </a:lnTo>
                <a:lnTo>
                  <a:pt x="3304778" y="3616722"/>
                </a:lnTo>
                <a:lnTo>
                  <a:pt x="3279775" y="3629819"/>
                </a:lnTo>
                <a:lnTo>
                  <a:pt x="3253978" y="3642519"/>
                </a:lnTo>
                <a:lnTo>
                  <a:pt x="3228975" y="3655219"/>
                </a:lnTo>
                <a:lnTo>
                  <a:pt x="3202781" y="3667125"/>
                </a:lnTo>
                <a:lnTo>
                  <a:pt x="3176984" y="3679428"/>
                </a:lnTo>
                <a:lnTo>
                  <a:pt x="3150790" y="3690938"/>
                </a:lnTo>
                <a:lnTo>
                  <a:pt x="3124597" y="3702050"/>
                </a:lnTo>
                <a:lnTo>
                  <a:pt x="3098403" y="3713163"/>
                </a:lnTo>
                <a:lnTo>
                  <a:pt x="3071812" y="3723481"/>
                </a:lnTo>
                <a:lnTo>
                  <a:pt x="3045222" y="3734197"/>
                </a:lnTo>
                <a:lnTo>
                  <a:pt x="3018631" y="3744119"/>
                </a:lnTo>
                <a:lnTo>
                  <a:pt x="2991247" y="3753644"/>
                </a:lnTo>
                <a:lnTo>
                  <a:pt x="2964260" y="3763169"/>
                </a:lnTo>
                <a:lnTo>
                  <a:pt x="2936875" y="3771900"/>
                </a:lnTo>
                <a:lnTo>
                  <a:pt x="2909094" y="3781028"/>
                </a:lnTo>
                <a:lnTo>
                  <a:pt x="2882106" y="3789363"/>
                </a:lnTo>
                <a:lnTo>
                  <a:pt x="2853928" y="3797697"/>
                </a:lnTo>
                <a:lnTo>
                  <a:pt x="2826147" y="3805238"/>
                </a:lnTo>
                <a:lnTo>
                  <a:pt x="2797969" y="3812778"/>
                </a:lnTo>
                <a:lnTo>
                  <a:pt x="2770188" y="3819922"/>
                </a:lnTo>
                <a:lnTo>
                  <a:pt x="2741612" y="3826272"/>
                </a:lnTo>
                <a:lnTo>
                  <a:pt x="2713434" y="3833019"/>
                </a:lnTo>
                <a:lnTo>
                  <a:pt x="2684860" y="3838972"/>
                </a:lnTo>
                <a:lnTo>
                  <a:pt x="2655888" y="3844528"/>
                </a:lnTo>
                <a:lnTo>
                  <a:pt x="2627312" y="3849291"/>
                </a:lnTo>
                <a:lnTo>
                  <a:pt x="2598738" y="3854450"/>
                </a:lnTo>
                <a:lnTo>
                  <a:pt x="2569369" y="3859610"/>
                </a:lnTo>
                <a:lnTo>
                  <a:pt x="2540397" y="3863578"/>
                </a:lnTo>
                <a:lnTo>
                  <a:pt x="2511028" y="3867547"/>
                </a:lnTo>
                <a:lnTo>
                  <a:pt x="2481262" y="3871119"/>
                </a:lnTo>
                <a:lnTo>
                  <a:pt x="2452290" y="3874294"/>
                </a:lnTo>
                <a:lnTo>
                  <a:pt x="2422525" y="3877072"/>
                </a:lnTo>
                <a:lnTo>
                  <a:pt x="2392760" y="3879850"/>
                </a:lnTo>
                <a:lnTo>
                  <a:pt x="2362994" y="3881835"/>
                </a:lnTo>
                <a:lnTo>
                  <a:pt x="2332831" y="3883025"/>
                </a:lnTo>
                <a:lnTo>
                  <a:pt x="2303066" y="3884613"/>
                </a:lnTo>
                <a:lnTo>
                  <a:pt x="2272903" y="3885803"/>
                </a:lnTo>
                <a:lnTo>
                  <a:pt x="2242740" y="3886200"/>
                </a:lnTo>
                <a:lnTo>
                  <a:pt x="2212578" y="3886200"/>
                </a:lnTo>
                <a:lnTo>
                  <a:pt x="2169716" y="3885803"/>
                </a:lnTo>
                <a:lnTo>
                  <a:pt x="2127647" y="3884613"/>
                </a:lnTo>
                <a:lnTo>
                  <a:pt x="2085975" y="3883025"/>
                </a:lnTo>
                <a:lnTo>
                  <a:pt x="2043906" y="3880247"/>
                </a:lnTo>
                <a:lnTo>
                  <a:pt x="2002234" y="3877072"/>
                </a:lnTo>
                <a:lnTo>
                  <a:pt x="1960960" y="3873103"/>
                </a:lnTo>
                <a:lnTo>
                  <a:pt x="1919685" y="3867944"/>
                </a:lnTo>
                <a:lnTo>
                  <a:pt x="1878410" y="3862388"/>
                </a:lnTo>
                <a:lnTo>
                  <a:pt x="1837531" y="3856435"/>
                </a:lnTo>
                <a:lnTo>
                  <a:pt x="1797050" y="3849291"/>
                </a:lnTo>
                <a:lnTo>
                  <a:pt x="1756569" y="3841750"/>
                </a:lnTo>
                <a:lnTo>
                  <a:pt x="1716881" y="3833813"/>
                </a:lnTo>
                <a:lnTo>
                  <a:pt x="1677194" y="3824685"/>
                </a:lnTo>
                <a:lnTo>
                  <a:pt x="1637506" y="3815160"/>
                </a:lnTo>
                <a:lnTo>
                  <a:pt x="1598216" y="3804444"/>
                </a:lnTo>
                <a:lnTo>
                  <a:pt x="1558925" y="3794125"/>
                </a:lnTo>
                <a:lnTo>
                  <a:pt x="1520031" y="3782616"/>
                </a:lnTo>
                <a:lnTo>
                  <a:pt x="1481931" y="3769916"/>
                </a:lnTo>
                <a:lnTo>
                  <a:pt x="1443435" y="3757216"/>
                </a:lnTo>
                <a:lnTo>
                  <a:pt x="1405731" y="3743722"/>
                </a:lnTo>
                <a:lnTo>
                  <a:pt x="1368028" y="3729435"/>
                </a:lnTo>
                <a:lnTo>
                  <a:pt x="1330722" y="3714353"/>
                </a:lnTo>
                <a:lnTo>
                  <a:pt x="1294210" y="3699272"/>
                </a:lnTo>
                <a:lnTo>
                  <a:pt x="1257300" y="3683397"/>
                </a:lnTo>
                <a:lnTo>
                  <a:pt x="1221185" y="3666728"/>
                </a:lnTo>
                <a:lnTo>
                  <a:pt x="1184672" y="3649663"/>
                </a:lnTo>
                <a:lnTo>
                  <a:pt x="1148953" y="3631803"/>
                </a:lnTo>
                <a:lnTo>
                  <a:pt x="1114028" y="3613150"/>
                </a:lnTo>
                <a:lnTo>
                  <a:pt x="1079103" y="3594100"/>
                </a:lnTo>
                <a:lnTo>
                  <a:pt x="1044575" y="3575050"/>
                </a:lnTo>
                <a:lnTo>
                  <a:pt x="1010047" y="3554810"/>
                </a:lnTo>
                <a:lnTo>
                  <a:pt x="976313" y="3534172"/>
                </a:lnTo>
                <a:lnTo>
                  <a:pt x="943372" y="3513138"/>
                </a:lnTo>
                <a:lnTo>
                  <a:pt x="910035" y="3490913"/>
                </a:lnTo>
                <a:lnTo>
                  <a:pt x="877491" y="3468688"/>
                </a:lnTo>
                <a:lnTo>
                  <a:pt x="844947" y="3446066"/>
                </a:lnTo>
                <a:lnTo>
                  <a:pt x="813197" y="3422650"/>
                </a:lnTo>
                <a:lnTo>
                  <a:pt x="781844" y="3398838"/>
                </a:lnTo>
                <a:lnTo>
                  <a:pt x="750888" y="3374231"/>
                </a:lnTo>
                <a:lnTo>
                  <a:pt x="720328" y="3349625"/>
                </a:lnTo>
                <a:lnTo>
                  <a:pt x="690166" y="3324225"/>
                </a:lnTo>
                <a:lnTo>
                  <a:pt x="660400" y="3298031"/>
                </a:lnTo>
                <a:lnTo>
                  <a:pt x="630635" y="3271838"/>
                </a:lnTo>
                <a:lnTo>
                  <a:pt x="602060" y="3244850"/>
                </a:lnTo>
                <a:lnTo>
                  <a:pt x="573881" y="3217466"/>
                </a:lnTo>
                <a:lnTo>
                  <a:pt x="545703" y="3189685"/>
                </a:lnTo>
                <a:lnTo>
                  <a:pt x="518319" y="3161506"/>
                </a:lnTo>
                <a:lnTo>
                  <a:pt x="491331" y="3132931"/>
                </a:lnTo>
                <a:lnTo>
                  <a:pt x="464741" y="3103563"/>
                </a:lnTo>
                <a:lnTo>
                  <a:pt x="438944" y="3074194"/>
                </a:lnTo>
                <a:lnTo>
                  <a:pt x="413147" y="3043635"/>
                </a:lnTo>
                <a:lnTo>
                  <a:pt x="388144" y="3013472"/>
                </a:lnTo>
                <a:lnTo>
                  <a:pt x="363538" y="2982516"/>
                </a:lnTo>
                <a:lnTo>
                  <a:pt x="339725" y="2951163"/>
                </a:lnTo>
                <a:lnTo>
                  <a:pt x="315913" y="2919413"/>
                </a:lnTo>
                <a:lnTo>
                  <a:pt x="292894" y="2887266"/>
                </a:lnTo>
                <a:lnTo>
                  <a:pt x="270669" y="2854325"/>
                </a:lnTo>
                <a:lnTo>
                  <a:pt x="248841" y="2821781"/>
                </a:lnTo>
                <a:lnTo>
                  <a:pt x="227410" y="2788444"/>
                </a:lnTo>
                <a:lnTo>
                  <a:pt x="206375" y="2754710"/>
                </a:lnTo>
                <a:lnTo>
                  <a:pt x="186135" y="2720578"/>
                </a:lnTo>
                <a:lnTo>
                  <a:pt x="166688" y="2685653"/>
                </a:lnTo>
                <a:lnTo>
                  <a:pt x="147638" y="2651125"/>
                </a:lnTo>
                <a:lnTo>
                  <a:pt x="128985" y="2615803"/>
                </a:lnTo>
                <a:lnTo>
                  <a:pt x="114697" y="2589213"/>
                </a:lnTo>
                <a:lnTo>
                  <a:pt x="101600" y="2561828"/>
                </a:lnTo>
                <a:lnTo>
                  <a:pt x="89694" y="2534841"/>
                </a:lnTo>
                <a:lnTo>
                  <a:pt x="78185" y="2507060"/>
                </a:lnTo>
                <a:lnTo>
                  <a:pt x="67072" y="2479278"/>
                </a:lnTo>
                <a:lnTo>
                  <a:pt x="57547" y="2451100"/>
                </a:lnTo>
                <a:lnTo>
                  <a:pt x="47625" y="2422922"/>
                </a:lnTo>
                <a:lnTo>
                  <a:pt x="39688" y="2394347"/>
                </a:lnTo>
                <a:lnTo>
                  <a:pt x="32147" y="2365375"/>
                </a:lnTo>
                <a:lnTo>
                  <a:pt x="25797" y="2336800"/>
                </a:lnTo>
                <a:lnTo>
                  <a:pt x="19447" y="2308225"/>
                </a:lnTo>
                <a:lnTo>
                  <a:pt x="14685" y="2278856"/>
                </a:lnTo>
                <a:lnTo>
                  <a:pt x="9922" y="2250281"/>
                </a:lnTo>
                <a:lnTo>
                  <a:pt x="6350" y="2220913"/>
                </a:lnTo>
                <a:lnTo>
                  <a:pt x="3572" y="2191941"/>
                </a:lnTo>
                <a:lnTo>
                  <a:pt x="1588" y="2162175"/>
                </a:lnTo>
                <a:lnTo>
                  <a:pt x="397" y="2132806"/>
                </a:lnTo>
                <a:lnTo>
                  <a:pt x="0" y="2103835"/>
                </a:lnTo>
                <a:lnTo>
                  <a:pt x="0" y="2074466"/>
                </a:lnTo>
                <a:lnTo>
                  <a:pt x="1588" y="2044700"/>
                </a:lnTo>
                <a:lnTo>
                  <a:pt x="3175" y="2015728"/>
                </a:lnTo>
                <a:lnTo>
                  <a:pt x="5556" y="1986360"/>
                </a:lnTo>
                <a:lnTo>
                  <a:pt x="9128" y="1957388"/>
                </a:lnTo>
                <a:lnTo>
                  <a:pt x="13097" y="1928019"/>
                </a:lnTo>
                <a:lnTo>
                  <a:pt x="18256" y="1898650"/>
                </a:lnTo>
                <a:lnTo>
                  <a:pt x="23813" y="1870075"/>
                </a:lnTo>
                <a:lnTo>
                  <a:pt x="29766" y="1841500"/>
                </a:lnTo>
                <a:lnTo>
                  <a:pt x="36910" y="1812528"/>
                </a:lnTo>
                <a:lnTo>
                  <a:pt x="44847" y="1783953"/>
                </a:lnTo>
                <a:lnTo>
                  <a:pt x="53181" y="1755775"/>
                </a:lnTo>
                <a:lnTo>
                  <a:pt x="62310" y="1727597"/>
                </a:lnTo>
                <a:lnTo>
                  <a:pt x="72628" y="1699419"/>
                </a:lnTo>
                <a:lnTo>
                  <a:pt x="83741" y="1671638"/>
                </a:lnTo>
                <a:lnTo>
                  <a:pt x="94456" y="1644650"/>
                </a:lnTo>
                <a:lnTo>
                  <a:pt x="106760" y="1617266"/>
                </a:lnTo>
                <a:lnTo>
                  <a:pt x="119856" y="1590278"/>
                </a:lnTo>
                <a:lnTo>
                  <a:pt x="133350" y="1563291"/>
                </a:lnTo>
                <a:lnTo>
                  <a:pt x="148035" y="1537097"/>
                </a:lnTo>
                <a:lnTo>
                  <a:pt x="162719" y="1510903"/>
                </a:lnTo>
                <a:lnTo>
                  <a:pt x="178594" y="1485503"/>
                </a:lnTo>
                <a:lnTo>
                  <a:pt x="194866" y="1460103"/>
                </a:lnTo>
                <a:lnTo>
                  <a:pt x="211931" y="1435100"/>
                </a:lnTo>
                <a:lnTo>
                  <a:pt x="230188" y="1410494"/>
                </a:lnTo>
                <a:lnTo>
                  <a:pt x="248047" y="1386285"/>
                </a:lnTo>
                <a:lnTo>
                  <a:pt x="267891" y="1362472"/>
                </a:lnTo>
                <a:lnTo>
                  <a:pt x="287338" y="1339056"/>
                </a:lnTo>
                <a:lnTo>
                  <a:pt x="307975" y="1316038"/>
                </a:lnTo>
                <a:lnTo>
                  <a:pt x="329010" y="1293416"/>
                </a:lnTo>
                <a:lnTo>
                  <a:pt x="351235" y="1271588"/>
                </a:lnTo>
                <a:lnTo>
                  <a:pt x="373856" y="1249760"/>
                </a:lnTo>
                <a:lnTo>
                  <a:pt x="397272" y="1229122"/>
                </a:lnTo>
                <a:lnTo>
                  <a:pt x="421481" y="1208485"/>
                </a:lnTo>
                <a:lnTo>
                  <a:pt x="445294" y="1188641"/>
                </a:lnTo>
                <a:lnTo>
                  <a:pt x="471091" y="1169194"/>
                </a:lnTo>
                <a:lnTo>
                  <a:pt x="496888" y="1150541"/>
                </a:lnTo>
                <a:lnTo>
                  <a:pt x="523478" y="1132285"/>
                </a:lnTo>
                <a:lnTo>
                  <a:pt x="550466" y="1114822"/>
                </a:lnTo>
                <a:lnTo>
                  <a:pt x="578644" y="1097756"/>
                </a:lnTo>
                <a:lnTo>
                  <a:pt x="606822" y="1081088"/>
                </a:lnTo>
                <a:lnTo>
                  <a:pt x="636191" y="1065610"/>
                </a:lnTo>
                <a:lnTo>
                  <a:pt x="666353" y="1050528"/>
                </a:lnTo>
                <a:lnTo>
                  <a:pt x="696516" y="1036241"/>
                </a:lnTo>
                <a:lnTo>
                  <a:pt x="727869" y="1022747"/>
                </a:lnTo>
                <a:lnTo>
                  <a:pt x="759619" y="1009650"/>
                </a:lnTo>
                <a:lnTo>
                  <a:pt x="3618310" y="26591"/>
                </a:lnTo>
                <a:lnTo>
                  <a:pt x="3633390" y="22225"/>
                </a:lnTo>
                <a:lnTo>
                  <a:pt x="3648472" y="17463"/>
                </a:lnTo>
                <a:lnTo>
                  <a:pt x="3663553" y="13494"/>
                </a:lnTo>
                <a:lnTo>
                  <a:pt x="3678634" y="10716"/>
                </a:lnTo>
                <a:lnTo>
                  <a:pt x="3693319" y="7541"/>
                </a:lnTo>
                <a:lnTo>
                  <a:pt x="3708003" y="5159"/>
                </a:lnTo>
                <a:lnTo>
                  <a:pt x="3722290" y="3175"/>
                </a:lnTo>
                <a:lnTo>
                  <a:pt x="3736578" y="1588"/>
                </a:lnTo>
                <a:lnTo>
                  <a:pt x="3750866" y="397"/>
                </a:lnTo>
                <a:close/>
              </a:path>
            </a:pathLst>
          </a:custGeom>
          <a:solidFill>
            <a:schemeClr val="bg1">
              <a:lumMod val="85000"/>
            </a:schemeClr>
          </a:solidFill>
        </p:spPr>
        <p:txBody>
          <a:bodyPr wrap="square" anchor="ctr">
            <a:noAutofit/>
          </a:bodyPr>
          <a:lstStyle>
            <a:lvl1pPr marL="0" indent="0" algn="ctr">
              <a:buNone/>
              <a:defRPr/>
            </a:lvl1pPr>
          </a:lstStyle>
          <a:p>
            <a:r>
              <a:rPr lang="en-GB"/>
              <a:t>Insert your photo</a:t>
            </a:r>
          </a:p>
        </p:txBody>
      </p:sp>
    </p:spTree>
    <p:extLst>
      <p:ext uri="{BB962C8B-B14F-4D97-AF65-F5344CB8AC3E}">
        <p14:creationId xmlns:p14="http://schemas.microsoft.com/office/powerpoint/2010/main" val="31366842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hape 2">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3987186"/>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292608" y="779416"/>
            <a:ext cx="11228613" cy="420734"/>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8" name="Marcador de posición de imagen 28"/>
          <p:cNvSpPr>
            <a:spLocks noGrp="1"/>
          </p:cNvSpPr>
          <p:nvPr>
            <p:ph type="pic" sz="quarter" idx="16" hasCustomPrompt="1"/>
          </p:nvPr>
        </p:nvSpPr>
        <p:spPr>
          <a:xfrm>
            <a:off x="6632254" y="1903298"/>
            <a:ext cx="4479647" cy="3982295"/>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85000"/>
            </a:schemeClr>
          </a:solidFill>
        </p:spPr>
        <p:txBody>
          <a:bodyPr wrap="square" anchor="ctr">
            <a:noAutofit/>
          </a:bodyPr>
          <a:lstStyle>
            <a:lvl1pPr marL="0" indent="0" algn="ctr">
              <a:buNone/>
              <a:defRPr/>
            </a:lvl1pPr>
          </a:lstStyle>
          <a:p>
            <a:r>
              <a:rPr lang="en-GB" noProof="0"/>
              <a:t>     </a:t>
            </a:r>
            <a:br>
              <a:rPr lang="en-GB" noProof="0"/>
            </a:br>
            <a:br>
              <a:rPr lang="en-GB" noProof="0"/>
            </a:br>
            <a:r>
              <a:rPr lang="en-GB" noProof="0"/>
              <a:t> Insert your picture here</a:t>
            </a:r>
          </a:p>
        </p:txBody>
      </p:sp>
    </p:spTree>
    <p:extLst>
      <p:ext uri="{BB962C8B-B14F-4D97-AF65-F5344CB8AC3E}">
        <p14:creationId xmlns:p14="http://schemas.microsoft.com/office/powerpoint/2010/main" val="28744887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II">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95" name="Title 1"/>
          <p:cNvSpPr>
            <a:spLocks noGrp="1"/>
          </p:cNvSpPr>
          <p:nvPr>
            <p:ph type="title" hasCustomPrompt="1"/>
          </p:nvPr>
        </p:nvSpPr>
        <p:spPr>
          <a:xfrm>
            <a:off x="5826573" y="3285709"/>
            <a:ext cx="5956600" cy="1325563"/>
          </a:xfrm>
        </p:spPr>
        <p:txBody>
          <a:bodyPr anchor="b"/>
          <a:lstStyle>
            <a:lvl1pPr>
              <a:lnSpc>
                <a:spcPct val="100000"/>
              </a:lnSpc>
              <a:defRPr baseline="0">
                <a:solidFill>
                  <a:schemeClr val="tx2"/>
                </a:solidFill>
                <a:latin typeface="+mj-lt"/>
              </a:defRPr>
            </a:lvl1pPr>
          </a:lstStyle>
          <a:p>
            <a:r>
              <a:rPr lang="en-GB" noProof="0" dirty="0"/>
              <a:t>Add your divider title here</a:t>
            </a:r>
          </a:p>
        </p:txBody>
      </p:sp>
      <p:sp>
        <p:nvSpPr>
          <p:cNvPr id="96" name="Text Placeholder 19"/>
          <p:cNvSpPr>
            <a:spLocks noGrp="1"/>
          </p:cNvSpPr>
          <p:nvPr>
            <p:ph type="body" sz="quarter" idx="13" hasCustomPrompt="1"/>
          </p:nvPr>
        </p:nvSpPr>
        <p:spPr>
          <a:xfrm>
            <a:off x="5826366" y="4729493"/>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
        <p:nvSpPr>
          <p:cNvPr id="11" name="Marcador de posición de imagen 17"/>
          <p:cNvSpPr>
            <a:spLocks noGrp="1"/>
          </p:cNvSpPr>
          <p:nvPr>
            <p:ph type="pic" sz="quarter" idx="16" hasCustomPrompt="1"/>
          </p:nvPr>
        </p:nvSpPr>
        <p:spPr>
          <a:xfrm flipH="1">
            <a:off x="-6348"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pic>
        <p:nvPicPr>
          <p:cNvPr id="21" name="Imagen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16" name="Freeform 5"/>
          <p:cNvSpPr>
            <a:spLocks noEditPoints="1"/>
          </p:cNvSpPr>
          <p:nvPr userDrawn="1"/>
        </p:nvSpPr>
        <p:spPr bwMode="auto">
          <a:xfrm>
            <a:off x="10985917" y="6483102"/>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spTree>
    <p:extLst>
      <p:ext uri="{BB962C8B-B14F-4D97-AF65-F5344CB8AC3E}">
        <p14:creationId xmlns:p14="http://schemas.microsoft.com/office/powerpoint/2010/main" val="634227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hape 3">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a:t>Bullet level 1</a:t>
            </a:r>
          </a:p>
          <a:p>
            <a:pPr lvl="1"/>
            <a:r>
              <a:rPr lang="en-GB" noProof="0"/>
              <a:t>Bullet level 2</a:t>
            </a:r>
          </a:p>
          <a:p>
            <a:pPr lvl="2"/>
            <a:r>
              <a:rPr lang="en-GB" noProof="0"/>
              <a:t>Bullet level 3	</a:t>
            </a:r>
          </a:p>
          <a:p>
            <a:pPr lvl="3"/>
            <a:r>
              <a:rPr lang="en-GB" noProof="0"/>
              <a:t>Bullet level 4</a:t>
            </a:r>
          </a:p>
          <a:p>
            <a:pPr lvl="4"/>
            <a:r>
              <a:rPr lang="en-GB" noProof="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3200">
                <a:solidFill>
                  <a:schemeClr val="tx2"/>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292608" y="779416"/>
            <a:ext cx="11228613" cy="404633"/>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2" name="Picture Placeholder 11"/>
          <p:cNvSpPr>
            <a:spLocks noGrp="1"/>
          </p:cNvSpPr>
          <p:nvPr>
            <p:ph type="pic" sz="quarter" idx="19" hasCustomPrompt="1"/>
          </p:nvPr>
        </p:nvSpPr>
        <p:spPr>
          <a:xfrm>
            <a:off x="6722269" y="1939925"/>
            <a:ext cx="4443412" cy="3992562"/>
          </a:xfrm>
          <a:custGeom>
            <a:avLst/>
            <a:gdLst>
              <a:gd name="connsiteX0" fmla="*/ 3649988 w 4443412"/>
              <a:gd name="connsiteY0" fmla="*/ 0 h 3992562"/>
              <a:gd name="connsiteX1" fmla="*/ 3667849 w 4443412"/>
              <a:gd name="connsiteY1" fmla="*/ 0 h 3992562"/>
              <a:gd name="connsiteX2" fmla="*/ 3685710 w 4443412"/>
              <a:gd name="connsiteY2" fmla="*/ 397 h 3992562"/>
              <a:gd name="connsiteX3" fmla="*/ 3703174 w 4443412"/>
              <a:gd name="connsiteY3" fmla="*/ 1588 h 3992562"/>
              <a:gd name="connsiteX4" fmla="*/ 3720638 w 4443412"/>
              <a:gd name="connsiteY4" fmla="*/ 2381 h 3992562"/>
              <a:gd name="connsiteX5" fmla="*/ 3737705 w 4443412"/>
              <a:gd name="connsiteY5" fmla="*/ 4366 h 3992562"/>
              <a:gd name="connsiteX6" fmla="*/ 3755169 w 4443412"/>
              <a:gd name="connsiteY6" fmla="*/ 7144 h 3992562"/>
              <a:gd name="connsiteX7" fmla="*/ 3771839 w 4443412"/>
              <a:gd name="connsiteY7" fmla="*/ 9525 h 3992562"/>
              <a:gd name="connsiteX8" fmla="*/ 3788510 w 4443412"/>
              <a:gd name="connsiteY8" fmla="*/ 12303 h 3992562"/>
              <a:gd name="connsiteX9" fmla="*/ 3805180 w 4443412"/>
              <a:gd name="connsiteY9" fmla="*/ 16669 h 3992562"/>
              <a:gd name="connsiteX10" fmla="*/ 3821057 w 4443412"/>
              <a:gd name="connsiteY10" fmla="*/ 20638 h 3992562"/>
              <a:gd name="connsiteX11" fmla="*/ 3836933 w 4443412"/>
              <a:gd name="connsiteY11" fmla="*/ 25003 h 3992562"/>
              <a:gd name="connsiteX12" fmla="*/ 3853206 w 4443412"/>
              <a:gd name="connsiteY12" fmla="*/ 29369 h 3992562"/>
              <a:gd name="connsiteX13" fmla="*/ 3869083 w 4443412"/>
              <a:gd name="connsiteY13" fmla="*/ 34925 h 3992562"/>
              <a:gd name="connsiteX14" fmla="*/ 3884165 w 4443412"/>
              <a:gd name="connsiteY14" fmla="*/ 40481 h 3992562"/>
              <a:gd name="connsiteX15" fmla="*/ 3899645 w 4443412"/>
              <a:gd name="connsiteY15" fmla="*/ 46434 h 3992562"/>
              <a:gd name="connsiteX16" fmla="*/ 3914331 w 4443412"/>
              <a:gd name="connsiteY16" fmla="*/ 52784 h 3992562"/>
              <a:gd name="connsiteX17" fmla="*/ 3929016 w 4443412"/>
              <a:gd name="connsiteY17" fmla="*/ 59928 h 3992562"/>
              <a:gd name="connsiteX18" fmla="*/ 3943305 w 4443412"/>
              <a:gd name="connsiteY18" fmla="*/ 67072 h 3992562"/>
              <a:gd name="connsiteX19" fmla="*/ 3957991 w 4443412"/>
              <a:gd name="connsiteY19" fmla="*/ 74613 h 3992562"/>
              <a:gd name="connsiteX20" fmla="*/ 3971883 w 4443412"/>
              <a:gd name="connsiteY20" fmla="*/ 82550 h 3992562"/>
              <a:gd name="connsiteX21" fmla="*/ 3985774 w 4443412"/>
              <a:gd name="connsiteY21" fmla="*/ 90885 h 3992562"/>
              <a:gd name="connsiteX22" fmla="*/ 3999269 w 4443412"/>
              <a:gd name="connsiteY22" fmla="*/ 100013 h 3992562"/>
              <a:gd name="connsiteX23" fmla="*/ 4012764 w 4443412"/>
              <a:gd name="connsiteY23" fmla="*/ 108744 h 3992562"/>
              <a:gd name="connsiteX24" fmla="*/ 4025862 w 4443412"/>
              <a:gd name="connsiteY24" fmla="*/ 118269 h 3992562"/>
              <a:gd name="connsiteX25" fmla="*/ 4038167 w 4443412"/>
              <a:gd name="connsiteY25" fmla="*/ 127794 h 3992562"/>
              <a:gd name="connsiteX26" fmla="*/ 4050867 w 4443412"/>
              <a:gd name="connsiteY26" fmla="*/ 137716 h 3992562"/>
              <a:gd name="connsiteX27" fmla="*/ 4063172 w 4443412"/>
              <a:gd name="connsiteY27" fmla="*/ 148431 h 3992562"/>
              <a:gd name="connsiteX28" fmla="*/ 4075476 w 4443412"/>
              <a:gd name="connsiteY28" fmla="*/ 159147 h 3992562"/>
              <a:gd name="connsiteX29" fmla="*/ 4087383 w 4443412"/>
              <a:gd name="connsiteY29" fmla="*/ 170259 h 3992562"/>
              <a:gd name="connsiteX30" fmla="*/ 4098894 w 4443412"/>
              <a:gd name="connsiteY30" fmla="*/ 181769 h 3992562"/>
              <a:gd name="connsiteX31" fmla="*/ 4109610 w 4443412"/>
              <a:gd name="connsiteY31" fmla="*/ 193278 h 3992562"/>
              <a:gd name="connsiteX32" fmla="*/ 4120724 w 4443412"/>
              <a:gd name="connsiteY32" fmla="*/ 205184 h 3992562"/>
              <a:gd name="connsiteX33" fmla="*/ 4131043 w 4443412"/>
              <a:gd name="connsiteY33" fmla="*/ 217884 h 3992562"/>
              <a:gd name="connsiteX34" fmla="*/ 4141760 w 4443412"/>
              <a:gd name="connsiteY34" fmla="*/ 230188 h 3992562"/>
              <a:gd name="connsiteX35" fmla="*/ 4151683 w 4443412"/>
              <a:gd name="connsiteY35" fmla="*/ 243284 h 3992562"/>
              <a:gd name="connsiteX36" fmla="*/ 4161605 w 4443412"/>
              <a:gd name="connsiteY36" fmla="*/ 256381 h 3992562"/>
              <a:gd name="connsiteX37" fmla="*/ 4171131 w 4443412"/>
              <a:gd name="connsiteY37" fmla="*/ 269875 h 3992562"/>
              <a:gd name="connsiteX38" fmla="*/ 4180261 w 4443412"/>
              <a:gd name="connsiteY38" fmla="*/ 283766 h 3992562"/>
              <a:gd name="connsiteX39" fmla="*/ 4188993 w 4443412"/>
              <a:gd name="connsiteY39" fmla="*/ 297656 h 3992562"/>
              <a:gd name="connsiteX40" fmla="*/ 4197725 w 4443412"/>
              <a:gd name="connsiteY40" fmla="*/ 312341 h 3992562"/>
              <a:gd name="connsiteX41" fmla="*/ 4206059 w 4443412"/>
              <a:gd name="connsiteY41" fmla="*/ 326628 h 3992562"/>
              <a:gd name="connsiteX42" fmla="*/ 4213998 w 4443412"/>
              <a:gd name="connsiteY42" fmla="*/ 341313 h 3992562"/>
              <a:gd name="connsiteX43" fmla="*/ 4221539 w 4443412"/>
              <a:gd name="connsiteY43" fmla="*/ 355997 h 3992562"/>
              <a:gd name="connsiteX44" fmla="*/ 4229081 w 4443412"/>
              <a:gd name="connsiteY44" fmla="*/ 371475 h 3992562"/>
              <a:gd name="connsiteX45" fmla="*/ 4236225 w 4443412"/>
              <a:gd name="connsiteY45" fmla="*/ 386953 h 3992562"/>
              <a:gd name="connsiteX46" fmla="*/ 4242575 w 4443412"/>
              <a:gd name="connsiteY46" fmla="*/ 403225 h 3992562"/>
              <a:gd name="connsiteX47" fmla="*/ 4248926 w 4443412"/>
              <a:gd name="connsiteY47" fmla="*/ 419100 h 3992562"/>
              <a:gd name="connsiteX48" fmla="*/ 4254879 w 4443412"/>
              <a:gd name="connsiteY48" fmla="*/ 434975 h 3992562"/>
              <a:gd name="connsiteX49" fmla="*/ 4260437 w 4443412"/>
              <a:gd name="connsiteY49" fmla="*/ 451644 h 3992562"/>
              <a:gd name="connsiteX50" fmla="*/ 4265993 w 4443412"/>
              <a:gd name="connsiteY50" fmla="*/ 468709 h 3992562"/>
              <a:gd name="connsiteX51" fmla="*/ 4271153 w 4443412"/>
              <a:gd name="connsiteY51" fmla="*/ 484981 h 3992562"/>
              <a:gd name="connsiteX52" fmla="*/ 4275916 w 4443412"/>
              <a:gd name="connsiteY52" fmla="*/ 502444 h 3992562"/>
              <a:gd name="connsiteX53" fmla="*/ 4279885 w 4443412"/>
              <a:gd name="connsiteY53" fmla="*/ 519509 h 3992562"/>
              <a:gd name="connsiteX54" fmla="*/ 4283854 w 4443412"/>
              <a:gd name="connsiteY54" fmla="*/ 536972 h 3992562"/>
              <a:gd name="connsiteX55" fmla="*/ 4287823 w 4443412"/>
              <a:gd name="connsiteY55" fmla="*/ 554434 h 3992562"/>
              <a:gd name="connsiteX56" fmla="*/ 4290999 w 4443412"/>
              <a:gd name="connsiteY56" fmla="*/ 572294 h 3992562"/>
              <a:gd name="connsiteX57" fmla="*/ 4294173 w 4443412"/>
              <a:gd name="connsiteY57" fmla="*/ 590550 h 3992562"/>
              <a:gd name="connsiteX58" fmla="*/ 4296555 w 4443412"/>
              <a:gd name="connsiteY58" fmla="*/ 608806 h 3992562"/>
              <a:gd name="connsiteX59" fmla="*/ 4298539 w 4443412"/>
              <a:gd name="connsiteY59" fmla="*/ 627063 h 3992562"/>
              <a:gd name="connsiteX60" fmla="*/ 4300525 w 4443412"/>
              <a:gd name="connsiteY60" fmla="*/ 645319 h 3992562"/>
              <a:gd name="connsiteX61" fmla="*/ 4439840 w 4443412"/>
              <a:gd name="connsiteY61" fmla="*/ 2872581 h 3992562"/>
              <a:gd name="connsiteX62" fmla="*/ 4441825 w 4443412"/>
              <a:gd name="connsiteY62" fmla="*/ 2916634 h 3992562"/>
              <a:gd name="connsiteX63" fmla="*/ 4442618 w 4443412"/>
              <a:gd name="connsiteY63" fmla="*/ 2959100 h 3992562"/>
              <a:gd name="connsiteX64" fmla="*/ 4443412 w 4443412"/>
              <a:gd name="connsiteY64" fmla="*/ 3000375 h 3992562"/>
              <a:gd name="connsiteX65" fmla="*/ 4443412 w 4443412"/>
              <a:gd name="connsiteY65" fmla="*/ 3041650 h 3992562"/>
              <a:gd name="connsiteX66" fmla="*/ 4442618 w 4443412"/>
              <a:gd name="connsiteY66" fmla="*/ 3081337 h 3992562"/>
              <a:gd name="connsiteX67" fmla="*/ 4440633 w 4443412"/>
              <a:gd name="connsiteY67" fmla="*/ 3121025 h 3992562"/>
              <a:gd name="connsiteX68" fmla="*/ 4439443 w 4443412"/>
              <a:gd name="connsiteY68" fmla="*/ 3140472 h 3992562"/>
              <a:gd name="connsiteX69" fmla="*/ 4437855 w 4443412"/>
              <a:gd name="connsiteY69" fmla="*/ 3159918 h 3992562"/>
              <a:gd name="connsiteX70" fmla="*/ 4435871 w 4443412"/>
              <a:gd name="connsiteY70" fmla="*/ 3179365 h 3992562"/>
              <a:gd name="connsiteX71" fmla="*/ 4433489 w 4443412"/>
              <a:gd name="connsiteY71" fmla="*/ 3198812 h 3992562"/>
              <a:gd name="connsiteX72" fmla="*/ 4430711 w 4443412"/>
              <a:gd name="connsiteY72" fmla="*/ 3218259 h 3992562"/>
              <a:gd name="connsiteX73" fmla="*/ 4427933 w 4443412"/>
              <a:gd name="connsiteY73" fmla="*/ 3237309 h 3992562"/>
              <a:gd name="connsiteX74" fmla="*/ 4424757 w 4443412"/>
              <a:gd name="connsiteY74" fmla="*/ 3256756 h 3992562"/>
              <a:gd name="connsiteX75" fmla="*/ 4420788 w 4443412"/>
              <a:gd name="connsiteY75" fmla="*/ 3276203 h 3992562"/>
              <a:gd name="connsiteX76" fmla="*/ 4416819 w 4443412"/>
              <a:gd name="connsiteY76" fmla="*/ 3295253 h 3992562"/>
              <a:gd name="connsiteX77" fmla="*/ 4412453 w 4443412"/>
              <a:gd name="connsiteY77" fmla="*/ 3314700 h 3992562"/>
              <a:gd name="connsiteX78" fmla="*/ 4407293 w 4443412"/>
              <a:gd name="connsiteY78" fmla="*/ 3334147 h 3992562"/>
              <a:gd name="connsiteX79" fmla="*/ 4401737 w 4443412"/>
              <a:gd name="connsiteY79" fmla="*/ 3353593 h 3992562"/>
              <a:gd name="connsiteX80" fmla="*/ 4395783 w 4443412"/>
              <a:gd name="connsiteY80" fmla="*/ 3373040 h 3992562"/>
              <a:gd name="connsiteX81" fmla="*/ 4389432 w 4443412"/>
              <a:gd name="connsiteY81" fmla="*/ 3392487 h 3992562"/>
              <a:gd name="connsiteX82" fmla="*/ 4382288 w 4443412"/>
              <a:gd name="connsiteY82" fmla="*/ 3412331 h 3992562"/>
              <a:gd name="connsiteX83" fmla="*/ 4374747 w 4443412"/>
              <a:gd name="connsiteY83" fmla="*/ 3432175 h 3992562"/>
              <a:gd name="connsiteX84" fmla="*/ 4366809 w 4443412"/>
              <a:gd name="connsiteY84" fmla="*/ 3452018 h 3992562"/>
              <a:gd name="connsiteX85" fmla="*/ 4358473 w 4443412"/>
              <a:gd name="connsiteY85" fmla="*/ 3472259 h 3992562"/>
              <a:gd name="connsiteX86" fmla="*/ 4349344 w 4443412"/>
              <a:gd name="connsiteY86" fmla="*/ 3492500 h 3992562"/>
              <a:gd name="connsiteX87" fmla="*/ 4339819 w 4443412"/>
              <a:gd name="connsiteY87" fmla="*/ 3513137 h 3992562"/>
              <a:gd name="connsiteX88" fmla="*/ 4329499 w 4443412"/>
              <a:gd name="connsiteY88" fmla="*/ 3534172 h 3992562"/>
              <a:gd name="connsiteX89" fmla="*/ 4318385 w 4443412"/>
              <a:gd name="connsiteY89" fmla="*/ 3554809 h 3992562"/>
              <a:gd name="connsiteX90" fmla="*/ 4306875 w 4443412"/>
              <a:gd name="connsiteY90" fmla="*/ 3575447 h 3992562"/>
              <a:gd name="connsiteX91" fmla="*/ 4294967 w 4443412"/>
              <a:gd name="connsiteY91" fmla="*/ 3595290 h 3992562"/>
              <a:gd name="connsiteX92" fmla="*/ 4283060 w 4443412"/>
              <a:gd name="connsiteY92" fmla="*/ 3615531 h 3992562"/>
              <a:gd name="connsiteX93" fmla="*/ 4269962 w 4443412"/>
              <a:gd name="connsiteY93" fmla="*/ 3634978 h 3992562"/>
              <a:gd name="connsiteX94" fmla="*/ 4256864 w 4443412"/>
              <a:gd name="connsiteY94" fmla="*/ 3654028 h 3992562"/>
              <a:gd name="connsiteX95" fmla="*/ 4242972 w 4443412"/>
              <a:gd name="connsiteY95" fmla="*/ 3672284 h 3992562"/>
              <a:gd name="connsiteX96" fmla="*/ 4229081 w 4443412"/>
              <a:gd name="connsiteY96" fmla="*/ 3690937 h 3992562"/>
              <a:gd name="connsiteX97" fmla="*/ 4214791 w 4443412"/>
              <a:gd name="connsiteY97" fmla="*/ 3708797 h 3992562"/>
              <a:gd name="connsiteX98" fmla="*/ 4199709 w 4443412"/>
              <a:gd name="connsiteY98" fmla="*/ 3726259 h 3992562"/>
              <a:gd name="connsiteX99" fmla="*/ 4184627 w 4443412"/>
              <a:gd name="connsiteY99" fmla="*/ 3743325 h 3992562"/>
              <a:gd name="connsiteX100" fmla="*/ 4168750 w 4443412"/>
              <a:gd name="connsiteY100" fmla="*/ 3760390 h 3992562"/>
              <a:gd name="connsiteX101" fmla="*/ 4152873 w 4443412"/>
              <a:gd name="connsiteY101" fmla="*/ 3776265 h 3992562"/>
              <a:gd name="connsiteX102" fmla="*/ 4136203 w 4443412"/>
              <a:gd name="connsiteY102" fmla="*/ 3792140 h 3992562"/>
              <a:gd name="connsiteX103" fmla="*/ 4119136 w 4443412"/>
              <a:gd name="connsiteY103" fmla="*/ 3807222 h 3992562"/>
              <a:gd name="connsiteX104" fmla="*/ 4101672 w 4443412"/>
              <a:gd name="connsiteY104" fmla="*/ 3822303 h 3992562"/>
              <a:gd name="connsiteX105" fmla="*/ 4083811 w 4443412"/>
              <a:gd name="connsiteY105" fmla="*/ 3836193 h 3992562"/>
              <a:gd name="connsiteX106" fmla="*/ 4065950 w 4443412"/>
              <a:gd name="connsiteY106" fmla="*/ 3850084 h 3992562"/>
              <a:gd name="connsiteX107" fmla="*/ 4047295 w 4443412"/>
              <a:gd name="connsiteY107" fmla="*/ 3863181 h 3992562"/>
              <a:gd name="connsiteX108" fmla="*/ 4028244 w 4443412"/>
              <a:gd name="connsiteY108" fmla="*/ 3875484 h 3992562"/>
              <a:gd name="connsiteX109" fmla="*/ 4008795 w 4443412"/>
              <a:gd name="connsiteY109" fmla="*/ 3888184 h 3992562"/>
              <a:gd name="connsiteX110" fmla="*/ 3989347 w 4443412"/>
              <a:gd name="connsiteY110" fmla="*/ 3899693 h 3992562"/>
              <a:gd name="connsiteX111" fmla="*/ 3969501 w 4443412"/>
              <a:gd name="connsiteY111" fmla="*/ 3910012 h 3992562"/>
              <a:gd name="connsiteX112" fmla="*/ 3948862 w 4443412"/>
              <a:gd name="connsiteY112" fmla="*/ 3920728 h 3992562"/>
              <a:gd name="connsiteX113" fmla="*/ 3927825 w 4443412"/>
              <a:gd name="connsiteY113" fmla="*/ 3930253 h 3992562"/>
              <a:gd name="connsiteX114" fmla="*/ 3907186 w 4443412"/>
              <a:gd name="connsiteY114" fmla="*/ 3938984 h 3992562"/>
              <a:gd name="connsiteX115" fmla="*/ 3885356 w 4443412"/>
              <a:gd name="connsiteY115" fmla="*/ 3947715 h 3992562"/>
              <a:gd name="connsiteX116" fmla="*/ 3863526 w 4443412"/>
              <a:gd name="connsiteY116" fmla="*/ 3955256 h 3992562"/>
              <a:gd name="connsiteX117" fmla="*/ 3840902 w 4443412"/>
              <a:gd name="connsiteY117" fmla="*/ 3962400 h 3992562"/>
              <a:gd name="connsiteX118" fmla="*/ 3818675 w 4443412"/>
              <a:gd name="connsiteY118" fmla="*/ 3968750 h 3992562"/>
              <a:gd name="connsiteX119" fmla="*/ 3795654 w 4443412"/>
              <a:gd name="connsiteY119" fmla="*/ 3973909 h 3992562"/>
              <a:gd name="connsiteX120" fmla="*/ 3768664 w 4443412"/>
              <a:gd name="connsiteY120" fmla="*/ 3980259 h 3992562"/>
              <a:gd name="connsiteX121" fmla="*/ 3741277 w 4443412"/>
              <a:gd name="connsiteY121" fmla="*/ 3984625 h 3992562"/>
              <a:gd name="connsiteX122" fmla="*/ 3714287 w 4443412"/>
              <a:gd name="connsiteY122" fmla="*/ 3988197 h 3992562"/>
              <a:gd name="connsiteX123" fmla="*/ 3686901 w 4443412"/>
              <a:gd name="connsiteY123" fmla="*/ 3990578 h 3992562"/>
              <a:gd name="connsiteX124" fmla="*/ 3659117 w 4443412"/>
              <a:gd name="connsiteY124" fmla="*/ 3992165 h 3992562"/>
              <a:gd name="connsiteX125" fmla="*/ 3631730 w 4443412"/>
              <a:gd name="connsiteY125" fmla="*/ 3992562 h 3992562"/>
              <a:gd name="connsiteX126" fmla="*/ 3604343 w 4443412"/>
              <a:gd name="connsiteY126" fmla="*/ 3992562 h 3992562"/>
              <a:gd name="connsiteX127" fmla="*/ 3576560 w 4443412"/>
              <a:gd name="connsiteY127" fmla="*/ 3990975 h 3992562"/>
              <a:gd name="connsiteX128" fmla="*/ 3548379 w 4443412"/>
              <a:gd name="connsiteY128" fmla="*/ 3988990 h 3992562"/>
              <a:gd name="connsiteX129" fmla="*/ 3520595 w 4443412"/>
              <a:gd name="connsiteY129" fmla="*/ 3986609 h 3992562"/>
              <a:gd name="connsiteX130" fmla="*/ 3492415 w 4443412"/>
              <a:gd name="connsiteY130" fmla="*/ 3982640 h 3992562"/>
              <a:gd name="connsiteX131" fmla="*/ 3464631 w 4443412"/>
              <a:gd name="connsiteY131" fmla="*/ 3978672 h 3992562"/>
              <a:gd name="connsiteX132" fmla="*/ 3436053 w 4443412"/>
              <a:gd name="connsiteY132" fmla="*/ 3973115 h 3992562"/>
              <a:gd name="connsiteX133" fmla="*/ 3407476 w 4443412"/>
              <a:gd name="connsiteY133" fmla="*/ 3967559 h 3992562"/>
              <a:gd name="connsiteX134" fmla="*/ 3379295 w 4443412"/>
              <a:gd name="connsiteY134" fmla="*/ 3961209 h 3992562"/>
              <a:gd name="connsiteX135" fmla="*/ 3350321 w 4443412"/>
              <a:gd name="connsiteY135" fmla="*/ 3954065 h 3992562"/>
              <a:gd name="connsiteX136" fmla="*/ 3321346 w 4443412"/>
              <a:gd name="connsiteY136" fmla="*/ 3946128 h 3992562"/>
              <a:gd name="connsiteX137" fmla="*/ 3291975 w 4443412"/>
              <a:gd name="connsiteY137" fmla="*/ 3938190 h 3992562"/>
              <a:gd name="connsiteX138" fmla="*/ 3263001 w 4443412"/>
              <a:gd name="connsiteY138" fmla="*/ 3929062 h 3992562"/>
              <a:gd name="connsiteX139" fmla="*/ 3233232 w 4443412"/>
              <a:gd name="connsiteY139" fmla="*/ 3919537 h 3992562"/>
              <a:gd name="connsiteX140" fmla="*/ 3203464 w 4443412"/>
              <a:gd name="connsiteY140" fmla="*/ 3910012 h 3992562"/>
              <a:gd name="connsiteX141" fmla="*/ 3173299 w 4443412"/>
              <a:gd name="connsiteY141" fmla="*/ 3899693 h 3992562"/>
              <a:gd name="connsiteX142" fmla="*/ 3112571 w 4443412"/>
              <a:gd name="connsiteY142" fmla="*/ 3878262 h 3992562"/>
              <a:gd name="connsiteX143" fmla="*/ 3051050 w 4443412"/>
              <a:gd name="connsiteY143" fmla="*/ 3855243 h 3992562"/>
              <a:gd name="connsiteX144" fmla="*/ 2988735 w 4443412"/>
              <a:gd name="connsiteY144" fmla="*/ 3831034 h 3992562"/>
              <a:gd name="connsiteX145" fmla="*/ 2860533 w 4443412"/>
              <a:gd name="connsiteY145" fmla="*/ 3780631 h 3992562"/>
              <a:gd name="connsiteX146" fmla="*/ 818429 w 4443412"/>
              <a:gd name="connsiteY146" fmla="*/ 2887662 h 3992562"/>
              <a:gd name="connsiteX147" fmla="*/ 753733 w 4443412"/>
              <a:gd name="connsiteY147" fmla="*/ 2858294 h 3992562"/>
              <a:gd name="connsiteX148" fmla="*/ 686655 w 4443412"/>
              <a:gd name="connsiteY148" fmla="*/ 2828131 h 3992562"/>
              <a:gd name="connsiteX149" fmla="*/ 617593 w 4443412"/>
              <a:gd name="connsiteY149" fmla="*/ 2797175 h 3992562"/>
              <a:gd name="connsiteX150" fmla="*/ 582665 w 4443412"/>
              <a:gd name="connsiteY150" fmla="*/ 2781300 h 3992562"/>
              <a:gd name="connsiteX151" fmla="*/ 548133 w 4443412"/>
              <a:gd name="connsiteY151" fmla="*/ 2765425 h 3992562"/>
              <a:gd name="connsiteX152" fmla="*/ 513205 w 4443412"/>
              <a:gd name="connsiteY152" fmla="*/ 2748359 h 3992562"/>
              <a:gd name="connsiteX153" fmla="*/ 479071 w 4443412"/>
              <a:gd name="connsiteY153" fmla="*/ 2730897 h 3992562"/>
              <a:gd name="connsiteX154" fmla="*/ 444937 w 4443412"/>
              <a:gd name="connsiteY154" fmla="*/ 2712640 h 3992562"/>
              <a:gd name="connsiteX155" fmla="*/ 410803 w 4443412"/>
              <a:gd name="connsiteY155" fmla="*/ 2694384 h 3992562"/>
              <a:gd name="connsiteX156" fmla="*/ 377859 w 4443412"/>
              <a:gd name="connsiteY156" fmla="*/ 2675334 h 3992562"/>
              <a:gd name="connsiteX157" fmla="*/ 345709 w 4443412"/>
              <a:gd name="connsiteY157" fmla="*/ 2655490 h 3992562"/>
              <a:gd name="connsiteX158" fmla="*/ 313559 w 4443412"/>
              <a:gd name="connsiteY158" fmla="*/ 2634853 h 3992562"/>
              <a:gd name="connsiteX159" fmla="*/ 298080 w 4443412"/>
              <a:gd name="connsiteY159" fmla="*/ 2623740 h 3992562"/>
              <a:gd name="connsiteX160" fmla="*/ 282600 w 4443412"/>
              <a:gd name="connsiteY160" fmla="*/ 2613422 h 3992562"/>
              <a:gd name="connsiteX161" fmla="*/ 267518 w 4443412"/>
              <a:gd name="connsiteY161" fmla="*/ 2602309 h 3992562"/>
              <a:gd name="connsiteX162" fmla="*/ 252832 w 4443412"/>
              <a:gd name="connsiteY162" fmla="*/ 2590800 h 3992562"/>
              <a:gd name="connsiteX163" fmla="*/ 238146 w 4443412"/>
              <a:gd name="connsiteY163" fmla="*/ 2579290 h 3992562"/>
              <a:gd name="connsiteX164" fmla="*/ 223858 w 4443412"/>
              <a:gd name="connsiteY164" fmla="*/ 2567781 h 3992562"/>
              <a:gd name="connsiteX165" fmla="*/ 209569 w 4443412"/>
              <a:gd name="connsiteY165" fmla="*/ 2555875 h 3992562"/>
              <a:gd name="connsiteX166" fmla="*/ 196074 w 4443412"/>
              <a:gd name="connsiteY166" fmla="*/ 2543572 h 3992562"/>
              <a:gd name="connsiteX167" fmla="*/ 182579 w 4443412"/>
              <a:gd name="connsiteY167" fmla="*/ 2530872 h 3992562"/>
              <a:gd name="connsiteX168" fmla="*/ 169878 w 4443412"/>
              <a:gd name="connsiteY168" fmla="*/ 2518569 h 3992562"/>
              <a:gd name="connsiteX169" fmla="*/ 157177 w 4443412"/>
              <a:gd name="connsiteY169" fmla="*/ 2505472 h 3992562"/>
              <a:gd name="connsiteX170" fmla="*/ 144873 w 4443412"/>
              <a:gd name="connsiteY170" fmla="*/ 2491978 h 3992562"/>
              <a:gd name="connsiteX171" fmla="*/ 133362 w 4443412"/>
              <a:gd name="connsiteY171" fmla="*/ 2478484 h 3992562"/>
              <a:gd name="connsiteX172" fmla="*/ 121852 w 4443412"/>
              <a:gd name="connsiteY172" fmla="*/ 2464594 h 3992562"/>
              <a:gd name="connsiteX173" fmla="*/ 110738 w 4443412"/>
              <a:gd name="connsiteY173" fmla="*/ 2450703 h 3992562"/>
              <a:gd name="connsiteX174" fmla="*/ 100419 w 4443412"/>
              <a:gd name="connsiteY174" fmla="*/ 2436019 h 3992562"/>
              <a:gd name="connsiteX175" fmla="*/ 89702 w 4443412"/>
              <a:gd name="connsiteY175" fmla="*/ 2421731 h 3992562"/>
              <a:gd name="connsiteX176" fmla="*/ 80573 w 4443412"/>
              <a:gd name="connsiteY176" fmla="*/ 2406650 h 3992562"/>
              <a:gd name="connsiteX177" fmla="*/ 71047 w 4443412"/>
              <a:gd name="connsiteY177" fmla="*/ 2391172 h 3992562"/>
              <a:gd name="connsiteX178" fmla="*/ 62315 w 4443412"/>
              <a:gd name="connsiteY178" fmla="*/ 2375297 h 3992562"/>
              <a:gd name="connsiteX179" fmla="*/ 54377 w 4443412"/>
              <a:gd name="connsiteY179" fmla="*/ 2359025 h 3992562"/>
              <a:gd name="connsiteX180" fmla="*/ 46439 w 4443412"/>
              <a:gd name="connsiteY180" fmla="*/ 2343150 h 3992562"/>
              <a:gd name="connsiteX181" fmla="*/ 39294 w 4443412"/>
              <a:gd name="connsiteY181" fmla="*/ 2326084 h 3992562"/>
              <a:gd name="connsiteX182" fmla="*/ 32944 w 4443412"/>
              <a:gd name="connsiteY182" fmla="*/ 2309415 h 3992562"/>
              <a:gd name="connsiteX183" fmla="*/ 26990 w 4443412"/>
              <a:gd name="connsiteY183" fmla="*/ 2292350 h 3992562"/>
              <a:gd name="connsiteX184" fmla="*/ 21433 w 4443412"/>
              <a:gd name="connsiteY184" fmla="*/ 2274094 h 3992562"/>
              <a:gd name="connsiteX185" fmla="*/ 16670 w 4443412"/>
              <a:gd name="connsiteY185" fmla="*/ 2256234 h 3992562"/>
              <a:gd name="connsiteX186" fmla="*/ 11908 w 4443412"/>
              <a:gd name="connsiteY186" fmla="*/ 2237978 h 3992562"/>
              <a:gd name="connsiteX187" fmla="*/ 8335 w 4443412"/>
              <a:gd name="connsiteY187" fmla="*/ 2218928 h 3992562"/>
              <a:gd name="connsiteX188" fmla="*/ 5557 w 4443412"/>
              <a:gd name="connsiteY188" fmla="*/ 2199878 h 3992562"/>
              <a:gd name="connsiteX189" fmla="*/ 3176 w 4443412"/>
              <a:gd name="connsiteY189" fmla="*/ 2180034 h 3992562"/>
              <a:gd name="connsiteX190" fmla="*/ 1588 w 4443412"/>
              <a:gd name="connsiteY190" fmla="*/ 2159794 h 3992562"/>
              <a:gd name="connsiteX191" fmla="*/ 397 w 4443412"/>
              <a:gd name="connsiteY191" fmla="*/ 2139553 h 3992562"/>
              <a:gd name="connsiteX192" fmla="*/ 0 w 4443412"/>
              <a:gd name="connsiteY192" fmla="*/ 2118915 h 3992562"/>
              <a:gd name="connsiteX193" fmla="*/ 0 w 4443412"/>
              <a:gd name="connsiteY193" fmla="*/ 1397794 h 3992562"/>
              <a:gd name="connsiteX194" fmla="*/ 0 w 4443412"/>
              <a:gd name="connsiteY194" fmla="*/ 1352153 h 3992562"/>
              <a:gd name="connsiteX195" fmla="*/ 397 w 4443412"/>
              <a:gd name="connsiteY195" fmla="*/ 1307703 h 3992562"/>
              <a:gd name="connsiteX196" fmla="*/ 1985 w 4443412"/>
              <a:gd name="connsiteY196" fmla="*/ 1263253 h 3992562"/>
              <a:gd name="connsiteX197" fmla="*/ 3572 w 4443412"/>
              <a:gd name="connsiteY197" fmla="*/ 1219200 h 3992562"/>
              <a:gd name="connsiteX198" fmla="*/ 6351 w 4443412"/>
              <a:gd name="connsiteY198" fmla="*/ 1176338 h 3992562"/>
              <a:gd name="connsiteX199" fmla="*/ 8335 w 4443412"/>
              <a:gd name="connsiteY199" fmla="*/ 1154509 h 3992562"/>
              <a:gd name="connsiteX200" fmla="*/ 10320 w 4443412"/>
              <a:gd name="connsiteY200" fmla="*/ 1133475 h 3992562"/>
              <a:gd name="connsiteX201" fmla="*/ 13098 w 4443412"/>
              <a:gd name="connsiteY201" fmla="*/ 1112044 h 3992562"/>
              <a:gd name="connsiteX202" fmla="*/ 15877 w 4443412"/>
              <a:gd name="connsiteY202" fmla="*/ 1091009 h 3992562"/>
              <a:gd name="connsiteX203" fmla="*/ 19052 w 4443412"/>
              <a:gd name="connsiteY203" fmla="*/ 1069975 h 3992562"/>
              <a:gd name="connsiteX204" fmla="*/ 23021 w 4443412"/>
              <a:gd name="connsiteY204" fmla="*/ 1048941 h 3992562"/>
              <a:gd name="connsiteX205" fmla="*/ 26990 w 4443412"/>
              <a:gd name="connsiteY205" fmla="*/ 1027906 h 3992562"/>
              <a:gd name="connsiteX206" fmla="*/ 31356 w 4443412"/>
              <a:gd name="connsiteY206" fmla="*/ 1007666 h 3992562"/>
              <a:gd name="connsiteX207" fmla="*/ 36516 w 4443412"/>
              <a:gd name="connsiteY207" fmla="*/ 986631 h 3992562"/>
              <a:gd name="connsiteX208" fmla="*/ 42073 w 4443412"/>
              <a:gd name="connsiteY208" fmla="*/ 965994 h 3992562"/>
              <a:gd name="connsiteX209" fmla="*/ 48026 w 4443412"/>
              <a:gd name="connsiteY209" fmla="*/ 945753 h 3992562"/>
              <a:gd name="connsiteX210" fmla="*/ 54377 w 4443412"/>
              <a:gd name="connsiteY210" fmla="*/ 925513 h 3992562"/>
              <a:gd name="connsiteX211" fmla="*/ 61918 w 4443412"/>
              <a:gd name="connsiteY211" fmla="*/ 905272 h 3992562"/>
              <a:gd name="connsiteX212" fmla="*/ 69856 w 4443412"/>
              <a:gd name="connsiteY212" fmla="*/ 885031 h 3992562"/>
              <a:gd name="connsiteX213" fmla="*/ 77795 w 4443412"/>
              <a:gd name="connsiteY213" fmla="*/ 865188 h 3992562"/>
              <a:gd name="connsiteX214" fmla="*/ 87321 w 4443412"/>
              <a:gd name="connsiteY214" fmla="*/ 845344 h 3992562"/>
              <a:gd name="connsiteX215" fmla="*/ 96846 w 4443412"/>
              <a:gd name="connsiteY215" fmla="*/ 825500 h 3992562"/>
              <a:gd name="connsiteX216" fmla="*/ 107166 w 4443412"/>
              <a:gd name="connsiteY216" fmla="*/ 805656 h 3992562"/>
              <a:gd name="connsiteX217" fmla="*/ 118676 w 4443412"/>
              <a:gd name="connsiteY217" fmla="*/ 786209 h 3992562"/>
              <a:gd name="connsiteX218" fmla="*/ 130981 w 4443412"/>
              <a:gd name="connsiteY218" fmla="*/ 766763 h 3992562"/>
              <a:gd name="connsiteX219" fmla="*/ 143285 w 4443412"/>
              <a:gd name="connsiteY219" fmla="*/ 747713 h 3992562"/>
              <a:gd name="connsiteX220" fmla="*/ 156780 w 4443412"/>
              <a:gd name="connsiteY220" fmla="*/ 728266 h 3992562"/>
              <a:gd name="connsiteX221" fmla="*/ 166703 w 4443412"/>
              <a:gd name="connsiteY221" fmla="*/ 715169 h 3992562"/>
              <a:gd name="connsiteX222" fmla="*/ 176625 w 4443412"/>
              <a:gd name="connsiteY222" fmla="*/ 702469 h 3992562"/>
              <a:gd name="connsiteX223" fmla="*/ 187342 w 4443412"/>
              <a:gd name="connsiteY223" fmla="*/ 689769 h 3992562"/>
              <a:gd name="connsiteX224" fmla="*/ 197265 w 4443412"/>
              <a:gd name="connsiteY224" fmla="*/ 677863 h 3992562"/>
              <a:gd name="connsiteX225" fmla="*/ 208378 w 4443412"/>
              <a:gd name="connsiteY225" fmla="*/ 666353 h 3992562"/>
              <a:gd name="connsiteX226" fmla="*/ 219095 w 4443412"/>
              <a:gd name="connsiteY226" fmla="*/ 654844 h 3992562"/>
              <a:gd name="connsiteX227" fmla="*/ 230208 w 4443412"/>
              <a:gd name="connsiteY227" fmla="*/ 643731 h 3992562"/>
              <a:gd name="connsiteX228" fmla="*/ 241322 w 4443412"/>
              <a:gd name="connsiteY228" fmla="*/ 633016 h 3992562"/>
              <a:gd name="connsiteX229" fmla="*/ 252832 w 4443412"/>
              <a:gd name="connsiteY229" fmla="*/ 622697 h 3992562"/>
              <a:gd name="connsiteX230" fmla="*/ 264343 w 4443412"/>
              <a:gd name="connsiteY230" fmla="*/ 612378 h 3992562"/>
              <a:gd name="connsiteX231" fmla="*/ 276250 w 4443412"/>
              <a:gd name="connsiteY231" fmla="*/ 602853 h 3992562"/>
              <a:gd name="connsiteX232" fmla="*/ 288157 w 4443412"/>
              <a:gd name="connsiteY232" fmla="*/ 593328 h 3992562"/>
              <a:gd name="connsiteX233" fmla="*/ 300065 w 4443412"/>
              <a:gd name="connsiteY233" fmla="*/ 583803 h 3992562"/>
              <a:gd name="connsiteX234" fmla="*/ 312766 w 4443412"/>
              <a:gd name="connsiteY234" fmla="*/ 575072 h 3992562"/>
              <a:gd name="connsiteX235" fmla="*/ 325070 w 4443412"/>
              <a:gd name="connsiteY235" fmla="*/ 566341 h 3992562"/>
              <a:gd name="connsiteX236" fmla="*/ 337374 w 4443412"/>
              <a:gd name="connsiteY236" fmla="*/ 558006 h 3992562"/>
              <a:gd name="connsiteX237" fmla="*/ 350472 w 4443412"/>
              <a:gd name="connsiteY237" fmla="*/ 550069 h 3992562"/>
              <a:gd name="connsiteX238" fmla="*/ 363570 w 4443412"/>
              <a:gd name="connsiteY238" fmla="*/ 542131 h 3992562"/>
              <a:gd name="connsiteX239" fmla="*/ 390163 w 4443412"/>
              <a:gd name="connsiteY239" fmla="*/ 527050 h 3992562"/>
              <a:gd name="connsiteX240" fmla="*/ 417153 w 4443412"/>
              <a:gd name="connsiteY240" fmla="*/ 513159 h 3992562"/>
              <a:gd name="connsiteX241" fmla="*/ 444540 w 4443412"/>
              <a:gd name="connsiteY241" fmla="*/ 499666 h 3992562"/>
              <a:gd name="connsiteX242" fmla="*/ 472324 w 4443412"/>
              <a:gd name="connsiteY242" fmla="*/ 487363 h 3992562"/>
              <a:gd name="connsiteX243" fmla="*/ 500504 w 4443412"/>
              <a:gd name="connsiteY243" fmla="*/ 475853 h 3992562"/>
              <a:gd name="connsiteX244" fmla="*/ 529479 w 4443412"/>
              <a:gd name="connsiteY244" fmla="*/ 465534 h 3992562"/>
              <a:gd name="connsiteX245" fmla="*/ 558850 w 4443412"/>
              <a:gd name="connsiteY245" fmla="*/ 455613 h 3992562"/>
              <a:gd name="connsiteX246" fmla="*/ 588221 w 4443412"/>
              <a:gd name="connsiteY246" fmla="*/ 446088 h 3992562"/>
              <a:gd name="connsiteX247" fmla="*/ 618387 w 4443412"/>
              <a:gd name="connsiteY247" fmla="*/ 437753 h 3992562"/>
              <a:gd name="connsiteX248" fmla="*/ 648155 w 4443412"/>
              <a:gd name="connsiteY248" fmla="*/ 429022 h 3992562"/>
              <a:gd name="connsiteX249" fmla="*/ 678717 w 4443412"/>
              <a:gd name="connsiteY249" fmla="*/ 421481 h 3992562"/>
              <a:gd name="connsiteX250" fmla="*/ 709279 w 4443412"/>
              <a:gd name="connsiteY250" fmla="*/ 414734 h 3992562"/>
              <a:gd name="connsiteX251" fmla="*/ 740238 w 4443412"/>
              <a:gd name="connsiteY251" fmla="*/ 407988 h 3992562"/>
              <a:gd name="connsiteX252" fmla="*/ 771197 w 4443412"/>
              <a:gd name="connsiteY252" fmla="*/ 401638 h 3992562"/>
              <a:gd name="connsiteX253" fmla="*/ 802156 w 4443412"/>
              <a:gd name="connsiteY253" fmla="*/ 395684 h 3992562"/>
              <a:gd name="connsiteX254" fmla="*/ 864471 w 4443412"/>
              <a:gd name="connsiteY254" fmla="*/ 384572 h 3992562"/>
              <a:gd name="connsiteX255" fmla="*/ 926786 w 4443412"/>
              <a:gd name="connsiteY255" fmla="*/ 374650 h 3992562"/>
              <a:gd name="connsiteX256" fmla="*/ 1050622 w 4443412"/>
              <a:gd name="connsiteY256" fmla="*/ 354806 h 3992562"/>
              <a:gd name="connsiteX257" fmla="*/ 3575766 w 4443412"/>
              <a:gd name="connsiteY257" fmla="*/ 5160 h 3992562"/>
              <a:gd name="connsiteX258" fmla="*/ 3594817 w 4443412"/>
              <a:gd name="connsiteY258" fmla="*/ 3175 h 3992562"/>
              <a:gd name="connsiteX259" fmla="*/ 3613472 w 4443412"/>
              <a:gd name="connsiteY259" fmla="*/ 1588 h 3992562"/>
              <a:gd name="connsiteX260" fmla="*/ 3631333 w 4443412"/>
              <a:gd name="connsiteY260" fmla="*/ 397 h 3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4443412" h="3992562">
                <a:moveTo>
                  <a:pt x="3649988" y="0"/>
                </a:moveTo>
                <a:lnTo>
                  <a:pt x="3667849" y="0"/>
                </a:lnTo>
                <a:lnTo>
                  <a:pt x="3685710" y="397"/>
                </a:lnTo>
                <a:lnTo>
                  <a:pt x="3703174" y="1588"/>
                </a:lnTo>
                <a:lnTo>
                  <a:pt x="3720638" y="2381"/>
                </a:lnTo>
                <a:lnTo>
                  <a:pt x="3737705" y="4366"/>
                </a:lnTo>
                <a:lnTo>
                  <a:pt x="3755169" y="7144"/>
                </a:lnTo>
                <a:lnTo>
                  <a:pt x="3771839" y="9525"/>
                </a:lnTo>
                <a:lnTo>
                  <a:pt x="3788510" y="12303"/>
                </a:lnTo>
                <a:lnTo>
                  <a:pt x="3805180" y="16669"/>
                </a:lnTo>
                <a:lnTo>
                  <a:pt x="3821057" y="20638"/>
                </a:lnTo>
                <a:lnTo>
                  <a:pt x="3836933" y="25003"/>
                </a:lnTo>
                <a:lnTo>
                  <a:pt x="3853206" y="29369"/>
                </a:lnTo>
                <a:lnTo>
                  <a:pt x="3869083" y="34925"/>
                </a:lnTo>
                <a:lnTo>
                  <a:pt x="3884165" y="40481"/>
                </a:lnTo>
                <a:lnTo>
                  <a:pt x="3899645" y="46434"/>
                </a:lnTo>
                <a:lnTo>
                  <a:pt x="3914331" y="52784"/>
                </a:lnTo>
                <a:lnTo>
                  <a:pt x="3929016" y="59928"/>
                </a:lnTo>
                <a:lnTo>
                  <a:pt x="3943305" y="67072"/>
                </a:lnTo>
                <a:lnTo>
                  <a:pt x="3957991" y="74613"/>
                </a:lnTo>
                <a:lnTo>
                  <a:pt x="3971883" y="82550"/>
                </a:lnTo>
                <a:lnTo>
                  <a:pt x="3985774" y="90885"/>
                </a:lnTo>
                <a:lnTo>
                  <a:pt x="3999269" y="100013"/>
                </a:lnTo>
                <a:lnTo>
                  <a:pt x="4012764" y="108744"/>
                </a:lnTo>
                <a:lnTo>
                  <a:pt x="4025862" y="118269"/>
                </a:lnTo>
                <a:lnTo>
                  <a:pt x="4038167" y="127794"/>
                </a:lnTo>
                <a:lnTo>
                  <a:pt x="4050867" y="137716"/>
                </a:lnTo>
                <a:lnTo>
                  <a:pt x="4063172" y="148431"/>
                </a:lnTo>
                <a:lnTo>
                  <a:pt x="4075476" y="159147"/>
                </a:lnTo>
                <a:lnTo>
                  <a:pt x="4087383" y="170259"/>
                </a:lnTo>
                <a:lnTo>
                  <a:pt x="4098894" y="181769"/>
                </a:lnTo>
                <a:lnTo>
                  <a:pt x="4109610" y="193278"/>
                </a:lnTo>
                <a:lnTo>
                  <a:pt x="4120724" y="205184"/>
                </a:lnTo>
                <a:lnTo>
                  <a:pt x="4131043" y="217884"/>
                </a:lnTo>
                <a:lnTo>
                  <a:pt x="4141760" y="230188"/>
                </a:lnTo>
                <a:lnTo>
                  <a:pt x="4151683" y="243284"/>
                </a:lnTo>
                <a:lnTo>
                  <a:pt x="4161605" y="256381"/>
                </a:lnTo>
                <a:lnTo>
                  <a:pt x="4171131" y="269875"/>
                </a:lnTo>
                <a:lnTo>
                  <a:pt x="4180261" y="283766"/>
                </a:lnTo>
                <a:lnTo>
                  <a:pt x="4188993" y="297656"/>
                </a:lnTo>
                <a:lnTo>
                  <a:pt x="4197725" y="312341"/>
                </a:lnTo>
                <a:lnTo>
                  <a:pt x="4206059" y="326628"/>
                </a:lnTo>
                <a:lnTo>
                  <a:pt x="4213998" y="341313"/>
                </a:lnTo>
                <a:lnTo>
                  <a:pt x="4221539" y="355997"/>
                </a:lnTo>
                <a:lnTo>
                  <a:pt x="4229081" y="371475"/>
                </a:lnTo>
                <a:lnTo>
                  <a:pt x="4236225" y="386953"/>
                </a:lnTo>
                <a:lnTo>
                  <a:pt x="4242575" y="403225"/>
                </a:lnTo>
                <a:lnTo>
                  <a:pt x="4248926" y="419100"/>
                </a:lnTo>
                <a:lnTo>
                  <a:pt x="4254879" y="434975"/>
                </a:lnTo>
                <a:lnTo>
                  <a:pt x="4260437" y="451644"/>
                </a:lnTo>
                <a:lnTo>
                  <a:pt x="4265993" y="468709"/>
                </a:lnTo>
                <a:lnTo>
                  <a:pt x="4271153" y="484981"/>
                </a:lnTo>
                <a:lnTo>
                  <a:pt x="4275916" y="502444"/>
                </a:lnTo>
                <a:lnTo>
                  <a:pt x="4279885" y="519509"/>
                </a:lnTo>
                <a:lnTo>
                  <a:pt x="4283854" y="536972"/>
                </a:lnTo>
                <a:lnTo>
                  <a:pt x="4287823" y="554434"/>
                </a:lnTo>
                <a:lnTo>
                  <a:pt x="4290999" y="572294"/>
                </a:lnTo>
                <a:lnTo>
                  <a:pt x="4294173" y="590550"/>
                </a:lnTo>
                <a:lnTo>
                  <a:pt x="4296555" y="608806"/>
                </a:lnTo>
                <a:lnTo>
                  <a:pt x="4298539" y="627063"/>
                </a:lnTo>
                <a:lnTo>
                  <a:pt x="4300525" y="645319"/>
                </a:lnTo>
                <a:lnTo>
                  <a:pt x="4439840" y="2872581"/>
                </a:lnTo>
                <a:lnTo>
                  <a:pt x="4441825" y="2916634"/>
                </a:lnTo>
                <a:lnTo>
                  <a:pt x="4442618" y="2959100"/>
                </a:lnTo>
                <a:lnTo>
                  <a:pt x="4443412" y="3000375"/>
                </a:lnTo>
                <a:lnTo>
                  <a:pt x="4443412" y="3041650"/>
                </a:lnTo>
                <a:lnTo>
                  <a:pt x="4442618" y="3081337"/>
                </a:lnTo>
                <a:lnTo>
                  <a:pt x="4440633" y="3121025"/>
                </a:lnTo>
                <a:lnTo>
                  <a:pt x="4439443" y="3140472"/>
                </a:lnTo>
                <a:lnTo>
                  <a:pt x="4437855" y="3159918"/>
                </a:lnTo>
                <a:lnTo>
                  <a:pt x="4435871" y="3179365"/>
                </a:lnTo>
                <a:lnTo>
                  <a:pt x="4433489" y="3198812"/>
                </a:lnTo>
                <a:lnTo>
                  <a:pt x="4430711" y="3218259"/>
                </a:lnTo>
                <a:lnTo>
                  <a:pt x="4427933" y="3237309"/>
                </a:lnTo>
                <a:lnTo>
                  <a:pt x="4424757" y="3256756"/>
                </a:lnTo>
                <a:lnTo>
                  <a:pt x="4420788" y="3276203"/>
                </a:lnTo>
                <a:lnTo>
                  <a:pt x="4416819" y="3295253"/>
                </a:lnTo>
                <a:lnTo>
                  <a:pt x="4412453" y="3314700"/>
                </a:lnTo>
                <a:lnTo>
                  <a:pt x="4407293" y="3334147"/>
                </a:lnTo>
                <a:lnTo>
                  <a:pt x="4401737" y="3353593"/>
                </a:lnTo>
                <a:lnTo>
                  <a:pt x="4395783" y="3373040"/>
                </a:lnTo>
                <a:lnTo>
                  <a:pt x="4389432" y="3392487"/>
                </a:lnTo>
                <a:lnTo>
                  <a:pt x="4382288" y="3412331"/>
                </a:lnTo>
                <a:lnTo>
                  <a:pt x="4374747" y="3432175"/>
                </a:lnTo>
                <a:lnTo>
                  <a:pt x="4366809" y="3452018"/>
                </a:lnTo>
                <a:lnTo>
                  <a:pt x="4358473" y="3472259"/>
                </a:lnTo>
                <a:lnTo>
                  <a:pt x="4349344" y="3492500"/>
                </a:lnTo>
                <a:lnTo>
                  <a:pt x="4339819" y="3513137"/>
                </a:lnTo>
                <a:lnTo>
                  <a:pt x="4329499" y="3534172"/>
                </a:lnTo>
                <a:lnTo>
                  <a:pt x="4318385" y="3554809"/>
                </a:lnTo>
                <a:lnTo>
                  <a:pt x="4306875" y="3575447"/>
                </a:lnTo>
                <a:lnTo>
                  <a:pt x="4294967" y="3595290"/>
                </a:lnTo>
                <a:lnTo>
                  <a:pt x="4283060" y="3615531"/>
                </a:lnTo>
                <a:lnTo>
                  <a:pt x="4269962" y="3634978"/>
                </a:lnTo>
                <a:lnTo>
                  <a:pt x="4256864" y="3654028"/>
                </a:lnTo>
                <a:lnTo>
                  <a:pt x="4242972" y="3672284"/>
                </a:lnTo>
                <a:lnTo>
                  <a:pt x="4229081" y="3690937"/>
                </a:lnTo>
                <a:lnTo>
                  <a:pt x="4214791" y="3708797"/>
                </a:lnTo>
                <a:lnTo>
                  <a:pt x="4199709" y="3726259"/>
                </a:lnTo>
                <a:lnTo>
                  <a:pt x="4184627" y="3743325"/>
                </a:lnTo>
                <a:lnTo>
                  <a:pt x="4168750" y="3760390"/>
                </a:lnTo>
                <a:lnTo>
                  <a:pt x="4152873" y="3776265"/>
                </a:lnTo>
                <a:lnTo>
                  <a:pt x="4136203" y="3792140"/>
                </a:lnTo>
                <a:lnTo>
                  <a:pt x="4119136" y="3807222"/>
                </a:lnTo>
                <a:lnTo>
                  <a:pt x="4101672" y="3822303"/>
                </a:lnTo>
                <a:lnTo>
                  <a:pt x="4083811" y="3836193"/>
                </a:lnTo>
                <a:lnTo>
                  <a:pt x="4065950" y="3850084"/>
                </a:lnTo>
                <a:lnTo>
                  <a:pt x="4047295" y="3863181"/>
                </a:lnTo>
                <a:lnTo>
                  <a:pt x="4028244" y="3875484"/>
                </a:lnTo>
                <a:lnTo>
                  <a:pt x="4008795" y="3888184"/>
                </a:lnTo>
                <a:lnTo>
                  <a:pt x="3989347" y="3899693"/>
                </a:lnTo>
                <a:lnTo>
                  <a:pt x="3969501" y="3910012"/>
                </a:lnTo>
                <a:lnTo>
                  <a:pt x="3948862" y="3920728"/>
                </a:lnTo>
                <a:lnTo>
                  <a:pt x="3927825" y="3930253"/>
                </a:lnTo>
                <a:lnTo>
                  <a:pt x="3907186" y="3938984"/>
                </a:lnTo>
                <a:lnTo>
                  <a:pt x="3885356" y="3947715"/>
                </a:lnTo>
                <a:lnTo>
                  <a:pt x="3863526" y="3955256"/>
                </a:lnTo>
                <a:lnTo>
                  <a:pt x="3840902" y="3962400"/>
                </a:lnTo>
                <a:lnTo>
                  <a:pt x="3818675" y="3968750"/>
                </a:lnTo>
                <a:lnTo>
                  <a:pt x="3795654" y="3973909"/>
                </a:lnTo>
                <a:lnTo>
                  <a:pt x="3768664" y="3980259"/>
                </a:lnTo>
                <a:lnTo>
                  <a:pt x="3741277" y="3984625"/>
                </a:lnTo>
                <a:lnTo>
                  <a:pt x="3714287" y="3988197"/>
                </a:lnTo>
                <a:lnTo>
                  <a:pt x="3686901" y="3990578"/>
                </a:lnTo>
                <a:lnTo>
                  <a:pt x="3659117" y="3992165"/>
                </a:lnTo>
                <a:lnTo>
                  <a:pt x="3631730" y="3992562"/>
                </a:lnTo>
                <a:lnTo>
                  <a:pt x="3604343" y="3992562"/>
                </a:lnTo>
                <a:lnTo>
                  <a:pt x="3576560" y="3990975"/>
                </a:lnTo>
                <a:lnTo>
                  <a:pt x="3548379" y="3988990"/>
                </a:lnTo>
                <a:lnTo>
                  <a:pt x="3520595" y="3986609"/>
                </a:lnTo>
                <a:lnTo>
                  <a:pt x="3492415" y="3982640"/>
                </a:lnTo>
                <a:lnTo>
                  <a:pt x="3464631" y="3978672"/>
                </a:lnTo>
                <a:lnTo>
                  <a:pt x="3436053" y="3973115"/>
                </a:lnTo>
                <a:lnTo>
                  <a:pt x="3407476" y="3967559"/>
                </a:lnTo>
                <a:lnTo>
                  <a:pt x="3379295" y="3961209"/>
                </a:lnTo>
                <a:lnTo>
                  <a:pt x="3350321" y="3954065"/>
                </a:lnTo>
                <a:lnTo>
                  <a:pt x="3321346" y="3946128"/>
                </a:lnTo>
                <a:lnTo>
                  <a:pt x="3291975" y="3938190"/>
                </a:lnTo>
                <a:lnTo>
                  <a:pt x="3263001" y="3929062"/>
                </a:lnTo>
                <a:lnTo>
                  <a:pt x="3233232" y="3919537"/>
                </a:lnTo>
                <a:lnTo>
                  <a:pt x="3203464" y="3910012"/>
                </a:lnTo>
                <a:lnTo>
                  <a:pt x="3173299" y="3899693"/>
                </a:lnTo>
                <a:lnTo>
                  <a:pt x="3112571" y="3878262"/>
                </a:lnTo>
                <a:lnTo>
                  <a:pt x="3051050" y="3855243"/>
                </a:lnTo>
                <a:lnTo>
                  <a:pt x="2988735" y="3831034"/>
                </a:lnTo>
                <a:lnTo>
                  <a:pt x="2860533" y="3780631"/>
                </a:lnTo>
                <a:lnTo>
                  <a:pt x="818429" y="2887662"/>
                </a:lnTo>
                <a:lnTo>
                  <a:pt x="753733" y="2858294"/>
                </a:lnTo>
                <a:lnTo>
                  <a:pt x="686655" y="2828131"/>
                </a:lnTo>
                <a:lnTo>
                  <a:pt x="617593" y="2797175"/>
                </a:lnTo>
                <a:lnTo>
                  <a:pt x="582665" y="2781300"/>
                </a:lnTo>
                <a:lnTo>
                  <a:pt x="548133" y="2765425"/>
                </a:lnTo>
                <a:lnTo>
                  <a:pt x="513205" y="2748359"/>
                </a:lnTo>
                <a:lnTo>
                  <a:pt x="479071" y="2730897"/>
                </a:lnTo>
                <a:lnTo>
                  <a:pt x="444937" y="2712640"/>
                </a:lnTo>
                <a:lnTo>
                  <a:pt x="410803" y="2694384"/>
                </a:lnTo>
                <a:lnTo>
                  <a:pt x="377859" y="2675334"/>
                </a:lnTo>
                <a:lnTo>
                  <a:pt x="345709" y="2655490"/>
                </a:lnTo>
                <a:lnTo>
                  <a:pt x="313559" y="2634853"/>
                </a:lnTo>
                <a:lnTo>
                  <a:pt x="298080" y="2623740"/>
                </a:lnTo>
                <a:lnTo>
                  <a:pt x="282600" y="2613422"/>
                </a:lnTo>
                <a:lnTo>
                  <a:pt x="267518" y="2602309"/>
                </a:lnTo>
                <a:lnTo>
                  <a:pt x="252832" y="2590800"/>
                </a:lnTo>
                <a:lnTo>
                  <a:pt x="238146" y="2579290"/>
                </a:lnTo>
                <a:lnTo>
                  <a:pt x="223858" y="2567781"/>
                </a:lnTo>
                <a:lnTo>
                  <a:pt x="209569" y="2555875"/>
                </a:lnTo>
                <a:lnTo>
                  <a:pt x="196074" y="2543572"/>
                </a:lnTo>
                <a:lnTo>
                  <a:pt x="182579" y="2530872"/>
                </a:lnTo>
                <a:lnTo>
                  <a:pt x="169878" y="2518569"/>
                </a:lnTo>
                <a:lnTo>
                  <a:pt x="157177" y="2505472"/>
                </a:lnTo>
                <a:lnTo>
                  <a:pt x="144873" y="2491978"/>
                </a:lnTo>
                <a:lnTo>
                  <a:pt x="133362" y="2478484"/>
                </a:lnTo>
                <a:lnTo>
                  <a:pt x="121852" y="2464594"/>
                </a:lnTo>
                <a:lnTo>
                  <a:pt x="110738" y="2450703"/>
                </a:lnTo>
                <a:lnTo>
                  <a:pt x="100419" y="2436019"/>
                </a:lnTo>
                <a:lnTo>
                  <a:pt x="89702" y="2421731"/>
                </a:lnTo>
                <a:lnTo>
                  <a:pt x="80573" y="2406650"/>
                </a:lnTo>
                <a:lnTo>
                  <a:pt x="71047" y="2391172"/>
                </a:lnTo>
                <a:lnTo>
                  <a:pt x="62315" y="2375297"/>
                </a:lnTo>
                <a:lnTo>
                  <a:pt x="54377" y="2359025"/>
                </a:lnTo>
                <a:lnTo>
                  <a:pt x="46439" y="2343150"/>
                </a:lnTo>
                <a:lnTo>
                  <a:pt x="39294" y="2326084"/>
                </a:lnTo>
                <a:lnTo>
                  <a:pt x="32944" y="2309415"/>
                </a:lnTo>
                <a:lnTo>
                  <a:pt x="26990" y="2292350"/>
                </a:lnTo>
                <a:lnTo>
                  <a:pt x="21433" y="2274094"/>
                </a:lnTo>
                <a:lnTo>
                  <a:pt x="16670" y="2256234"/>
                </a:lnTo>
                <a:lnTo>
                  <a:pt x="11908" y="2237978"/>
                </a:lnTo>
                <a:lnTo>
                  <a:pt x="8335" y="2218928"/>
                </a:lnTo>
                <a:lnTo>
                  <a:pt x="5557" y="2199878"/>
                </a:lnTo>
                <a:lnTo>
                  <a:pt x="3176" y="2180034"/>
                </a:lnTo>
                <a:lnTo>
                  <a:pt x="1588" y="2159794"/>
                </a:lnTo>
                <a:lnTo>
                  <a:pt x="397" y="2139553"/>
                </a:lnTo>
                <a:lnTo>
                  <a:pt x="0" y="2118915"/>
                </a:lnTo>
                <a:lnTo>
                  <a:pt x="0" y="1397794"/>
                </a:lnTo>
                <a:lnTo>
                  <a:pt x="0" y="1352153"/>
                </a:lnTo>
                <a:lnTo>
                  <a:pt x="397" y="1307703"/>
                </a:lnTo>
                <a:lnTo>
                  <a:pt x="1985" y="1263253"/>
                </a:lnTo>
                <a:lnTo>
                  <a:pt x="3572" y="1219200"/>
                </a:lnTo>
                <a:lnTo>
                  <a:pt x="6351" y="1176338"/>
                </a:lnTo>
                <a:lnTo>
                  <a:pt x="8335" y="1154509"/>
                </a:lnTo>
                <a:lnTo>
                  <a:pt x="10320" y="1133475"/>
                </a:lnTo>
                <a:lnTo>
                  <a:pt x="13098" y="1112044"/>
                </a:lnTo>
                <a:lnTo>
                  <a:pt x="15877" y="1091009"/>
                </a:lnTo>
                <a:lnTo>
                  <a:pt x="19052" y="1069975"/>
                </a:lnTo>
                <a:lnTo>
                  <a:pt x="23021" y="1048941"/>
                </a:lnTo>
                <a:lnTo>
                  <a:pt x="26990" y="1027906"/>
                </a:lnTo>
                <a:lnTo>
                  <a:pt x="31356" y="1007666"/>
                </a:lnTo>
                <a:lnTo>
                  <a:pt x="36516" y="986631"/>
                </a:lnTo>
                <a:lnTo>
                  <a:pt x="42073" y="965994"/>
                </a:lnTo>
                <a:lnTo>
                  <a:pt x="48026" y="945753"/>
                </a:lnTo>
                <a:lnTo>
                  <a:pt x="54377" y="925513"/>
                </a:lnTo>
                <a:lnTo>
                  <a:pt x="61918" y="905272"/>
                </a:lnTo>
                <a:lnTo>
                  <a:pt x="69856" y="885031"/>
                </a:lnTo>
                <a:lnTo>
                  <a:pt x="77795" y="865188"/>
                </a:lnTo>
                <a:lnTo>
                  <a:pt x="87321" y="845344"/>
                </a:lnTo>
                <a:lnTo>
                  <a:pt x="96846" y="825500"/>
                </a:lnTo>
                <a:lnTo>
                  <a:pt x="107166" y="805656"/>
                </a:lnTo>
                <a:lnTo>
                  <a:pt x="118676" y="786209"/>
                </a:lnTo>
                <a:lnTo>
                  <a:pt x="130981" y="766763"/>
                </a:lnTo>
                <a:lnTo>
                  <a:pt x="143285" y="747713"/>
                </a:lnTo>
                <a:lnTo>
                  <a:pt x="156780" y="728266"/>
                </a:lnTo>
                <a:lnTo>
                  <a:pt x="166703" y="715169"/>
                </a:lnTo>
                <a:lnTo>
                  <a:pt x="176625" y="702469"/>
                </a:lnTo>
                <a:lnTo>
                  <a:pt x="187342" y="689769"/>
                </a:lnTo>
                <a:lnTo>
                  <a:pt x="197265" y="677863"/>
                </a:lnTo>
                <a:lnTo>
                  <a:pt x="208378" y="666353"/>
                </a:lnTo>
                <a:lnTo>
                  <a:pt x="219095" y="654844"/>
                </a:lnTo>
                <a:lnTo>
                  <a:pt x="230208" y="643731"/>
                </a:lnTo>
                <a:lnTo>
                  <a:pt x="241322" y="633016"/>
                </a:lnTo>
                <a:lnTo>
                  <a:pt x="252832" y="622697"/>
                </a:lnTo>
                <a:lnTo>
                  <a:pt x="264343" y="612378"/>
                </a:lnTo>
                <a:lnTo>
                  <a:pt x="276250" y="602853"/>
                </a:lnTo>
                <a:lnTo>
                  <a:pt x="288157" y="593328"/>
                </a:lnTo>
                <a:lnTo>
                  <a:pt x="300065" y="583803"/>
                </a:lnTo>
                <a:lnTo>
                  <a:pt x="312766" y="575072"/>
                </a:lnTo>
                <a:lnTo>
                  <a:pt x="325070" y="566341"/>
                </a:lnTo>
                <a:lnTo>
                  <a:pt x="337374" y="558006"/>
                </a:lnTo>
                <a:lnTo>
                  <a:pt x="350472" y="550069"/>
                </a:lnTo>
                <a:lnTo>
                  <a:pt x="363570" y="542131"/>
                </a:lnTo>
                <a:lnTo>
                  <a:pt x="390163" y="527050"/>
                </a:lnTo>
                <a:lnTo>
                  <a:pt x="417153" y="513159"/>
                </a:lnTo>
                <a:lnTo>
                  <a:pt x="444540" y="499666"/>
                </a:lnTo>
                <a:lnTo>
                  <a:pt x="472324" y="487363"/>
                </a:lnTo>
                <a:lnTo>
                  <a:pt x="500504" y="475853"/>
                </a:lnTo>
                <a:lnTo>
                  <a:pt x="529479" y="465534"/>
                </a:lnTo>
                <a:lnTo>
                  <a:pt x="558850" y="455613"/>
                </a:lnTo>
                <a:lnTo>
                  <a:pt x="588221" y="446088"/>
                </a:lnTo>
                <a:lnTo>
                  <a:pt x="618387" y="437753"/>
                </a:lnTo>
                <a:lnTo>
                  <a:pt x="648155" y="429022"/>
                </a:lnTo>
                <a:lnTo>
                  <a:pt x="678717" y="421481"/>
                </a:lnTo>
                <a:lnTo>
                  <a:pt x="709279" y="414734"/>
                </a:lnTo>
                <a:lnTo>
                  <a:pt x="740238" y="407988"/>
                </a:lnTo>
                <a:lnTo>
                  <a:pt x="771197" y="401638"/>
                </a:lnTo>
                <a:lnTo>
                  <a:pt x="802156" y="395684"/>
                </a:lnTo>
                <a:lnTo>
                  <a:pt x="864471" y="384572"/>
                </a:lnTo>
                <a:lnTo>
                  <a:pt x="926786" y="374650"/>
                </a:lnTo>
                <a:lnTo>
                  <a:pt x="1050622" y="354806"/>
                </a:lnTo>
                <a:lnTo>
                  <a:pt x="3575766" y="5160"/>
                </a:lnTo>
                <a:lnTo>
                  <a:pt x="3594817" y="3175"/>
                </a:lnTo>
                <a:lnTo>
                  <a:pt x="3613472" y="1588"/>
                </a:lnTo>
                <a:lnTo>
                  <a:pt x="3631333" y="397"/>
                </a:lnTo>
                <a:close/>
              </a:path>
            </a:pathLst>
          </a:custGeom>
          <a:solidFill>
            <a:schemeClr val="bg1">
              <a:lumMod val="85000"/>
            </a:schemeClr>
          </a:solidFill>
        </p:spPr>
        <p:txBody>
          <a:bodyPr wrap="square" anchor="ctr">
            <a:noAutofit/>
          </a:bodyPr>
          <a:lstStyle>
            <a:lvl1pPr marL="0" indent="0" algn="ctr">
              <a:buNone/>
              <a:defRPr baseline="0"/>
            </a:lvl1pPr>
          </a:lstStyle>
          <a:p>
            <a:r>
              <a:rPr lang="en-GB"/>
              <a:t>Insert your photo</a:t>
            </a:r>
          </a:p>
        </p:txBody>
      </p:sp>
    </p:spTree>
    <p:extLst>
      <p:ext uri="{BB962C8B-B14F-4D97-AF65-F5344CB8AC3E}">
        <p14:creationId xmlns:p14="http://schemas.microsoft.com/office/powerpoint/2010/main" val="16410182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2"/>
        </a:solidFill>
        <a:effectLst/>
      </p:bgPr>
    </p:bg>
    <p:spTree>
      <p:nvGrpSpPr>
        <p:cNvPr id="1" name=""/>
        <p:cNvGrpSpPr/>
        <p:nvPr/>
      </p:nvGrpSpPr>
      <p:grpSpPr>
        <a:xfrm>
          <a:off x="0" y="0"/>
          <a:ext cx="0" cy="0"/>
          <a:chOff x="0" y="0"/>
          <a:chExt cx="0" cy="0"/>
        </a:xfrm>
      </p:grpSpPr>
      <p:sp>
        <p:nvSpPr>
          <p:cNvPr id="2" name="Rectángulo 1"/>
          <p:cNvSpPr/>
          <p:nvPr userDrawn="1"/>
        </p:nvSpPr>
        <p:spPr>
          <a:xfrm>
            <a:off x="0" y="0"/>
            <a:ext cx="12192000"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a:solidFill>
                <a:srgbClr val="005EB8"/>
              </a:solidFill>
            </a:endParaRPr>
          </a:p>
        </p:txBody>
      </p:sp>
      <p:cxnSp>
        <p:nvCxnSpPr>
          <p:cNvPr id="31" name="Straight Connector 11"/>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4" name="AutoShape 3"/>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56" name="Text Placeholder 23"/>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You can follow us on:</a:t>
            </a:r>
            <a:br>
              <a:rPr lang="en-GB" noProof="0"/>
            </a:br>
            <a:endParaRPr lang="en-GB" noProof="0"/>
          </a:p>
        </p:txBody>
      </p:sp>
      <p:sp>
        <p:nvSpPr>
          <p:cNvPr id="57" name="Text Placeholder 23"/>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err="1"/>
              <a:t>AmadeusITgroup</a:t>
            </a:r>
            <a:endParaRPr lang="en-GB" noProof="0"/>
          </a:p>
        </p:txBody>
      </p:sp>
      <p:sp>
        <p:nvSpPr>
          <p:cNvPr id="58" name="Text Placeholder 23"/>
          <p:cNvSpPr>
            <a:spLocks noGrp="1"/>
          </p:cNvSpPr>
          <p:nvPr>
            <p:ph type="body" sz="quarter" idx="38" hasCustomPrompt="1"/>
          </p:nvPr>
        </p:nvSpPr>
        <p:spPr>
          <a:xfrm>
            <a:off x="376389" y="6298613"/>
            <a:ext cx="1764284"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a:t>amadeus.com</a:t>
            </a:r>
            <a:br>
              <a:rPr lang="en-GB" noProof="0"/>
            </a:br>
            <a:r>
              <a:rPr lang="en-GB" noProof="0"/>
              <a:t>amadeus.com/blog</a:t>
            </a:r>
          </a:p>
        </p:txBody>
      </p:sp>
      <p:sp>
        <p:nvSpPr>
          <p:cNvPr id="1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1" name="Freeform 5"/>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2" name="Freeform 6"/>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3" name="Freeform 7"/>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4" name="Freeform 8"/>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11"/>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nvGrpSpPr>
          <p:cNvPr id="28" name="Grupo 27"/>
          <p:cNvGrpSpPr/>
          <p:nvPr userDrawn="1"/>
        </p:nvGrpSpPr>
        <p:grpSpPr>
          <a:xfrm>
            <a:off x="9621123" y="1122673"/>
            <a:ext cx="2751419" cy="2345067"/>
            <a:chOff x="7842547" y="2093286"/>
            <a:chExt cx="4597521" cy="3918521"/>
          </a:xfrm>
        </p:grpSpPr>
        <p:pic>
          <p:nvPicPr>
            <p:cNvPr id="29" name="Imagen 28"/>
            <p:cNvPicPr>
              <a:picLocks noChangeAspect="1"/>
            </p:cNvPicPr>
            <p:nvPr/>
          </p:nvPicPr>
          <p:blipFill rotWithShape="1">
            <a:blip r:embed="rId2" cstate="screen">
              <a:extLst>
                <a:ext uri="{28A0092B-C50C-407E-A947-70E740481C1C}">
                  <a14:useLocalDpi xmlns:a14="http://schemas.microsoft.com/office/drawing/2010/main"/>
                </a:ext>
              </a:extLst>
            </a:blip>
            <a:srcRect r="61222"/>
            <a:stretch/>
          </p:blipFill>
          <p:spPr>
            <a:xfrm rot="9987682" flipH="1">
              <a:off x="7842547" y="2093286"/>
              <a:ext cx="4597521" cy="3918521"/>
            </a:xfrm>
            <a:prstGeom prst="rect">
              <a:avLst/>
            </a:prstGeom>
          </p:spPr>
        </p:pic>
        <p:sp>
          <p:nvSpPr>
            <p:cNvPr id="30" name="Rectángulo 29"/>
            <p:cNvSpPr/>
            <p:nvPr/>
          </p:nvSpPr>
          <p:spPr>
            <a:xfrm>
              <a:off x="7938183" y="2667925"/>
              <a:ext cx="571500" cy="24638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grpSp>
      <p:pic>
        <p:nvPicPr>
          <p:cNvPr id="32" name="Imagen 3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041575" y="724613"/>
            <a:ext cx="4130427" cy="2354831"/>
          </a:xfrm>
          <a:prstGeom prst="rect">
            <a:avLst/>
          </a:prstGeom>
        </p:spPr>
      </p:pic>
      <p:grpSp>
        <p:nvGrpSpPr>
          <p:cNvPr id="33" name="Grupo 32"/>
          <p:cNvGrpSpPr/>
          <p:nvPr userDrawn="1"/>
        </p:nvGrpSpPr>
        <p:grpSpPr>
          <a:xfrm>
            <a:off x="-723900" y="1120930"/>
            <a:ext cx="8956032" cy="1592011"/>
            <a:chOff x="-12700" y="682078"/>
            <a:chExt cx="8956032" cy="1592011"/>
          </a:xfrm>
        </p:grpSpPr>
        <p:sp>
          <p:nvSpPr>
            <p:cNvPr id="34" name="Forma libre 33"/>
            <p:cNvSpPr/>
            <p:nvPr/>
          </p:nvSpPr>
          <p:spPr>
            <a:xfrm>
              <a:off x="-12700" y="682078"/>
              <a:ext cx="8890000" cy="1592011"/>
            </a:xfrm>
            <a:custGeom>
              <a:avLst/>
              <a:gdLst>
                <a:gd name="connsiteX0" fmla="*/ 0 w 8890000"/>
                <a:gd name="connsiteY0" fmla="*/ 1304132 h 1486839"/>
                <a:gd name="connsiteX1" fmla="*/ 2578100 w 8890000"/>
                <a:gd name="connsiteY1" fmla="*/ 1291432 h 1486839"/>
                <a:gd name="connsiteX2" fmla="*/ 3911600 w 8890000"/>
                <a:gd name="connsiteY2" fmla="*/ 885032 h 1486839"/>
                <a:gd name="connsiteX3" fmla="*/ 4114800 w 8890000"/>
                <a:gd name="connsiteY3" fmla="*/ 97632 h 1486839"/>
                <a:gd name="connsiteX4" fmla="*/ 2908300 w 8890000"/>
                <a:gd name="connsiteY4" fmla="*/ 97632 h 1486839"/>
                <a:gd name="connsiteX5" fmla="*/ 2667000 w 8890000"/>
                <a:gd name="connsiteY5" fmla="*/ 872332 h 1486839"/>
                <a:gd name="connsiteX6" fmla="*/ 3568700 w 8890000"/>
                <a:gd name="connsiteY6" fmla="*/ 1354932 h 1486839"/>
                <a:gd name="connsiteX7" fmla="*/ 5321300 w 8890000"/>
                <a:gd name="connsiteY7" fmla="*/ 1151732 h 1486839"/>
                <a:gd name="connsiteX8" fmla="*/ 7112000 w 8890000"/>
                <a:gd name="connsiteY8" fmla="*/ 1481932 h 1486839"/>
                <a:gd name="connsiteX9" fmla="*/ 8890000 w 8890000"/>
                <a:gd name="connsiteY9" fmla="*/ 846932 h 1486839"/>
                <a:gd name="connsiteX0" fmla="*/ 0 w 8890000"/>
                <a:gd name="connsiteY0" fmla="*/ 1340162 h 1522869"/>
                <a:gd name="connsiteX1" fmla="*/ 2578100 w 8890000"/>
                <a:gd name="connsiteY1" fmla="*/ 1327462 h 1522869"/>
                <a:gd name="connsiteX2" fmla="*/ 3911600 w 8890000"/>
                <a:gd name="connsiteY2" fmla="*/ 921062 h 1522869"/>
                <a:gd name="connsiteX3" fmla="*/ 3956050 w 8890000"/>
                <a:gd name="connsiteY3" fmla="*/ 76512 h 1522869"/>
                <a:gd name="connsiteX4" fmla="*/ 2908300 w 8890000"/>
                <a:gd name="connsiteY4" fmla="*/ 133662 h 1522869"/>
                <a:gd name="connsiteX5" fmla="*/ 2667000 w 8890000"/>
                <a:gd name="connsiteY5" fmla="*/ 908362 h 1522869"/>
                <a:gd name="connsiteX6" fmla="*/ 3568700 w 8890000"/>
                <a:gd name="connsiteY6" fmla="*/ 1390962 h 1522869"/>
                <a:gd name="connsiteX7" fmla="*/ 5321300 w 8890000"/>
                <a:gd name="connsiteY7" fmla="*/ 1187762 h 1522869"/>
                <a:gd name="connsiteX8" fmla="*/ 7112000 w 8890000"/>
                <a:gd name="connsiteY8" fmla="*/ 1517962 h 1522869"/>
                <a:gd name="connsiteX9" fmla="*/ 8890000 w 8890000"/>
                <a:gd name="connsiteY9" fmla="*/ 882962 h 1522869"/>
                <a:gd name="connsiteX0" fmla="*/ 0 w 8890000"/>
                <a:gd name="connsiteY0" fmla="*/ 1395610 h 1578317"/>
                <a:gd name="connsiteX1" fmla="*/ 2578100 w 8890000"/>
                <a:gd name="connsiteY1" fmla="*/ 1382910 h 1578317"/>
                <a:gd name="connsiteX2" fmla="*/ 3911600 w 8890000"/>
                <a:gd name="connsiteY2" fmla="*/ 976510 h 1578317"/>
                <a:gd name="connsiteX3" fmla="*/ 3956050 w 8890000"/>
                <a:gd name="connsiteY3" fmla="*/ 131960 h 1578317"/>
                <a:gd name="connsiteX4" fmla="*/ 2908300 w 8890000"/>
                <a:gd name="connsiteY4" fmla="*/ 189110 h 1578317"/>
                <a:gd name="connsiteX5" fmla="*/ 2667000 w 8890000"/>
                <a:gd name="connsiteY5" fmla="*/ 963810 h 1578317"/>
                <a:gd name="connsiteX6" fmla="*/ 3568700 w 8890000"/>
                <a:gd name="connsiteY6" fmla="*/ 1446410 h 1578317"/>
                <a:gd name="connsiteX7" fmla="*/ 5321300 w 8890000"/>
                <a:gd name="connsiteY7" fmla="*/ 1243210 h 1578317"/>
                <a:gd name="connsiteX8" fmla="*/ 7112000 w 8890000"/>
                <a:gd name="connsiteY8" fmla="*/ 1573410 h 1578317"/>
                <a:gd name="connsiteX9" fmla="*/ 8890000 w 8890000"/>
                <a:gd name="connsiteY9" fmla="*/ 938410 h 1578317"/>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1992"/>
                <a:gd name="connsiteX1" fmla="*/ 2578100 w 8890000"/>
                <a:gd name="connsiteY1" fmla="*/ 1400721 h 1591992"/>
                <a:gd name="connsiteX2" fmla="*/ 3911600 w 8890000"/>
                <a:gd name="connsiteY2" fmla="*/ 994321 h 1591992"/>
                <a:gd name="connsiteX3" fmla="*/ 3956050 w 8890000"/>
                <a:gd name="connsiteY3" fmla="*/ 149771 h 1591992"/>
                <a:gd name="connsiteX4" fmla="*/ 2908300 w 8890000"/>
                <a:gd name="connsiteY4" fmla="*/ 206921 h 1591992"/>
                <a:gd name="connsiteX5" fmla="*/ 2667000 w 8890000"/>
                <a:gd name="connsiteY5" fmla="*/ 981621 h 1591992"/>
                <a:gd name="connsiteX6" fmla="*/ 3587750 w 8890000"/>
                <a:gd name="connsiteY6" fmla="*/ 1546771 h 1591992"/>
                <a:gd name="connsiteX7" fmla="*/ 5511800 w 8890000"/>
                <a:gd name="connsiteY7" fmla="*/ 1095921 h 1591992"/>
                <a:gd name="connsiteX8" fmla="*/ 7112000 w 8890000"/>
                <a:gd name="connsiteY8" fmla="*/ 1591221 h 1591992"/>
                <a:gd name="connsiteX9" fmla="*/ 8890000 w 8890000"/>
                <a:gd name="connsiteY9" fmla="*/ 956221 h 1591992"/>
                <a:gd name="connsiteX0" fmla="*/ 0 w 8890000"/>
                <a:gd name="connsiteY0" fmla="*/ 1413421 h 1592011"/>
                <a:gd name="connsiteX1" fmla="*/ 2578100 w 8890000"/>
                <a:gd name="connsiteY1" fmla="*/ 1400721 h 1592011"/>
                <a:gd name="connsiteX2" fmla="*/ 3911600 w 8890000"/>
                <a:gd name="connsiteY2" fmla="*/ 994321 h 1592011"/>
                <a:gd name="connsiteX3" fmla="*/ 3956050 w 8890000"/>
                <a:gd name="connsiteY3" fmla="*/ 149771 h 1592011"/>
                <a:gd name="connsiteX4" fmla="*/ 2908300 w 8890000"/>
                <a:gd name="connsiteY4" fmla="*/ 206921 h 1592011"/>
                <a:gd name="connsiteX5" fmla="*/ 2667000 w 8890000"/>
                <a:gd name="connsiteY5" fmla="*/ 981621 h 1592011"/>
                <a:gd name="connsiteX6" fmla="*/ 3587750 w 8890000"/>
                <a:gd name="connsiteY6" fmla="*/ 1546771 h 1592011"/>
                <a:gd name="connsiteX7" fmla="*/ 5511800 w 8890000"/>
                <a:gd name="connsiteY7" fmla="*/ 1095921 h 1592011"/>
                <a:gd name="connsiteX8" fmla="*/ 7112000 w 8890000"/>
                <a:gd name="connsiteY8" fmla="*/ 1591221 h 1592011"/>
                <a:gd name="connsiteX9" fmla="*/ 8890000 w 8890000"/>
                <a:gd name="connsiteY9" fmla="*/ 956221 h 159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90000" h="1592011">
                  <a:moveTo>
                    <a:pt x="0" y="1413421"/>
                  </a:moveTo>
                  <a:cubicBezTo>
                    <a:pt x="963083" y="1441996"/>
                    <a:pt x="1926167" y="1470571"/>
                    <a:pt x="2578100" y="1400721"/>
                  </a:cubicBezTo>
                  <a:cubicBezTo>
                    <a:pt x="3230033" y="1330871"/>
                    <a:pt x="3675592" y="1240913"/>
                    <a:pt x="3911600" y="994321"/>
                  </a:cubicBezTo>
                  <a:cubicBezTo>
                    <a:pt x="4147608" y="747729"/>
                    <a:pt x="4269317" y="408004"/>
                    <a:pt x="3956050" y="149771"/>
                  </a:cubicBezTo>
                  <a:cubicBezTo>
                    <a:pt x="3642783" y="-108462"/>
                    <a:pt x="3154892" y="4779"/>
                    <a:pt x="2908300" y="206921"/>
                  </a:cubicBezTo>
                  <a:cubicBezTo>
                    <a:pt x="2661708" y="409063"/>
                    <a:pt x="2553758" y="758313"/>
                    <a:pt x="2667000" y="981621"/>
                  </a:cubicBezTo>
                  <a:cubicBezTo>
                    <a:pt x="2780242" y="1204929"/>
                    <a:pt x="3113617" y="1527721"/>
                    <a:pt x="3587750" y="1546771"/>
                  </a:cubicBezTo>
                  <a:cubicBezTo>
                    <a:pt x="4061883" y="1565821"/>
                    <a:pt x="4695825" y="1075813"/>
                    <a:pt x="5511800" y="1095921"/>
                  </a:cubicBezTo>
                  <a:cubicBezTo>
                    <a:pt x="6327775" y="1116029"/>
                    <a:pt x="6548967" y="1614504"/>
                    <a:pt x="7112000" y="1591221"/>
                  </a:cubicBezTo>
                  <a:cubicBezTo>
                    <a:pt x="7675033" y="1567938"/>
                    <a:pt x="8298391" y="1248321"/>
                    <a:pt x="8890000" y="956221"/>
                  </a:cubicBezTo>
                </a:path>
              </a:pathLst>
            </a:custGeom>
            <a:noFill/>
            <a:ln w="19050">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5" name="Medio marco 34"/>
            <p:cNvSpPr/>
            <p:nvPr/>
          </p:nvSpPr>
          <p:spPr>
            <a:xfrm rot="6898098">
              <a:off x="8778264" y="1561890"/>
              <a:ext cx="165068" cy="165068"/>
            </a:xfrm>
            <a:prstGeom prst="halfFrame">
              <a:avLst>
                <a:gd name="adj1" fmla="val 12626"/>
                <a:gd name="adj2" fmla="val 1290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5EB8"/>
                </a:solidFill>
              </a:endParaRPr>
            </a:p>
          </p:txBody>
        </p:sp>
      </p:grpSp>
      <p:sp>
        <p:nvSpPr>
          <p:cNvPr id="36" name="Title 1"/>
          <p:cNvSpPr>
            <a:spLocks noGrp="1"/>
          </p:cNvSpPr>
          <p:nvPr>
            <p:ph type="title" hasCustomPrompt="1"/>
          </p:nvPr>
        </p:nvSpPr>
        <p:spPr>
          <a:xfrm>
            <a:off x="115760" y="3533669"/>
            <a:ext cx="10057015" cy="622000"/>
          </a:xfrm>
        </p:spPr>
        <p:txBody>
          <a:bodyPr anchor="b"/>
          <a:lstStyle>
            <a:lvl1pPr algn="r">
              <a:lnSpc>
                <a:spcPct val="100000"/>
              </a:lnSpc>
              <a:defRPr sz="3600" baseline="0">
                <a:solidFill>
                  <a:schemeClr val="bg1"/>
                </a:solidFill>
                <a:latin typeface="+mj-lt"/>
              </a:defRPr>
            </a:lvl1pPr>
          </a:lstStyle>
          <a:p>
            <a:r>
              <a:rPr lang="en-GB" noProof="0"/>
              <a:t>Insert here your thank you</a:t>
            </a:r>
          </a:p>
        </p:txBody>
      </p:sp>
      <p:sp>
        <p:nvSpPr>
          <p:cNvPr id="37" name="TextBox 36"/>
          <p:cNvSpPr txBox="1"/>
          <p:nvPr userDrawn="1"/>
        </p:nvSpPr>
        <p:spPr>
          <a:xfrm>
            <a:off x="6809695" y="6444921"/>
            <a:ext cx="3942687" cy="276999"/>
          </a:xfrm>
          <a:prstGeom prst="rect">
            <a:avLst/>
          </a:prstGeom>
          <a:noFill/>
        </p:spPr>
        <p:txBody>
          <a:bodyPr wrap="square" rtlCol="0">
            <a:spAutoFit/>
          </a:bodyPr>
          <a:lstStyle/>
          <a:p>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38" name="Picture 37"/>
          <p:cNvPicPr>
            <a:picLocks noChangeAspect="1"/>
          </p:cNvPicPr>
          <p:nvPr userDrawn="1"/>
        </p:nvPicPr>
        <p:blipFill>
          <a:blip r:embed="rId4" cstate="screen">
            <a:biLevel thresh="25000"/>
            <a:extLst>
              <a:ext uri="{28A0092B-C50C-407E-A947-70E740481C1C}">
                <a14:useLocalDpi xmlns:a14="http://schemas.microsoft.com/office/drawing/2010/main"/>
              </a:ext>
            </a:extLst>
          </a:blip>
          <a:stretch>
            <a:fillRect/>
          </a:stretch>
        </p:blipFill>
        <p:spPr>
          <a:xfrm flipH="1">
            <a:off x="6584655" y="6402113"/>
            <a:ext cx="254224" cy="254224"/>
          </a:xfrm>
          <a:prstGeom prst="rect">
            <a:avLst/>
          </a:prstGeom>
        </p:spPr>
      </p:pic>
    </p:spTree>
    <p:extLst>
      <p:ext uri="{BB962C8B-B14F-4D97-AF65-F5344CB8AC3E}">
        <p14:creationId xmlns:p14="http://schemas.microsoft.com/office/powerpoint/2010/main" val="1840343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with photo background 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l">
              <a:buNone/>
              <a:defRPr sz="1800" b="1" baseline="0"/>
            </a:lvl1pPr>
          </a:lstStyle>
          <a:p>
            <a:r>
              <a:rPr lang="en-GB" noProof="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 name="Text Placeholder 97"/>
          <p:cNvSpPr>
            <a:spLocks noGrp="1"/>
          </p:cNvSpPr>
          <p:nvPr>
            <p:ph type="body" sz="quarter" idx="15" hasCustomPrompt="1"/>
          </p:nvPr>
        </p:nvSpPr>
        <p:spPr>
          <a:xfrm>
            <a:off x="7970109" y="5287278"/>
            <a:ext cx="3541587"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31" name="Title 1"/>
          <p:cNvSpPr>
            <a:spLocks noGrp="1"/>
          </p:cNvSpPr>
          <p:nvPr>
            <p:ph type="title" hasCustomPrompt="1"/>
          </p:nvPr>
        </p:nvSpPr>
        <p:spPr>
          <a:xfrm>
            <a:off x="6022110" y="2458245"/>
            <a:ext cx="5489593" cy="1727779"/>
          </a:xfrm>
        </p:spPr>
        <p:txBody>
          <a:bodyPr anchor="b"/>
          <a:lstStyle>
            <a:lvl1pPr algn="r">
              <a:lnSpc>
                <a:spcPct val="100000"/>
              </a:lnSpc>
              <a:defRPr baseline="0">
                <a:solidFill>
                  <a:schemeClr val="bg1"/>
                </a:solidFill>
                <a:latin typeface="+mj-lt"/>
              </a:defRPr>
            </a:lvl1pPr>
          </a:lstStyle>
          <a:p>
            <a:r>
              <a:rPr lang="en-GB" noProof="0"/>
              <a:t>Add your title here</a:t>
            </a:r>
          </a:p>
        </p:txBody>
      </p:sp>
      <p:sp>
        <p:nvSpPr>
          <p:cNvPr id="32" name="Text Placeholder 19"/>
          <p:cNvSpPr>
            <a:spLocks noGrp="1"/>
          </p:cNvSpPr>
          <p:nvPr>
            <p:ph type="body" sz="quarter" idx="13" hasCustomPrompt="1"/>
          </p:nvPr>
        </p:nvSpPr>
        <p:spPr>
          <a:xfrm>
            <a:off x="6021664" y="4373324"/>
            <a:ext cx="5490033" cy="498992"/>
          </a:xfrm>
          <a:prstGeom prst="rect">
            <a:avLst/>
          </a:prstGeom>
        </p:spPr>
        <p:txBody>
          <a:bodyPr>
            <a:noAutofit/>
          </a:bodyPr>
          <a:lstStyle>
            <a:lvl1pPr marL="0" indent="0" algn="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10" name="TextBox 9"/>
          <p:cNvSpPr txBox="1"/>
          <p:nvPr userDrawn="1"/>
        </p:nvSpPr>
        <p:spPr>
          <a:xfrm>
            <a:off x="7594886" y="6459588"/>
            <a:ext cx="3942687" cy="276999"/>
          </a:xfrm>
          <a:prstGeom prst="rect">
            <a:avLst/>
          </a:prstGeom>
          <a:noFill/>
        </p:spPr>
        <p:txBody>
          <a:bodyPr wrap="square" rtlCol="0">
            <a:spAutoFit/>
          </a:bodyPr>
          <a:lstStyle/>
          <a:p>
            <a:pPr algn="r"/>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2" name="Picture 11"/>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flipH="1">
            <a:off x="7369846" y="6416780"/>
            <a:ext cx="254224" cy="254224"/>
          </a:xfrm>
          <a:prstGeom prst="rect">
            <a:avLst/>
          </a:prstGeom>
        </p:spPr>
      </p:pic>
    </p:spTree>
    <p:extLst>
      <p:ext uri="{BB962C8B-B14F-4D97-AF65-F5344CB8AC3E}">
        <p14:creationId xmlns:p14="http://schemas.microsoft.com/office/powerpoint/2010/main" val="1879781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with photo ll">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4" name="Title 1"/>
          <p:cNvSpPr>
            <a:spLocks noGrp="1"/>
          </p:cNvSpPr>
          <p:nvPr>
            <p:ph type="title" hasCustomPrompt="1"/>
          </p:nvPr>
        </p:nvSpPr>
        <p:spPr>
          <a:xfrm>
            <a:off x="6807837" y="1160165"/>
            <a:ext cx="4601584" cy="1325563"/>
          </a:xfrm>
        </p:spPr>
        <p:txBody>
          <a:bodyPr anchor="b"/>
          <a:lstStyle>
            <a:lvl1pPr algn="r">
              <a:lnSpc>
                <a:spcPct val="100000"/>
              </a:lnSpc>
              <a:defRPr baseline="0">
                <a:solidFill>
                  <a:schemeClr val="bg1"/>
                </a:solidFill>
                <a:latin typeface="+mj-lt"/>
              </a:defRPr>
            </a:lvl1pPr>
          </a:lstStyle>
          <a:p>
            <a:r>
              <a:rPr lang="en-GB" noProof="0"/>
              <a:t>Add your title here</a:t>
            </a:r>
          </a:p>
        </p:txBody>
      </p:sp>
      <p:sp>
        <p:nvSpPr>
          <p:cNvPr id="15" name="Text Placeholder 19"/>
          <p:cNvSpPr>
            <a:spLocks noGrp="1"/>
          </p:cNvSpPr>
          <p:nvPr>
            <p:ph type="body" sz="quarter" idx="13" hasCustomPrompt="1"/>
          </p:nvPr>
        </p:nvSpPr>
        <p:spPr>
          <a:xfrm>
            <a:off x="6807261" y="2698787"/>
            <a:ext cx="4602163" cy="978910"/>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9" name="Text Placeholder 97"/>
          <p:cNvSpPr>
            <a:spLocks noGrp="1"/>
          </p:cNvSpPr>
          <p:nvPr>
            <p:ph type="body" sz="quarter" idx="15" hasCustomPrompt="1"/>
          </p:nvPr>
        </p:nvSpPr>
        <p:spPr>
          <a:xfrm>
            <a:off x="8790229" y="5032983"/>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GB" noProof="0"/>
              <a:t>Insert Author, </a:t>
            </a:r>
            <a:br>
              <a:rPr lang="en-GB" noProof="0"/>
            </a:br>
            <a:r>
              <a:rPr lang="en-GB" noProof="0"/>
              <a:t>department, </a:t>
            </a:r>
            <a:br>
              <a:rPr lang="en-GB" noProof="0"/>
            </a:br>
            <a:r>
              <a:rPr lang="en-GB" noProof="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12" name="Marcador de posición de imagen 34"/>
          <p:cNvSpPr>
            <a:spLocks noGrp="1"/>
          </p:cNvSpPr>
          <p:nvPr>
            <p:ph type="pic" sz="quarter" idx="16" hasCustomPrompt="1"/>
          </p:nvPr>
        </p:nvSpPr>
        <p:spPr>
          <a:xfrm>
            <a:off x="-6547" y="1160164"/>
            <a:ext cx="4999609" cy="5774817"/>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wrap="square" anchor="ctr">
            <a:noAutofit/>
          </a:bodyPr>
          <a:lstStyle>
            <a:lvl1pPr marL="0" indent="0" algn="ctr">
              <a:buNone/>
              <a:defRPr baseline="0"/>
            </a:lvl1pPr>
          </a:lstStyle>
          <a:p>
            <a:br>
              <a:rPr lang="en-GB" noProof="0"/>
            </a:br>
            <a:br>
              <a:rPr lang="en-GB" noProof="0"/>
            </a:br>
            <a:br>
              <a:rPr lang="en-GB" noProof="0"/>
            </a:br>
            <a:br>
              <a:rPr lang="en-GB" noProof="0"/>
            </a:br>
            <a:r>
              <a:rPr lang="en-GB" noProof="0"/>
              <a:t>Insert your picture here</a:t>
            </a:r>
          </a:p>
        </p:txBody>
      </p:sp>
      <p:sp>
        <p:nvSpPr>
          <p:cNvPr id="32"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10" name="TextBox 9"/>
          <p:cNvSpPr txBox="1"/>
          <p:nvPr userDrawn="1"/>
        </p:nvSpPr>
        <p:spPr>
          <a:xfrm>
            <a:off x="7594886" y="6459588"/>
            <a:ext cx="3942687" cy="276999"/>
          </a:xfrm>
          <a:prstGeom prst="rect">
            <a:avLst/>
          </a:prstGeom>
          <a:noFill/>
        </p:spPr>
        <p:txBody>
          <a:bodyPr wrap="square" rtlCol="0">
            <a:spAutoFit/>
          </a:bodyPr>
          <a:lstStyle/>
          <a:p>
            <a:pPr algn="r"/>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1" name="Picture 10"/>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flipH="1">
            <a:off x="7429480" y="6416780"/>
            <a:ext cx="254224" cy="254224"/>
          </a:xfrm>
          <a:prstGeom prst="rect">
            <a:avLst/>
          </a:prstGeom>
        </p:spPr>
      </p:pic>
    </p:spTree>
    <p:extLst>
      <p:ext uri="{BB962C8B-B14F-4D97-AF65-F5344CB8AC3E}">
        <p14:creationId xmlns:p14="http://schemas.microsoft.com/office/powerpoint/2010/main" val="34355858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NO photo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1" name="Freeform 5"/>
          <p:cNvSpPr>
            <a:spLocks/>
          </p:cNvSpPr>
          <p:nvPr userDrawn="1"/>
        </p:nvSpPr>
        <p:spPr bwMode="auto">
          <a:xfrm>
            <a:off x="3081003" y="996683"/>
            <a:ext cx="8241679" cy="5879190"/>
          </a:xfrm>
          <a:custGeom>
            <a:avLst/>
            <a:gdLst>
              <a:gd name="T0" fmla="*/ 1104 w 1265"/>
              <a:gd name="T1" fmla="*/ 110 h 903"/>
              <a:gd name="T2" fmla="*/ 427 w 1265"/>
              <a:gd name="T3" fmla="*/ 25 h 903"/>
              <a:gd name="T4" fmla="*/ 169 w 1265"/>
              <a:gd name="T5" fmla="*/ 59 h 903"/>
              <a:gd name="T6" fmla="*/ 169 w 1265"/>
              <a:gd name="T7" fmla="*/ 59 h 903"/>
              <a:gd name="T8" fmla="*/ 169 w 1265"/>
              <a:gd name="T9" fmla="*/ 59 h 903"/>
              <a:gd name="T10" fmla="*/ 82 w 1265"/>
              <a:gd name="T11" fmla="*/ 221 h 903"/>
              <a:gd name="T12" fmla="*/ 32 w 1265"/>
              <a:gd name="T13" fmla="*/ 407 h 903"/>
              <a:gd name="T14" fmla="*/ 190 w 1265"/>
              <a:gd name="T15" fmla="*/ 663 h 903"/>
              <a:gd name="T16" fmla="*/ 489 w 1265"/>
              <a:gd name="T17" fmla="*/ 903 h 903"/>
              <a:gd name="T18" fmla="*/ 1129 w 1265"/>
              <a:gd name="T19" fmla="*/ 903 h 903"/>
              <a:gd name="T20" fmla="*/ 1247 w 1265"/>
              <a:gd name="T21" fmla="*/ 327 h 903"/>
              <a:gd name="T22" fmla="*/ 1104 w 1265"/>
              <a:gd name="T23" fmla="*/ 11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5" h="903">
                <a:moveTo>
                  <a:pt x="1104" y="110"/>
                </a:moveTo>
                <a:cubicBezTo>
                  <a:pt x="427" y="25"/>
                  <a:pt x="427" y="25"/>
                  <a:pt x="427" y="25"/>
                </a:cubicBezTo>
                <a:cubicBezTo>
                  <a:pt x="338" y="16"/>
                  <a:pt x="243" y="0"/>
                  <a:pt x="169" y="59"/>
                </a:cubicBezTo>
                <a:cubicBezTo>
                  <a:pt x="169" y="59"/>
                  <a:pt x="169" y="59"/>
                  <a:pt x="169" y="59"/>
                </a:cubicBezTo>
                <a:cubicBezTo>
                  <a:pt x="169" y="59"/>
                  <a:pt x="169" y="59"/>
                  <a:pt x="169" y="59"/>
                </a:cubicBezTo>
                <a:cubicBezTo>
                  <a:pt x="117" y="101"/>
                  <a:pt x="99" y="158"/>
                  <a:pt x="82" y="221"/>
                </a:cubicBezTo>
                <a:cubicBezTo>
                  <a:pt x="32" y="407"/>
                  <a:pt x="32" y="407"/>
                  <a:pt x="32" y="407"/>
                </a:cubicBezTo>
                <a:cubicBezTo>
                  <a:pt x="0" y="523"/>
                  <a:pt x="113" y="599"/>
                  <a:pt x="190" y="663"/>
                </a:cubicBezTo>
                <a:cubicBezTo>
                  <a:pt x="190" y="663"/>
                  <a:pt x="355" y="796"/>
                  <a:pt x="489" y="903"/>
                </a:cubicBezTo>
                <a:cubicBezTo>
                  <a:pt x="1129" y="903"/>
                  <a:pt x="1129" y="903"/>
                  <a:pt x="1129" y="903"/>
                </a:cubicBezTo>
                <a:cubicBezTo>
                  <a:pt x="1247" y="327"/>
                  <a:pt x="1247" y="327"/>
                  <a:pt x="1247" y="327"/>
                </a:cubicBezTo>
                <a:cubicBezTo>
                  <a:pt x="1265" y="222"/>
                  <a:pt x="1211" y="126"/>
                  <a:pt x="1104" y="1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2235201" y="1801092"/>
            <a:ext cx="7467796" cy="1913318"/>
          </a:xfrm>
        </p:spPr>
        <p:txBody>
          <a:bodyPr anchor="b"/>
          <a:lstStyle>
            <a:lvl1pPr algn="r">
              <a:lnSpc>
                <a:spcPct val="100000"/>
              </a:lnSpc>
              <a:defRPr baseline="0">
                <a:solidFill>
                  <a:schemeClr val="tx2"/>
                </a:solidFill>
                <a:latin typeface="+mj-lt"/>
              </a:defRPr>
            </a:lvl1pPr>
          </a:lstStyle>
          <a:p>
            <a:r>
              <a:rPr lang="en-GB" noProof="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aseline="0">
                <a:solidFill>
                  <a:srgbClr val="323232"/>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3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13" name="TextBox 12"/>
          <p:cNvSpPr txBox="1"/>
          <p:nvPr userDrawn="1"/>
        </p:nvSpPr>
        <p:spPr>
          <a:xfrm>
            <a:off x="576472" y="6498269"/>
            <a:ext cx="3942687" cy="276999"/>
          </a:xfrm>
          <a:prstGeom prst="rect">
            <a:avLst/>
          </a:prstGeom>
          <a:noFill/>
        </p:spPr>
        <p:txBody>
          <a:bodyPr wrap="square" rtlCol="0">
            <a:spAutoFit/>
          </a:bodyPr>
          <a:lstStyle/>
          <a:p>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5" name="Picture 14"/>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flipH="1">
            <a:off x="4398708" y="6431234"/>
            <a:ext cx="254224" cy="254224"/>
          </a:xfrm>
          <a:prstGeom prst="rect">
            <a:avLst/>
          </a:prstGeom>
        </p:spPr>
      </p:pic>
    </p:spTree>
    <p:extLst>
      <p:ext uri="{BB962C8B-B14F-4D97-AF65-F5344CB8AC3E}">
        <p14:creationId xmlns:p14="http://schemas.microsoft.com/office/powerpoint/2010/main" val="13422307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NO photo l">
    <p:bg>
      <p:bgPr>
        <a:solidFill>
          <a:schemeClr val="bg1"/>
        </a:solidFill>
        <a:effectLst/>
      </p:bgPr>
    </p:bg>
    <p:spTree>
      <p:nvGrpSpPr>
        <p:cNvPr id="1" name=""/>
        <p:cNvGrpSpPr/>
        <p:nvPr/>
      </p:nvGrpSpPr>
      <p:grpSpPr>
        <a:xfrm>
          <a:off x="0" y="0"/>
          <a:ext cx="0" cy="0"/>
          <a:chOff x="0" y="0"/>
          <a:chExt cx="0" cy="0"/>
        </a:xfrm>
      </p:grpSpPr>
      <p:sp>
        <p:nvSpPr>
          <p:cNvPr id="13" name="Rectangle 1"/>
          <p:cNvSpPr/>
          <p:nvPr userDrawn="1"/>
        </p:nvSpPr>
        <p:spPr>
          <a:xfrm>
            <a:off x="1905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1" name="Freeform 5"/>
          <p:cNvSpPr>
            <a:spLocks/>
          </p:cNvSpPr>
          <p:nvPr userDrawn="1"/>
        </p:nvSpPr>
        <p:spPr bwMode="auto">
          <a:xfrm>
            <a:off x="-21430" y="0"/>
            <a:ext cx="6740885" cy="6858000"/>
          </a:xfrm>
          <a:custGeom>
            <a:avLst/>
            <a:gdLst>
              <a:gd name="T0" fmla="*/ 1140 w 1200"/>
              <a:gd name="T1" fmla="*/ 388 h 988"/>
              <a:gd name="T2" fmla="*/ 1140 w 1200"/>
              <a:gd name="T3" fmla="*/ 388 h 988"/>
              <a:gd name="T4" fmla="*/ 1069 w 1200"/>
              <a:gd name="T5" fmla="*/ 7 h 988"/>
              <a:gd name="T6" fmla="*/ 1062 w 1200"/>
              <a:gd name="T7" fmla="*/ 0 h 988"/>
              <a:gd name="T8" fmla="*/ 0 w 1200"/>
              <a:gd name="T9" fmla="*/ 0 h 988"/>
              <a:gd name="T10" fmla="*/ 0 w 1200"/>
              <a:gd name="T11" fmla="*/ 988 h 988"/>
              <a:gd name="T12" fmla="*/ 479 w 1200"/>
              <a:gd name="T13" fmla="*/ 988 h 988"/>
              <a:gd name="T14" fmla="*/ 986 w 1200"/>
              <a:gd name="T15" fmla="*/ 561 h 988"/>
              <a:gd name="T16" fmla="*/ 1140 w 1200"/>
              <a:gd name="T17" fmla="*/ 3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0" h="988">
                <a:moveTo>
                  <a:pt x="1140" y="388"/>
                </a:moveTo>
                <a:cubicBezTo>
                  <a:pt x="1140" y="388"/>
                  <a:pt x="1140" y="388"/>
                  <a:pt x="1140" y="388"/>
                </a:cubicBezTo>
                <a:cubicBezTo>
                  <a:pt x="1200" y="262"/>
                  <a:pt x="1167" y="104"/>
                  <a:pt x="1069" y="7"/>
                </a:cubicBezTo>
                <a:cubicBezTo>
                  <a:pt x="1067" y="4"/>
                  <a:pt x="1064" y="2"/>
                  <a:pt x="1062" y="0"/>
                </a:cubicBezTo>
                <a:cubicBezTo>
                  <a:pt x="0" y="0"/>
                  <a:pt x="0" y="0"/>
                  <a:pt x="0" y="0"/>
                </a:cubicBezTo>
                <a:cubicBezTo>
                  <a:pt x="0" y="988"/>
                  <a:pt x="0" y="988"/>
                  <a:pt x="0" y="988"/>
                </a:cubicBezTo>
                <a:cubicBezTo>
                  <a:pt x="479" y="988"/>
                  <a:pt x="479" y="988"/>
                  <a:pt x="479" y="988"/>
                </a:cubicBezTo>
                <a:cubicBezTo>
                  <a:pt x="986" y="561"/>
                  <a:pt x="986" y="561"/>
                  <a:pt x="986" y="561"/>
                </a:cubicBezTo>
                <a:cubicBezTo>
                  <a:pt x="1045" y="511"/>
                  <a:pt x="1105" y="463"/>
                  <a:pt x="1140" y="388"/>
                </a:cubicBezTo>
                <a:close/>
              </a:path>
            </a:pathLst>
          </a:custGeom>
          <a:gradFill>
            <a:gsLst>
              <a:gs pos="0">
                <a:srgbClr val="005EB8"/>
              </a:gs>
              <a:gs pos="100000">
                <a:srgbClr val="00A9E0">
                  <a:alpha val="70999"/>
                </a:srgbClr>
              </a:gs>
            </a:gsLst>
            <a:lin ang="5400000" scaled="1"/>
          </a:gradFill>
          <a:ln>
            <a:noFill/>
          </a:ln>
        </p:spPr>
        <p:txBody>
          <a:bodyPr vert="horz" wrap="square" lIns="68580" tIns="34290" rIns="68580" bIns="34290" numCol="1" anchor="t" anchorCtr="0" compatLnSpc="1">
            <a:prstTxWarp prst="textNoShape">
              <a:avLst/>
            </a:prstTxWarp>
          </a:bodyPr>
          <a:lstStyle/>
          <a:p>
            <a:endParaRPr lang="en-GB" sz="1350">
              <a:solidFill>
                <a:srgbClr val="005EB8"/>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6" name="Title 1"/>
          <p:cNvSpPr>
            <a:spLocks noGrp="1"/>
          </p:cNvSpPr>
          <p:nvPr>
            <p:ph type="title" hasCustomPrompt="1"/>
          </p:nvPr>
        </p:nvSpPr>
        <p:spPr>
          <a:xfrm>
            <a:off x="950456" y="549276"/>
            <a:ext cx="5877064" cy="3213981"/>
          </a:xfrm>
        </p:spPr>
        <p:txBody>
          <a:bodyPr anchor="b"/>
          <a:lstStyle>
            <a:lvl1pPr algn="l">
              <a:lnSpc>
                <a:spcPct val="100000"/>
              </a:lnSpc>
              <a:defRPr baseline="0">
                <a:solidFill>
                  <a:schemeClr val="bg1"/>
                </a:solidFill>
                <a:latin typeface="+mj-lt"/>
              </a:defRPr>
            </a:lvl1pPr>
          </a:lstStyle>
          <a:p>
            <a:r>
              <a:rPr lang="en-GB" noProof="0"/>
              <a:t>Add your title here</a:t>
            </a:r>
          </a:p>
        </p:txBody>
      </p:sp>
      <p:sp>
        <p:nvSpPr>
          <p:cNvPr id="17" name="Text Placeholder 19"/>
          <p:cNvSpPr>
            <a:spLocks noGrp="1"/>
          </p:cNvSpPr>
          <p:nvPr>
            <p:ph type="body" sz="quarter" idx="13" hasCustomPrompt="1"/>
          </p:nvPr>
        </p:nvSpPr>
        <p:spPr>
          <a:xfrm>
            <a:off x="950249" y="3863657"/>
            <a:ext cx="4231352" cy="1045757"/>
          </a:xfrm>
          <a:prstGeom prst="rect">
            <a:avLst/>
          </a:prstGeom>
        </p:spPr>
        <p:txBody>
          <a:bodyPr>
            <a:noAutofit/>
          </a:bodyPr>
          <a:lstStyle>
            <a:lvl1pPr marL="0" indent="0" algn="l">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a:t>Insert your subheading here to support your heading</a:t>
            </a:r>
          </a:p>
        </p:txBody>
      </p:sp>
      <p:sp>
        <p:nvSpPr>
          <p:cNvPr id="18" name="Text Placeholder 97"/>
          <p:cNvSpPr>
            <a:spLocks noGrp="1"/>
          </p:cNvSpPr>
          <p:nvPr>
            <p:ph type="body" sz="quarter" idx="16" hasCustomPrompt="1"/>
          </p:nvPr>
        </p:nvSpPr>
        <p:spPr>
          <a:xfrm>
            <a:off x="950258" y="5438785"/>
            <a:ext cx="2619201" cy="1058862"/>
          </a:xfrm>
          <a:prstGeom prst="rect">
            <a:avLst/>
          </a:prstGeom>
        </p:spPr>
        <p:txBody>
          <a:bodyPr anchor="b">
            <a:normAutofit/>
          </a:bodyPr>
          <a:lstStyle>
            <a:lvl1pPr marL="0" indent="0" algn="l">
              <a:lnSpc>
                <a:spcPct val="100000"/>
              </a:lnSpc>
              <a:spcBef>
                <a:spcPts val="0"/>
              </a:spcBef>
              <a:buNone/>
              <a:defRPr sz="1200" baseline="0">
                <a:solidFill>
                  <a:schemeClr val="bg1"/>
                </a:solidFill>
              </a:defRPr>
            </a:lvl1pPr>
          </a:lstStyle>
          <a:p>
            <a:pPr lvl="0"/>
            <a:r>
              <a:rPr lang="en-GB" noProof="0"/>
              <a:t>Insert Author, </a:t>
            </a:r>
            <a:br>
              <a:rPr lang="en-GB" noProof="0"/>
            </a:br>
            <a:r>
              <a:rPr lang="en-GB" noProof="0"/>
              <a:t>department, </a:t>
            </a:r>
            <a:br>
              <a:rPr lang="en-GB" noProof="0"/>
            </a:br>
            <a:r>
              <a:rPr lang="en-GB" noProof="0"/>
              <a:t>date, plac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34"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7392898" y="6402113"/>
            <a:ext cx="254224" cy="254224"/>
          </a:xfrm>
          <a:prstGeom prst="rect">
            <a:avLst/>
          </a:prstGeom>
        </p:spPr>
      </p:pic>
      <p:sp>
        <p:nvSpPr>
          <p:cNvPr id="22" name="TextBox 21"/>
          <p:cNvSpPr txBox="1"/>
          <p:nvPr userDrawn="1"/>
        </p:nvSpPr>
        <p:spPr>
          <a:xfrm>
            <a:off x="7594886" y="6459588"/>
            <a:ext cx="3942687" cy="276999"/>
          </a:xfrm>
          <a:prstGeom prst="rect">
            <a:avLst/>
          </a:prstGeom>
          <a:noFill/>
        </p:spPr>
        <p:txBody>
          <a:bodyPr wrap="square" rtlCol="0">
            <a:spAutoFit/>
          </a:bodyPr>
          <a:lstStyle/>
          <a:p>
            <a:pPr algn="r"/>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spTree>
    <p:extLst>
      <p:ext uri="{BB962C8B-B14F-4D97-AF65-F5344CB8AC3E}">
        <p14:creationId xmlns:p14="http://schemas.microsoft.com/office/powerpoint/2010/main" val="2171637691"/>
      </p:ext>
    </p:extLst>
  </p:cSld>
  <p:clrMapOvr>
    <a:masterClrMapping/>
  </p:clrMapOvr>
  <p:extLst mod="1">
    <p:ext uri="{DCECCB84-F9BA-43D5-87BE-67443E8EF086}">
      <p15:sldGuideLst xmlns:p15="http://schemas.microsoft.com/office/powerpoint/2012/main">
        <p15:guide id="1" orient="horz" pos="4065">
          <p15:clr>
            <a:srgbClr val="FBAE40"/>
          </p15:clr>
        </p15:guide>
        <p15:guide id="2" orient="horz" pos="34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srgbClr val="FFFFFF"/>
              </a:solidFill>
            </a:endParaRPr>
          </a:p>
        </p:txBody>
      </p:sp>
      <p:sp>
        <p:nvSpPr>
          <p:cNvPr id="100" name="Picture Placeholder 99"/>
          <p:cNvSpPr>
            <a:spLocks noGrp="1"/>
          </p:cNvSpPr>
          <p:nvPr>
            <p:ph type="pic" sz="quarter" idx="14" hasCustomPrompt="1"/>
          </p:nvPr>
        </p:nvSpPr>
        <p:spPr>
          <a:xfrm>
            <a:off x="-6348" y="1436912"/>
            <a:ext cx="12198351" cy="5421092"/>
          </a:xfrm>
          <a:custGeom>
            <a:avLst/>
            <a:gdLst>
              <a:gd name="connsiteX0" fmla="*/ 12198350 w 12198350"/>
              <a:gd name="connsiteY0" fmla="*/ 0 h 6303963"/>
              <a:gd name="connsiteX1" fmla="*/ 12198350 w 12198350"/>
              <a:gd name="connsiteY1" fmla="*/ 6303963 h 6303963"/>
              <a:gd name="connsiteX2" fmla="*/ 0 w 12198350"/>
              <a:gd name="connsiteY2" fmla="*/ 6303963 h 6303963"/>
              <a:gd name="connsiteX3" fmla="*/ 0 w 12198350"/>
              <a:gd name="connsiteY3" fmla="*/ 2020586 h 6303963"/>
              <a:gd name="connsiteX4" fmla="*/ 3333463 w 12198350"/>
              <a:gd name="connsiteY4" fmla="*/ 3978132 h 6303963"/>
              <a:gd name="connsiteX5" fmla="*/ 12121986 w 12198350"/>
              <a:gd name="connsiteY5" fmla="*/ 23225 h 6303963"/>
              <a:gd name="connsiteX6" fmla="*/ 12125306 w 12198350"/>
              <a:gd name="connsiteY6" fmla="*/ 23225 h 6303963"/>
              <a:gd name="connsiteX7" fmla="*/ 12198350 w 12198350"/>
              <a:gd name="connsiteY7" fmla="*/ 0 h 630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03963">
                <a:moveTo>
                  <a:pt x="12198350" y="0"/>
                </a:moveTo>
                <a:cubicBezTo>
                  <a:pt x="12198350" y="0"/>
                  <a:pt x="12198350" y="0"/>
                  <a:pt x="12198350" y="6303963"/>
                </a:cubicBezTo>
                <a:cubicBezTo>
                  <a:pt x="12198350" y="6303963"/>
                  <a:pt x="12198350" y="6303963"/>
                  <a:pt x="0" y="6303963"/>
                </a:cubicBezTo>
                <a:cubicBezTo>
                  <a:pt x="0" y="6303963"/>
                  <a:pt x="0" y="6303963"/>
                  <a:pt x="0" y="2020586"/>
                </a:cubicBezTo>
                <a:cubicBezTo>
                  <a:pt x="371861" y="3812239"/>
                  <a:pt x="1683333" y="4233609"/>
                  <a:pt x="3333463" y="3978132"/>
                </a:cubicBezTo>
                <a:cubicBezTo>
                  <a:pt x="6407952" y="3503676"/>
                  <a:pt x="10651145" y="683482"/>
                  <a:pt x="12121986" y="23225"/>
                </a:cubicBezTo>
                <a:cubicBezTo>
                  <a:pt x="12121986" y="23225"/>
                  <a:pt x="12125306" y="23225"/>
                  <a:pt x="12125306" y="23225"/>
                </a:cubicBezTo>
                <a:cubicBezTo>
                  <a:pt x="12148547" y="16589"/>
                  <a:pt x="12175109" y="6636"/>
                  <a:pt x="12198350" y="0"/>
                </a:cubicBezTo>
                <a:close/>
              </a:path>
            </a:pathLst>
          </a:custGeom>
          <a:solidFill>
            <a:schemeClr val="accent4"/>
          </a:solidFill>
          <a:ln>
            <a:noFill/>
          </a:ln>
        </p:spPr>
        <p:txBody>
          <a:bodyPr vert="horz" wrap="square" lIns="252000" tIns="3265200" rIns="144000" bIns="45720" numCol="1" anchor="t" anchorCtr="0" compatLnSpc="1">
            <a:prstTxWarp prst="textNoShape">
              <a:avLst/>
            </a:prstTxWarp>
            <a:normAutofit/>
          </a:bodyPr>
          <a:lstStyle>
            <a:lvl1pPr marL="0" indent="0" algn="ctr" defTabSz="342875">
              <a:lnSpc>
                <a:spcPts val="3075"/>
              </a:lnSpc>
              <a:buNone/>
              <a:defRPr lang="es-ES" sz="1800" dirty="0">
                <a:solidFill>
                  <a:schemeClr val="bg1">
                    <a:lumMod val="50000"/>
                  </a:schemeClr>
                </a:solidFill>
              </a:defRPr>
            </a:lvl1pPr>
          </a:lstStyle>
          <a:p>
            <a:pPr marL="0" lvl="0" algn="ctr" defTabSz="342875">
              <a:lnSpc>
                <a:spcPts val="3075"/>
              </a:lnSpc>
            </a:pPr>
            <a:r>
              <a:rPr lang="en-GB" noProof="0"/>
              <a:t>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3" y="1776527"/>
            <a:ext cx="6031363" cy="1570522"/>
          </a:xfrm>
        </p:spPr>
        <p:txBody>
          <a:bodyPr anchor="t">
            <a:noAutofit/>
          </a:bodyPr>
          <a:lstStyle>
            <a:lvl1pPr>
              <a:lnSpc>
                <a:spcPct val="100000"/>
              </a:lnSpc>
              <a:defRPr baseline="0">
                <a:solidFill>
                  <a:schemeClr val="tx2"/>
                </a:solidFill>
                <a:latin typeface="+mj-lt"/>
              </a:defRPr>
            </a:lvl1pPr>
          </a:lstStyle>
          <a:p>
            <a:r>
              <a:rPr lang="en-GB" noProof="0"/>
              <a:t>Divider title her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a:solidFill>
                  <a:srgbClr val="FFFFFF">
                    <a:lumMod val="85000"/>
                  </a:srgbClr>
                </a:solidFill>
              </a:rPr>
              <a:t>© Amadeus IT Group and its affiliates and subsidiaries</a:t>
            </a:r>
          </a:p>
        </p:txBody>
      </p:sp>
      <p:sp>
        <p:nvSpPr>
          <p:cNvPr id="22" name="Marcador de texto 3"/>
          <p:cNvSpPr>
            <a:spLocks noGrp="1"/>
          </p:cNvSpPr>
          <p:nvPr>
            <p:ph type="body" sz="quarter" idx="15" hasCustomPrompt="1"/>
          </p:nvPr>
        </p:nvSpPr>
        <p:spPr>
          <a:xfrm>
            <a:off x="576263" y="727984"/>
            <a:ext cx="1382712" cy="920750"/>
          </a:xfrm>
          <a:prstGeom prst="rect">
            <a:avLst/>
          </a:prstGeom>
        </p:spPr>
        <p:txBody>
          <a:bodyPr>
            <a:noAutofit/>
          </a:bodyPr>
          <a:lstStyle>
            <a:lvl1pPr marL="0" indent="0">
              <a:lnSpc>
                <a:spcPct val="100000"/>
              </a:lnSpc>
              <a:buNone/>
              <a:defRPr sz="4950">
                <a:solidFill>
                  <a:schemeClr val="accent3"/>
                </a:solidFill>
              </a:defRPr>
            </a:lvl1pPr>
          </a:lstStyle>
          <a:p>
            <a:pPr lvl="0"/>
            <a:r>
              <a:rPr lang="en-GB" noProof="0"/>
              <a:t>1.</a:t>
            </a:r>
          </a:p>
        </p:txBody>
      </p:sp>
      <p:sp>
        <p:nvSpPr>
          <p:cNvPr id="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12" name="TextBox 11"/>
          <p:cNvSpPr txBox="1"/>
          <p:nvPr userDrawn="1"/>
        </p:nvSpPr>
        <p:spPr>
          <a:xfrm>
            <a:off x="6809695" y="6444921"/>
            <a:ext cx="3942687" cy="276999"/>
          </a:xfrm>
          <a:prstGeom prst="rect">
            <a:avLst/>
          </a:prstGeom>
          <a:noFill/>
        </p:spPr>
        <p:txBody>
          <a:bodyPr wrap="square" rtlCol="0">
            <a:spAutoFit/>
          </a:bodyPr>
          <a:lstStyle/>
          <a:p>
            <a:pPr algn="r"/>
            <a:r>
              <a:rPr lang="en-US" sz="1200">
                <a:solidFill>
                  <a:srgbClr val="FFFFFF"/>
                </a:solidFill>
                <a:latin typeface="Calibri Light" panose="020F0302020204030204"/>
              </a:rPr>
              <a:t>Travel Channels Strategy, Transformation &amp; Communications</a:t>
            </a:r>
            <a:endParaRPr lang="en-IE" sz="1200">
              <a:solidFill>
                <a:srgbClr val="FFFFFF"/>
              </a:solidFill>
              <a:latin typeface="Calibri Light" panose="020F0302020204030204"/>
            </a:endParaRPr>
          </a:p>
        </p:txBody>
      </p:sp>
      <p:pic>
        <p:nvPicPr>
          <p:cNvPr id="13" name="Picture 12"/>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flipH="1">
            <a:off x="6624411" y="6402113"/>
            <a:ext cx="254224" cy="254224"/>
          </a:xfrm>
          <a:prstGeom prst="rect">
            <a:avLst/>
          </a:prstGeom>
        </p:spPr>
      </p:pic>
    </p:spTree>
    <p:extLst>
      <p:ext uri="{BB962C8B-B14F-4D97-AF65-F5344CB8AC3E}">
        <p14:creationId xmlns:p14="http://schemas.microsoft.com/office/powerpoint/2010/main" val="20582283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s-ES" smtClean="0">
                <a:solidFill>
                  <a:srgbClr val="FFFFFF">
                    <a:lumMod val="50000"/>
                  </a:srgbClr>
                </a:solidFill>
              </a:rPr>
              <a:pPr/>
              <a:t>‹#›</a:t>
            </a:fld>
            <a:endParaRPr lang="es-ES" dirty="0">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2016 Amadeus IT Group and its affiliates and subsidiaries</a:t>
            </a:r>
            <a:endParaRPr lang="es-ES" dirty="0">
              <a:solidFill>
                <a:srgbClr val="FFFFFF">
                  <a:lumMod val="65000"/>
                </a:srgbClr>
              </a:solidFill>
            </a:endParaRPr>
          </a:p>
        </p:txBody>
      </p:sp>
      <p:sp>
        <p:nvSpPr>
          <p:cNvPr id="17" name="Title 1"/>
          <p:cNvSpPr>
            <a:spLocks noGrp="1"/>
          </p:cNvSpPr>
          <p:nvPr>
            <p:ph type="title"/>
          </p:nvPr>
        </p:nvSpPr>
        <p:spPr>
          <a:xfrm>
            <a:off x="268224" y="296865"/>
            <a:ext cx="11253216" cy="482549"/>
          </a:xfrm>
        </p:spPr>
        <p:txBody>
          <a:bodyPr anchor="t">
            <a:noAutofit/>
          </a:bodyPr>
          <a:lstStyle>
            <a:lvl1pPr>
              <a:defRPr sz="4000">
                <a:solidFill>
                  <a:schemeClr val="tx2"/>
                </a:solidFill>
                <a:latin typeface="+mj-lt"/>
              </a:defRPr>
            </a:lvl1pPr>
          </a:lstStyle>
          <a:p>
            <a:r>
              <a:rPr lang="en-GB" noProof="0" dirty="0" err="1"/>
              <a:t>Clic</a:t>
            </a:r>
            <a:r>
              <a:rPr lang="en-GB" noProof="0" dirty="0"/>
              <a:t> </a:t>
            </a:r>
            <a:r>
              <a:rPr lang="en-GB" noProof="0" dirty="0" err="1"/>
              <a:t>para</a:t>
            </a:r>
            <a:r>
              <a:rPr lang="en-GB" noProof="0" dirty="0"/>
              <a:t> </a:t>
            </a:r>
            <a:r>
              <a:rPr lang="en-GB" noProof="0" dirty="0" err="1"/>
              <a:t>editar</a:t>
            </a:r>
            <a:r>
              <a:rPr lang="en-GB" noProof="0" dirty="0"/>
              <a:t> </a:t>
            </a:r>
            <a:r>
              <a:rPr lang="en-GB" noProof="0" dirty="0" err="1"/>
              <a:t>título</a:t>
            </a:r>
            <a:endParaRPr lang="en-GB" noProof="0" dirty="0"/>
          </a:p>
        </p:txBody>
      </p:sp>
      <p:sp>
        <p:nvSpPr>
          <p:cNvPr id="18" name="Text Placeholder 19"/>
          <p:cNvSpPr>
            <a:spLocks noGrp="1"/>
          </p:cNvSpPr>
          <p:nvPr>
            <p:ph type="body" sz="quarter" idx="13"/>
          </p:nvPr>
        </p:nvSpPr>
        <p:spPr>
          <a:xfrm>
            <a:off x="268224" y="877102"/>
            <a:ext cx="11252997" cy="300087"/>
          </a:xfrm>
          <a:prstGeom prst="rect">
            <a:avLst/>
          </a:prstGeom>
        </p:spPr>
        <p:txBody>
          <a:bodyPr>
            <a:noAutofit/>
          </a:bodyPr>
          <a:lstStyle>
            <a:lvl1pPr marL="0" indent="0">
              <a:lnSpc>
                <a:spcPct val="100000"/>
              </a:lnSpc>
              <a:buNone/>
              <a:defRPr sz="2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err="1"/>
              <a:t>Haga</a:t>
            </a:r>
            <a:r>
              <a:rPr lang="en-GB" noProof="0" dirty="0"/>
              <a:t> </a:t>
            </a:r>
            <a:r>
              <a:rPr lang="en-GB" noProof="0" dirty="0" err="1"/>
              <a:t>clic</a:t>
            </a:r>
            <a:r>
              <a:rPr lang="en-GB" noProof="0" dirty="0"/>
              <a:t> </a:t>
            </a:r>
            <a:r>
              <a:rPr lang="en-GB" noProof="0" dirty="0" err="1"/>
              <a:t>para</a:t>
            </a:r>
            <a:r>
              <a:rPr lang="en-GB" noProof="0" dirty="0"/>
              <a:t> </a:t>
            </a:r>
            <a:r>
              <a:rPr lang="en-GB" noProof="0" dirty="0" err="1"/>
              <a:t>modificar</a:t>
            </a:r>
            <a:r>
              <a:rPr lang="en-GB" noProof="0" dirty="0"/>
              <a:t> el </a:t>
            </a:r>
            <a:r>
              <a:rPr lang="en-GB" noProof="0" dirty="0" err="1"/>
              <a:t>estilo</a:t>
            </a:r>
            <a:r>
              <a:rPr lang="en-GB" noProof="0" dirty="0"/>
              <a:t> de </a:t>
            </a:r>
            <a:r>
              <a:rPr lang="en-GB" noProof="0" dirty="0" err="1"/>
              <a:t>texto</a:t>
            </a:r>
            <a:r>
              <a:rPr lang="en-GB" noProof="0" dirty="0"/>
              <a:t> del </a:t>
            </a:r>
            <a:r>
              <a:rPr lang="en-GB" noProof="0" dirty="0" err="1"/>
              <a:t>patrón</a:t>
            </a:r>
            <a:endParaRPr lang="en-GB" noProof="0" dirty="0"/>
          </a:p>
        </p:txBody>
      </p:sp>
    </p:spTree>
    <p:extLst>
      <p:ext uri="{BB962C8B-B14F-4D97-AF65-F5344CB8AC3E}">
        <p14:creationId xmlns:p14="http://schemas.microsoft.com/office/powerpoint/2010/main" val="36120899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ext layout">
    <p:spTree>
      <p:nvGrpSpPr>
        <p:cNvPr id="1" name=""/>
        <p:cNvGrpSpPr/>
        <p:nvPr/>
      </p:nvGrpSpPr>
      <p:grpSpPr>
        <a:xfrm>
          <a:off x="0" y="0"/>
          <a:ext cx="0" cy="0"/>
          <a:chOff x="0" y="0"/>
          <a:chExt cx="0" cy="0"/>
        </a:xfrm>
      </p:grpSpPr>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s-ES" smtClean="0">
                <a:solidFill>
                  <a:srgbClr val="FFFFFF">
                    <a:lumMod val="50000"/>
                  </a:srgbClr>
                </a:solidFill>
              </a:rPr>
              <a:pPr/>
              <a:t>‹#›</a:t>
            </a:fld>
            <a:endParaRPr lang="es-ES" dirty="0">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2016 Amadeus IT Group and its affiliates and subsidiaries</a:t>
            </a:r>
            <a:endParaRPr lang="es-ES" dirty="0">
              <a:solidFill>
                <a:srgbClr val="FFFFFF">
                  <a:lumMod val="65000"/>
                </a:srgbClr>
              </a:solidFill>
            </a:endParaRPr>
          </a:p>
        </p:txBody>
      </p:sp>
      <p:sp>
        <p:nvSpPr>
          <p:cNvPr id="17" name="Title 1"/>
          <p:cNvSpPr>
            <a:spLocks noGrp="1"/>
          </p:cNvSpPr>
          <p:nvPr>
            <p:ph type="title"/>
          </p:nvPr>
        </p:nvSpPr>
        <p:spPr>
          <a:xfrm>
            <a:off x="268224" y="296865"/>
            <a:ext cx="11253216" cy="482549"/>
          </a:xfrm>
        </p:spPr>
        <p:txBody>
          <a:bodyPr anchor="t">
            <a:noAutofit/>
          </a:bodyPr>
          <a:lstStyle>
            <a:lvl1pPr>
              <a:defRPr sz="4000">
                <a:solidFill>
                  <a:schemeClr val="tx2"/>
                </a:solidFill>
                <a:latin typeface="+mj-lt"/>
              </a:defRPr>
            </a:lvl1pPr>
          </a:lstStyle>
          <a:p>
            <a:r>
              <a:rPr lang="en-GB" noProof="0" dirty="0" err="1"/>
              <a:t>Clic</a:t>
            </a:r>
            <a:r>
              <a:rPr lang="en-GB" noProof="0" dirty="0"/>
              <a:t> </a:t>
            </a:r>
            <a:r>
              <a:rPr lang="en-GB" noProof="0" dirty="0" err="1"/>
              <a:t>para</a:t>
            </a:r>
            <a:r>
              <a:rPr lang="en-GB" noProof="0" dirty="0"/>
              <a:t> </a:t>
            </a:r>
            <a:r>
              <a:rPr lang="en-GB" noProof="0" dirty="0" err="1"/>
              <a:t>editar</a:t>
            </a:r>
            <a:r>
              <a:rPr lang="en-GB" noProof="0" dirty="0"/>
              <a:t> </a:t>
            </a:r>
            <a:r>
              <a:rPr lang="en-GB" noProof="0" dirty="0" err="1"/>
              <a:t>título</a:t>
            </a:r>
            <a:endParaRPr lang="en-GB" noProof="0" dirty="0"/>
          </a:p>
        </p:txBody>
      </p:sp>
      <p:sp>
        <p:nvSpPr>
          <p:cNvPr id="18" name="Text Placeholder 19"/>
          <p:cNvSpPr>
            <a:spLocks noGrp="1"/>
          </p:cNvSpPr>
          <p:nvPr>
            <p:ph type="body" sz="quarter" idx="13"/>
          </p:nvPr>
        </p:nvSpPr>
        <p:spPr>
          <a:xfrm>
            <a:off x="268224" y="877102"/>
            <a:ext cx="11252997" cy="300087"/>
          </a:xfrm>
          <a:prstGeom prst="rect">
            <a:avLst/>
          </a:prstGeom>
        </p:spPr>
        <p:txBody>
          <a:bodyPr>
            <a:noAutofit/>
          </a:bodyPr>
          <a:lstStyle>
            <a:lvl1pPr marL="0" indent="0">
              <a:lnSpc>
                <a:spcPct val="100000"/>
              </a:lnSpc>
              <a:buNone/>
              <a:defRPr sz="2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err="1"/>
              <a:t>Haga</a:t>
            </a:r>
            <a:r>
              <a:rPr lang="en-GB" noProof="0" dirty="0"/>
              <a:t> </a:t>
            </a:r>
            <a:r>
              <a:rPr lang="en-GB" noProof="0" dirty="0" err="1"/>
              <a:t>clic</a:t>
            </a:r>
            <a:r>
              <a:rPr lang="en-GB" noProof="0" dirty="0"/>
              <a:t> </a:t>
            </a:r>
            <a:r>
              <a:rPr lang="en-GB" noProof="0" dirty="0" err="1"/>
              <a:t>para</a:t>
            </a:r>
            <a:r>
              <a:rPr lang="en-GB" noProof="0" dirty="0"/>
              <a:t> </a:t>
            </a:r>
            <a:r>
              <a:rPr lang="en-GB" noProof="0" dirty="0" err="1"/>
              <a:t>modificar</a:t>
            </a:r>
            <a:r>
              <a:rPr lang="en-GB" noProof="0" dirty="0"/>
              <a:t> el </a:t>
            </a:r>
            <a:r>
              <a:rPr lang="en-GB" noProof="0" dirty="0" err="1"/>
              <a:t>estilo</a:t>
            </a:r>
            <a:r>
              <a:rPr lang="en-GB" noProof="0" dirty="0"/>
              <a:t> de </a:t>
            </a:r>
            <a:r>
              <a:rPr lang="en-GB" noProof="0" dirty="0" err="1"/>
              <a:t>texto</a:t>
            </a:r>
            <a:r>
              <a:rPr lang="en-GB" noProof="0" dirty="0"/>
              <a:t> del </a:t>
            </a:r>
            <a:r>
              <a:rPr lang="en-GB" noProof="0" dirty="0" err="1"/>
              <a:t>patrón</a:t>
            </a:r>
            <a:endParaRPr lang="en-GB" noProof="0" dirty="0"/>
          </a:p>
        </p:txBody>
      </p:sp>
    </p:spTree>
    <p:extLst>
      <p:ext uri="{BB962C8B-B14F-4D97-AF65-F5344CB8AC3E}">
        <p14:creationId xmlns:p14="http://schemas.microsoft.com/office/powerpoint/2010/main" val="10077970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268224" y="296865"/>
            <a:ext cx="11253216" cy="482549"/>
          </a:xfrm>
          <a:prstGeom prst="rect">
            <a:avLst/>
          </a:prstGeom>
        </p:spPr>
        <p:txBody>
          <a:bodyPr anchor="t">
            <a:noAutofit/>
          </a:bodyPr>
          <a:lstStyle>
            <a:lvl1pPr>
              <a:defRPr sz="2800">
                <a:solidFill>
                  <a:schemeClr val="tx2"/>
                </a:solidFill>
                <a:latin typeface="+mj-lt"/>
              </a:defRPr>
            </a:lvl1pPr>
          </a:lstStyle>
          <a:p>
            <a:r>
              <a:rPr lang="en-GB" noProof="0" dirty="0"/>
              <a:t>Add your title here</a:t>
            </a:r>
          </a:p>
        </p:txBody>
      </p:sp>
      <p:sp>
        <p:nvSpPr>
          <p:cNvPr id="16" name="Text Placeholder 19"/>
          <p:cNvSpPr>
            <a:spLocks noGrp="1"/>
          </p:cNvSpPr>
          <p:nvPr>
            <p:ph type="body" sz="quarter" idx="13" hasCustomPrompt="1"/>
          </p:nvPr>
        </p:nvSpPr>
        <p:spPr>
          <a:xfrm>
            <a:off x="268224" y="789351"/>
            <a:ext cx="11252997"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9" name="Marcador de texto 2"/>
          <p:cNvSpPr>
            <a:spLocks noGrp="1"/>
          </p:cNvSpPr>
          <p:nvPr>
            <p:ph type="body" sz="quarter" idx="18" hasCustomPrompt="1"/>
          </p:nvPr>
        </p:nvSpPr>
        <p:spPr>
          <a:xfrm>
            <a:off x="292609" y="1480159"/>
            <a:ext cx="11228409" cy="4298341"/>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Tree>
    <p:extLst>
      <p:ext uri="{BB962C8B-B14F-4D97-AF65-F5344CB8AC3E}">
        <p14:creationId xmlns:p14="http://schemas.microsoft.com/office/powerpoint/2010/main" val="32036357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dex pag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68225" y="310463"/>
            <a:ext cx="11252793" cy="596766"/>
          </a:xfrm>
        </p:spPr>
        <p:txBody>
          <a:bodyPr tIns="0" anchor="b"/>
          <a:lstStyle>
            <a:lvl1pPr>
              <a:lnSpc>
                <a:spcPct val="100000"/>
              </a:lnSpc>
              <a:defRPr sz="2400">
                <a:solidFill>
                  <a:schemeClr val="tx2"/>
                </a:solidFill>
                <a:latin typeface="+mj-lt"/>
              </a:defRPr>
            </a:lvl1pPr>
          </a:lstStyle>
          <a:p>
            <a:r>
              <a:rPr lang="en-GB" noProof="0" dirty="0"/>
              <a:t>Agenda</a:t>
            </a:r>
          </a:p>
        </p:txBody>
      </p:sp>
      <p:sp>
        <p:nvSpPr>
          <p:cNvPr id="5" name="Marcador de texto 4"/>
          <p:cNvSpPr>
            <a:spLocks noGrp="1"/>
          </p:cNvSpPr>
          <p:nvPr>
            <p:ph type="body" sz="quarter" idx="14" hasCustomPrompt="1"/>
          </p:nvPr>
        </p:nvSpPr>
        <p:spPr>
          <a:xfrm>
            <a:off x="302728" y="1155701"/>
            <a:ext cx="11252792"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Tree>
    <p:extLst>
      <p:ext uri="{BB962C8B-B14F-4D97-AF65-F5344CB8AC3E}">
        <p14:creationId xmlns:p14="http://schemas.microsoft.com/office/powerpoint/2010/main" val="29911090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7" name="Title 1"/>
          <p:cNvSpPr>
            <a:spLocks noGrp="1"/>
          </p:cNvSpPr>
          <p:nvPr>
            <p:ph type="title" hasCustomPrompt="1"/>
          </p:nvPr>
        </p:nvSpPr>
        <p:spPr>
          <a:xfrm>
            <a:off x="268224" y="296865"/>
            <a:ext cx="11253216" cy="482549"/>
          </a:xfrm>
          <a:prstGeom prst="rect">
            <a:avLst/>
          </a:prstGeom>
        </p:spPr>
        <p:txBody>
          <a:bodyPr anchor="t">
            <a:noAutofit/>
          </a:bodyPr>
          <a:lstStyle>
            <a:lvl1pPr>
              <a:defRPr sz="2800">
                <a:solidFill>
                  <a:schemeClr val="tx2"/>
                </a:solidFill>
                <a:latin typeface="+mj-lt"/>
              </a:defRPr>
            </a:lvl1pPr>
          </a:lstStyle>
          <a:p>
            <a:r>
              <a:rPr lang="en-GB" noProof="0" dirty="0"/>
              <a:t>Add your title here</a:t>
            </a:r>
          </a:p>
        </p:txBody>
      </p:sp>
      <p:sp>
        <p:nvSpPr>
          <p:cNvPr id="10" name="Text Placeholder 19"/>
          <p:cNvSpPr>
            <a:spLocks noGrp="1"/>
          </p:cNvSpPr>
          <p:nvPr>
            <p:ph type="body" sz="quarter" idx="13" hasCustomPrompt="1"/>
          </p:nvPr>
        </p:nvSpPr>
        <p:spPr>
          <a:xfrm>
            <a:off x="268224" y="795425"/>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38516465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with photo background and shap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ctr">
              <a:buNone/>
              <a:defRPr sz="1800" b="1" baseline="0"/>
            </a:lvl1pPr>
          </a:lstStyle>
          <a:p>
            <a:pPr lvl="0"/>
            <a:r>
              <a:rPr lang="en-GB" noProof="0" dirty="0"/>
              <a:t>                                                          &lt;  Insert your picture here</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4" name="AutoShape 3"/>
          <p:cNvSpPr>
            <a:spLocks noChangeAspect="1" noChangeArrowheads="1" noTextEdit="1"/>
          </p:cNvSpPr>
          <p:nvPr userDrawn="1"/>
        </p:nvSpPr>
        <p:spPr bwMode="auto">
          <a:xfrm>
            <a:off x="4151322" y="1608141"/>
            <a:ext cx="3889375" cy="3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95" name="Title 1"/>
          <p:cNvSpPr>
            <a:spLocks noGrp="1"/>
          </p:cNvSpPr>
          <p:nvPr>
            <p:ph type="title" hasCustomPrompt="1"/>
          </p:nvPr>
        </p:nvSpPr>
        <p:spPr>
          <a:xfrm>
            <a:off x="576472" y="2090517"/>
            <a:ext cx="4958914" cy="1178168"/>
          </a:xfrm>
        </p:spPr>
        <p:txBody>
          <a:bodyPr anchor="b"/>
          <a:lstStyle>
            <a:lvl1pPr>
              <a:lnSpc>
                <a:spcPct val="100000"/>
              </a:lnSpc>
              <a:defRPr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576265" y="3425413"/>
            <a:ext cx="4602163" cy="498992"/>
          </a:xfrm>
          <a:prstGeom prst="rect">
            <a:avLst/>
          </a:prstGeom>
        </p:spPr>
        <p:txBody>
          <a:bodyPr>
            <a:noAutofit/>
          </a:bodyPr>
          <a:lstStyle>
            <a:lvl1pPr marL="0" indent="0">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22680163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with photo and blu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bg1"/>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576481" y="5513064"/>
            <a:ext cx="2619201" cy="1058862"/>
          </a:xfrm>
          <a:prstGeom prst="rect">
            <a:avLst/>
          </a:prstGeom>
        </p:spPr>
        <p:txBody>
          <a:bodyPr anchor="b">
            <a:normAutofit/>
          </a:bodyPr>
          <a:lstStyle>
            <a:lvl1pPr marL="0" indent="0">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
        <p:nvSpPr>
          <p:cNvPr id="11" name="Marcador de posición de imagen 17"/>
          <p:cNvSpPr>
            <a:spLocks noGrp="1"/>
          </p:cNvSpPr>
          <p:nvPr>
            <p:ph type="pic" sz="quarter" idx="16" hasCustomPrompt="1"/>
          </p:nvPr>
        </p:nvSpPr>
        <p:spPr>
          <a:xfrm>
            <a:off x="6235700" y="777732"/>
            <a:ext cx="5966653" cy="6096072"/>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20"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21" name="Imagen 2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1555" y="633583"/>
            <a:ext cx="3830824" cy="1335474"/>
          </a:xfrm>
          <a:prstGeom prst="rect">
            <a:avLst/>
          </a:prstGeom>
        </p:spPr>
      </p:pic>
    </p:spTree>
    <p:extLst>
      <p:ext uri="{BB962C8B-B14F-4D97-AF65-F5344CB8AC3E}">
        <p14:creationId xmlns:p14="http://schemas.microsoft.com/office/powerpoint/2010/main" val="20215651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76472" y="2094523"/>
            <a:ext cx="5956600" cy="1325563"/>
          </a:xfrm>
        </p:spPr>
        <p:txBody>
          <a:bodyPr anchor="b"/>
          <a:lstStyle>
            <a:lvl1pPr>
              <a:lnSpc>
                <a:spcPct val="100000"/>
              </a:lnSpc>
              <a:defRPr baseline="0">
                <a:solidFill>
                  <a:schemeClr val="tx2"/>
                </a:solidFill>
                <a:latin typeface="+mj-lt"/>
              </a:defRPr>
            </a:lvl1pPr>
          </a:lstStyle>
          <a:p>
            <a:r>
              <a:rPr lang="en-GB" noProof="0" dirty="0"/>
              <a:t>Add your divider title here</a:t>
            </a:r>
          </a:p>
        </p:txBody>
      </p:sp>
      <p:sp>
        <p:nvSpPr>
          <p:cNvPr id="96" name="Text Placeholder 19"/>
          <p:cNvSpPr>
            <a:spLocks noGrp="1"/>
          </p:cNvSpPr>
          <p:nvPr>
            <p:ph type="body" sz="quarter" idx="13" hasCustomPrompt="1"/>
          </p:nvPr>
        </p:nvSpPr>
        <p:spPr>
          <a:xfrm>
            <a:off x="576265" y="3538307"/>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pic>
        <p:nvPicPr>
          <p:cNvPr id="21" name="Imagen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5EB8"/>
              </a:solidFill>
            </a:endParaRPr>
          </a:p>
        </p:txBody>
      </p:sp>
    </p:spTree>
    <p:extLst>
      <p:ext uri="{BB962C8B-B14F-4D97-AF65-F5344CB8AC3E}">
        <p14:creationId xmlns:p14="http://schemas.microsoft.com/office/powerpoint/2010/main" val="20743606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with photo and white background II">
    <p:bg>
      <p:bgPr>
        <a:solidFill>
          <a:schemeClr val="bg1"/>
        </a:solidFill>
        <a:effectLst/>
      </p:bgPr>
    </p:bg>
    <p:spTree>
      <p:nvGrpSpPr>
        <p:cNvPr id="1" name=""/>
        <p:cNvGrpSpPr/>
        <p:nvPr/>
      </p:nvGrpSpPr>
      <p:grpSpPr>
        <a:xfrm>
          <a:off x="0" y="0"/>
          <a:ext cx="0" cy="0"/>
          <a:chOff x="0" y="0"/>
          <a:chExt cx="0" cy="0"/>
        </a:xfrm>
      </p:grpSpPr>
      <p:sp>
        <p:nvSpPr>
          <p:cNvPr id="30" name="Rectangle 29"/>
          <p:cNvSpPr/>
          <p:nvPr userDrawn="1"/>
        </p:nvSpPr>
        <p:spPr>
          <a:xfrm>
            <a:off x="-6348" y="1"/>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5826573" y="3285709"/>
            <a:ext cx="5956600" cy="1325563"/>
          </a:xfrm>
        </p:spPr>
        <p:txBody>
          <a:bodyPr anchor="b"/>
          <a:lstStyle>
            <a:lvl1pPr>
              <a:lnSpc>
                <a:spcPct val="100000"/>
              </a:lnSpc>
              <a:defRPr baseline="0">
                <a:solidFill>
                  <a:schemeClr val="tx2"/>
                </a:solidFill>
                <a:latin typeface="+mj-lt"/>
              </a:defRPr>
            </a:lvl1pPr>
          </a:lstStyle>
          <a:p>
            <a:r>
              <a:rPr lang="en-GB" noProof="0" dirty="0"/>
              <a:t>Add your divider title here</a:t>
            </a:r>
          </a:p>
        </p:txBody>
      </p:sp>
      <p:sp>
        <p:nvSpPr>
          <p:cNvPr id="96" name="Text Placeholder 19"/>
          <p:cNvSpPr>
            <a:spLocks noGrp="1"/>
          </p:cNvSpPr>
          <p:nvPr>
            <p:ph type="body" sz="quarter" idx="13" hasCustomPrompt="1"/>
          </p:nvPr>
        </p:nvSpPr>
        <p:spPr>
          <a:xfrm>
            <a:off x="5826366" y="4729493"/>
            <a:ext cx="5329235" cy="864000"/>
          </a:xfrm>
          <a:prstGeom prst="rect">
            <a:avLst/>
          </a:prstGeom>
        </p:spPr>
        <p:txBody>
          <a:bodyPr>
            <a:noAutofit/>
          </a:bodyPr>
          <a:lstStyle>
            <a:lvl1pPr marL="0" indent="0">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
        <p:nvSpPr>
          <p:cNvPr id="11" name="Marcador de posición de imagen 17"/>
          <p:cNvSpPr>
            <a:spLocks noGrp="1"/>
          </p:cNvSpPr>
          <p:nvPr>
            <p:ph type="pic" sz="quarter" idx="16" hasCustomPrompt="1"/>
          </p:nvPr>
        </p:nvSpPr>
        <p:spPr>
          <a:xfrm flipH="1">
            <a:off x="-6348"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pic>
        <p:nvPicPr>
          <p:cNvPr id="21" name="Imagen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97951" y="182970"/>
            <a:ext cx="2544887" cy="887180"/>
          </a:xfrm>
          <a:prstGeom prst="rect">
            <a:avLst/>
          </a:prstGeom>
        </p:spPr>
      </p:pic>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5EB8"/>
              </a:solidFill>
            </a:endParaRPr>
          </a:p>
        </p:txBody>
      </p:sp>
      <p:sp>
        <p:nvSpPr>
          <p:cNvPr id="16" name="Freeform 5"/>
          <p:cNvSpPr>
            <a:spLocks noEditPoints="1"/>
          </p:cNvSpPr>
          <p:nvPr userDrawn="1"/>
        </p:nvSpPr>
        <p:spPr bwMode="auto">
          <a:xfrm>
            <a:off x="10985917" y="6483102"/>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25762088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dex pag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68225" y="310463"/>
            <a:ext cx="11252793" cy="596766"/>
          </a:xfrm>
        </p:spPr>
        <p:txBody>
          <a:bodyPr tIns="0" anchor="b"/>
          <a:lstStyle>
            <a:lvl1pPr>
              <a:lnSpc>
                <a:spcPct val="100000"/>
              </a:lnSpc>
              <a:defRPr sz="2400">
                <a:solidFill>
                  <a:schemeClr val="tx2"/>
                </a:solidFill>
                <a:latin typeface="+mj-lt"/>
              </a:defRPr>
            </a:lvl1pPr>
          </a:lstStyle>
          <a:p>
            <a:r>
              <a:rPr lang="en-GB" noProof="0" dirty="0"/>
              <a:t>Agenda</a:t>
            </a:r>
          </a:p>
        </p:txBody>
      </p:sp>
      <p:sp>
        <p:nvSpPr>
          <p:cNvPr id="5" name="Marcador de texto 4"/>
          <p:cNvSpPr>
            <a:spLocks noGrp="1"/>
          </p:cNvSpPr>
          <p:nvPr>
            <p:ph type="body" sz="quarter" idx="14" hasCustomPrompt="1"/>
          </p:nvPr>
        </p:nvSpPr>
        <p:spPr>
          <a:xfrm>
            <a:off x="302728" y="1155701"/>
            <a:ext cx="11252792"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Tree>
    <p:extLst>
      <p:ext uri="{BB962C8B-B14F-4D97-AF65-F5344CB8AC3E}">
        <p14:creationId xmlns:p14="http://schemas.microsoft.com/office/powerpoint/2010/main" val="20522539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dex with photo">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a:solidFill>
                  <a:srgbClr val="FFFFFF">
                    <a:lumMod val="65000"/>
                  </a:srgbClr>
                </a:solidFill>
              </a:rPr>
              <a:t>© Amadeus IT Group and its affiliates and subsidiaries</a:t>
            </a:r>
            <a:endParaRPr lang="en-GB" dirty="0">
              <a:solidFill>
                <a:srgbClr val="FFFFFF">
                  <a:lumMod val="65000"/>
                </a:srgbClr>
              </a:solidFill>
            </a:endParaRPr>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5EB8"/>
              </a:solidFill>
            </a:endParaRPr>
          </a:p>
        </p:txBody>
      </p:sp>
      <p:sp>
        <p:nvSpPr>
          <p:cNvPr id="16" name="Title 1"/>
          <p:cNvSpPr>
            <a:spLocks noGrp="1"/>
          </p:cNvSpPr>
          <p:nvPr>
            <p:ph type="title" hasCustomPrompt="1"/>
          </p:nvPr>
        </p:nvSpPr>
        <p:spPr>
          <a:xfrm>
            <a:off x="268225" y="310463"/>
            <a:ext cx="6286759" cy="596766"/>
          </a:xfrm>
        </p:spPr>
        <p:txBody>
          <a:bodyPr tIns="0" anchor="b"/>
          <a:lstStyle>
            <a:lvl1pPr>
              <a:lnSpc>
                <a:spcPct val="100000"/>
              </a:lnSpc>
              <a:defRPr sz="2400">
                <a:solidFill>
                  <a:schemeClr val="tx2"/>
                </a:solidFill>
                <a:latin typeface="+mj-lt"/>
              </a:defRPr>
            </a:lvl1pPr>
          </a:lstStyle>
          <a:p>
            <a:r>
              <a:rPr lang="en-GB" noProof="0" dirty="0"/>
              <a:t>Agenda</a:t>
            </a:r>
          </a:p>
        </p:txBody>
      </p:sp>
      <p:sp>
        <p:nvSpPr>
          <p:cNvPr id="17" name="Marcador de texto 4"/>
          <p:cNvSpPr>
            <a:spLocks noGrp="1"/>
          </p:cNvSpPr>
          <p:nvPr>
            <p:ph type="body" sz="quarter" idx="14" hasCustomPrompt="1"/>
          </p:nvPr>
        </p:nvSpPr>
        <p:spPr>
          <a:xfrm>
            <a:off x="302728" y="1155701"/>
            <a:ext cx="6286758"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Tree>
    <p:extLst>
      <p:ext uri="{BB962C8B-B14F-4D97-AF65-F5344CB8AC3E}">
        <p14:creationId xmlns:p14="http://schemas.microsoft.com/office/powerpoint/2010/main" val="9498839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09" y="1480159"/>
            <a:ext cx="11228409" cy="444268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223372506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12" name="Marcador de texto 2"/>
          <p:cNvSpPr>
            <a:spLocks noGrp="1"/>
          </p:cNvSpPr>
          <p:nvPr>
            <p:ph type="body" sz="quarter" idx="18" hasCustomPrompt="1"/>
          </p:nvPr>
        </p:nvSpPr>
        <p:spPr>
          <a:xfrm>
            <a:off x="292608" y="1480173"/>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7"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8"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8" name="Marcador de texto 2"/>
          <p:cNvSpPr>
            <a:spLocks noGrp="1"/>
          </p:cNvSpPr>
          <p:nvPr>
            <p:ph type="body" sz="quarter" idx="19" hasCustomPrompt="1"/>
          </p:nvPr>
        </p:nvSpPr>
        <p:spPr>
          <a:xfrm>
            <a:off x="6063308" y="1472789"/>
            <a:ext cx="5492496" cy="445005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Tree>
    <p:extLst>
      <p:ext uri="{BB962C8B-B14F-4D97-AF65-F5344CB8AC3E}">
        <p14:creationId xmlns:p14="http://schemas.microsoft.com/office/powerpoint/2010/main" val="24567884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7" name="Text Placeholder 19"/>
          <p:cNvSpPr>
            <a:spLocks noGrp="1"/>
          </p:cNvSpPr>
          <p:nvPr>
            <p:ph type="body" sz="quarter" idx="13"/>
          </p:nvPr>
        </p:nvSpPr>
        <p:spPr>
          <a:xfrm>
            <a:off x="268224" y="1480159"/>
            <a:ext cx="5218176" cy="1349538"/>
          </a:xfrm>
          <a:prstGeom prst="rect">
            <a:avLst/>
          </a:prstGeom>
        </p:spPr>
        <p:txBody>
          <a:bodyPr>
            <a:noAutofit/>
          </a:bodyPr>
          <a:lstStyle>
            <a:lvl1pPr marL="0" indent="0">
              <a:lnSpc>
                <a:spcPct val="100000"/>
              </a:lnSpc>
              <a:buNone/>
              <a:defRPr sz="2000" kern="0" baseline="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lang="en-US" smtClean="0"/>
            </a:lvl1pPr>
          </a:lstStyle>
          <a:p>
            <a:r>
              <a:rPr lang="en-GB" dirty="0">
                <a:solidFill>
                  <a:srgbClr val="FFFFFF">
                    <a:lumMod val="65000"/>
                  </a:srgbClr>
                </a:solidFill>
              </a:rPr>
              <a:t>© Amadeus IT Group and its affiliates and subsidiaries</a:t>
            </a:r>
          </a:p>
        </p:txBody>
      </p:sp>
      <p:sp>
        <p:nvSpPr>
          <p:cNvPr id="13"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20"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Picture Placeholder 30"/>
          <p:cNvSpPr>
            <a:spLocks noGrp="1"/>
          </p:cNvSpPr>
          <p:nvPr>
            <p:ph type="pic" sz="quarter" idx="14" hasCustomPrompt="1"/>
          </p:nvPr>
        </p:nvSpPr>
        <p:spPr>
          <a:xfrm>
            <a:off x="6" y="2979036"/>
            <a:ext cx="4002685" cy="3878978"/>
          </a:xfrm>
          <a:custGeom>
            <a:avLst/>
            <a:gdLst>
              <a:gd name="connsiteX0" fmla="*/ 2435667 w 3352801"/>
              <a:gd name="connsiteY0" fmla="*/ 0 h 2652713"/>
              <a:gd name="connsiteX1" fmla="*/ 2441681 w 3352801"/>
              <a:gd name="connsiteY1" fmla="*/ 0 h 2652713"/>
              <a:gd name="connsiteX2" fmla="*/ 2467241 w 3352801"/>
              <a:gd name="connsiteY2" fmla="*/ 0 h 2652713"/>
              <a:gd name="connsiteX3" fmla="*/ 3352801 w 3352801"/>
              <a:gd name="connsiteY3" fmla="*/ 884739 h 2652713"/>
              <a:gd name="connsiteX4" fmla="*/ 3300179 w 3352801"/>
              <a:gd name="connsiteY4" fmla="*/ 1183657 h 2652713"/>
              <a:gd name="connsiteX5" fmla="*/ 3301682 w 3352801"/>
              <a:gd name="connsiteY5" fmla="*/ 1183657 h 2652713"/>
              <a:gd name="connsiteX6" fmla="*/ 2837101 w 3352801"/>
              <a:gd name="connsiteY6" fmla="*/ 2652713 h 2652713"/>
              <a:gd name="connsiteX7" fmla="*/ 4511 w 3352801"/>
              <a:gd name="connsiteY7" fmla="*/ 2652713 h 2652713"/>
              <a:gd name="connsiteX8" fmla="*/ 0 w 3352801"/>
              <a:gd name="connsiteY8" fmla="*/ 268876 h 2652713"/>
              <a:gd name="connsiteX9" fmla="*/ 2301856 w 3352801"/>
              <a:gd name="connsiteY9" fmla="*/ 15021 h 2652713"/>
              <a:gd name="connsiteX10" fmla="*/ 2435667 w 3352801"/>
              <a:gd name="connsiteY10" fmla="*/ 0 h 265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52801" h="2652713">
                <a:moveTo>
                  <a:pt x="2435667" y="0"/>
                </a:moveTo>
                <a:cubicBezTo>
                  <a:pt x="2435667" y="0"/>
                  <a:pt x="2435667" y="0"/>
                  <a:pt x="2441681" y="0"/>
                </a:cubicBezTo>
                <a:cubicBezTo>
                  <a:pt x="2449199" y="0"/>
                  <a:pt x="2458220" y="0"/>
                  <a:pt x="2467241" y="0"/>
                </a:cubicBezTo>
                <a:cubicBezTo>
                  <a:pt x="2955878" y="0"/>
                  <a:pt x="3352801" y="395053"/>
                  <a:pt x="3352801" y="884739"/>
                </a:cubicBezTo>
                <a:cubicBezTo>
                  <a:pt x="3352801" y="989886"/>
                  <a:pt x="3334759" y="1090527"/>
                  <a:pt x="3300179" y="1183657"/>
                </a:cubicBezTo>
                <a:cubicBezTo>
                  <a:pt x="3300179" y="1183657"/>
                  <a:pt x="3300179" y="1183657"/>
                  <a:pt x="3301682" y="1183657"/>
                </a:cubicBezTo>
                <a:cubicBezTo>
                  <a:pt x="3301682" y="1183657"/>
                  <a:pt x="3301682" y="1183657"/>
                  <a:pt x="2837101" y="2652713"/>
                </a:cubicBezTo>
                <a:cubicBezTo>
                  <a:pt x="2837101" y="2652713"/>
                  <a:pt x="2837101" y="2652713"/>
                  <a:pt x="4511" y="2652713"/>
                </a:cubicBezTo>
                <a:cubicBezTo>
                  <a:pt x="4511" y="2652713"/>
                  <a:pt x="4511" y="2652713"/>
                  <a:pt x="0" y="268876"/>
                </a:cubicBezTo>
                <a:cubicBezTo>
                  <a:pt x="0" y="268876"/>
                  <a:pt x="0" y="268876"/>
                  <a:pt x="2301856" y="15021"/>
                </a:cubicBezTo>
                <a:cubicBezTo>
                  <a:pt x="2345457" y="6008"/>
                  <a:pt x="2390562" y="1502"/>
                  <a:pt x="2435667" y="0"/>
                </a:cubicBezTo>
                <a:close/>
              </a:path>
            </a:pathLst>
          </a:custGeom>
          <a:solidFill>
            <a:schemeClr val="bg1">
              <a:lumMod val="95000"/>
            </a:schemeClr>
          </a:solidFill>
        </p:spPr>
        <p:txBody>
          <a:bodyPr wrap="square" anchor="ctr">
            <a:noAutofit/>
          </a:bodyPr>
          <a:lstStyle>
            <a:lvl1pPr marL="0" indent="0" algn="ctr">
              <a:buNone/>
              <a:defRPr/>
            </a:lvl1pPr>
          </a:lstStyle>
          <a:p>
            <a:br>
              <a:rPr lang="en-GB" noProof="0" dirty="0"/>
            </a:br>
            <a:br>
              <a:rPr lang="en-GB" noProof="0" dirty="0"/>
            </a:br>
            <a:r>
              <a:rPr lang="en-GB" noProof="0" dirty="0"/>
              <a:t>Insert your picture here</a:t>
            </a:r>
          </a:p>
        </p:txBody>
      </p:sp>
      <p:sp>
        <p:nvSpPr>
          <p:cNvPr id="12" name="Marcador de texto 2"/>
          <p:cNvSpPr>
            <a:spLocks noGrp="1"/>
          </p:cNvSpPr>
          <p:nvPr>
            <p:ph type="body" sz="quarter" idx="19" hasCustomPrompt="1"/>
          </p:nvPr>
        </p:nvSpPr>
        <p:spPr>
          <a:xfrm>
            <a:off x="6063308" y="1472789"/>
            <a:ext cx="5492496" cy="4828566"/>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Tree>
    <p:extLst>
      <p:ext uri="{BB962C8B-B14F-4D97-AF65-F5344CB8AC3E}">
        <p14:creationId xmlns:p14="http://schemas.microsoft.com/office/powerpoint/2010/main" val="17225175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dex with photo">
    <p:bg>
      <p:bgPr>
        <a:solidFill>
          <a:schemeClr val="bg1"/>
        </a:solidFill>
        <a:effectLst/>
      </p:bgPr>
    </p:bg>
    <p:spTree>
      <p:nvGrpSpPr>
        <p:cNvPr id="1" name=""/>
        <p:cNvGrpSpPr/>
        <p:nvPr/>
      </p:nvGrpSpPr>
      <p:grpSpPr>
        <a:xfrm>
          <a:off x="0" y="0"/>
          <a:ext cx="0" cy="0"/>
          <a:chOff x="0" y="0"/>
          <a:chExt cx="0" cy="0"/>
        </a:xfrm>
      </p:grpSpPr>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US" noProof="0"/>
              <a:t>© Amadeus IT Group and its affiliates and subsidiaries</a:t>
            </a:r>
            <a:endParaRPr lang="en-GB" noProof="0" dirty="0"/>
          </a:p>
        </p:txBody>
      </p:sp>
      <p:sp>
        <p:nvSpPr>
          <p:cNvPr id="11" name="Marcador de posición de imagen 17"/>
          <p:cNvSpPr>
            <a:spLocks noGrp="1"/>
          </p:cNvSpPr>
          <p:nvPr>
            <p:ph type="pic" sz="quarter" idx="16" hasCustomPrompt="1"/>
          </p:nvPr>
        </p:nvSpPr>
        <p:spPr>
          <a:xfrm>
            <a:off x="6700995" y="1253118"/>
            <a:ext cx="5501358" cy="5620685"/>
          </a:xfrm>
          <a:custGeom>
            <a:avLst/>
            <a:gdLst>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384658 w 7139966"/>
              <a:gd name="connsiteY5" fmla="*/ 4842007 h 5750830"/>
              <a:gd name="connsiteX6" fmla="*/ 96431 w 7139966"/>
              <a:gd name="connsiteY6" fmla="*/ 3690231 h 5750830"/>
              <a:gd name="connsiteX7" fmla="*/ 96431 w 7139966"/>
              <a:gd name="connsiteY7" fmla="*/ 2556452 h 5750830"/>
              <a:gd name="connsiteX8" fmla="*/ 1384443 w 7139966"/>
              <a:gd name="connsiteY8" fmla="*/ 1611635 h 5750830"/>
              <a:gd name="connsiteX9" fmla="*/ 5293515 w 7139966"/>
              <a:gd name="connsiteY9" fmla="*/ 72935 h 5750830"/>
              <a:gd name="connsiteX10" fmla="*/ 5637046 w 7139966"/>
              <a:gd name="connsiteY10"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946 h 5750830"/>
              <a:gd name="connsiteX1" fmla="*/ 6707626 w 7139966"/>
              <a:gd name="connsiteY1" fmla="*/ 810791 h 5750830"/>
              <a:gd name="connsiteX2" fmla="*/ 7139966 w 7139966"/>
              <a:gd name="connsiteY2" fmla="*/ 2214518 h 5750830"/>
              <a:gd name="connsiteX3" fmla="*/ 7139966 w 7139966"/>
              <a:gd name="connsiteY3" fmla="*/ 5750830 h 5750830"/>
              <a:gd name="connsiteX4" fmla="*/ 1951889 w 7139966"/>
              <a:gd name="connsiteY4" fmla="*/ 5750830 h 5750830"/>
              <a:gd name="connsiteX5" fmla="*/ 479487 w 7139966"/>
              <a:gd name="connsiteY5" fmla="*/ 5082594 h 5750830"/>
              <a:gd name="connsiteX6" fmla="*/ 384658 w 7139966"/>
              <a:gd name="connsiteY6" fmla="*/ 4842007 h 5750830"/>
              <a:gd name="connsiteX7" fmla="*/ 96431 w 7139966"/>
              <a:gd name="connsiteY7" fmla="*/ 3690231 h 5750830"/>
              <a:gd name="connsiteX8" fmla="*/ 96431 w 7139966"/>
              <a:gd name="connsiteY8" fmla="*/ 2556452 h 5750830"/>
              <a:gd name="connsiteX9" fmla="*/ 1384443 w 7139966"/>
              <a:gd name="connsiteY9" fmla="*/ 1611635 h 5750830"/>
              <a:gd name="connsiteX10" fmla="*/ 5293515 w 7139966"/>
              <a:gd name="connsiteY10" fmla="*/ 72935 h 5750830"/>
              <a:gd name="connsiteX11" fmla="*/ 5637046 w 7139966"/>
              <a:gd name="connsiteY11" fmla="*/ 946 h 5750830"/>
              <a:gd name="connsiteX0" fmla="*/ 5637046 w 7139966"/>
              <a:gd name="connsiteY0" fmla="*/ 56765 h 5806649"/>
              <a:gd name="connsiteX1" fmla="*/ 5887236 w 7139966"/>
              <a:gd name="connsiteY1" fmla="*/ 64712 h 5806649"/>
              <a:gd name="connsiteX2" fmla="*/ 6707626 w 7139966"/>
              <a:gd name="connsiteY2" fmla="*/ 866610 h 5806649"/>
              <a:gd name="connsiteX3" fmla="*/ 7139966 w 7139966"/>
              <a:gd name="connsiteY3" fmla="*/ 2270337 h 5806649"/>
              <a:gd name="connsiteX4" fmla="*/ 7139966 w 7139966"/>
              <a:gd name="connsiteY4" fmla="*/ 5806649 h 5806649"/>
              <a:gd name="connsiteX5" fmla="*/ 1951889 w 7139966"/>
              <a:gd name="connsiteY5" fmla="*/ 5806649 h 5806649"/>
              <a:gd name="connsiteX6" fmla="*/ 479487 w 7139966"/>
              <a:gd name="connsiteY6" fmla="*/ 5138413 h 5806649"/>
              <a:gd name="connsiteX7" fmla="*/ 384658 w 7139966"/>
              <a:gd name="connsiteY7" fmla="*/ 4897826 h 5806649"/>
              <a:gd name="connsiteX8" fmla="*/ 96431 w 7139966"/>
              <a:gd name="connsiteY8" fmla="*/ 3746050 h 5806649"/>
              <a:gd name="connsiteX9" fmla="*/ 96431 w 7139966"/>
              <a:gd name="connsiteY9" fmla="*/ 2612271 h 5806649"/>
              <a:gd name="connsiteX10" fmla="*/ 1384443 w 7139966"/>
              <a:gd name="connsiteY10" fmla="*/ 1667454 h 5806649"/>
              <a:gd name="connsiteX11" fmla="*/ 5293515 w 7139966"/>
              <a:gd name="connsiteY11" fmla="*/ 128754 h 5806649"/>
              <a:gd name="connsiteX12" fmla="*/ 5637046 w 7139966"/>
              <a:gd name="connsiteY12" fmla="*/ 56765 h 5806649"/>
              <a:gd name="connsiteX0" fmla="*/ 5637046 w 7139966"/>
              <a:gd name="connsiteY0" fmla="*/ 2056 h 5751940"/>
              <a:gd name="connsiteX1" fmla="*/ 5887236 w 7139966"/>
              <a:gd name="connsiteY1" fmla="*/ 10003 h 5751940"/>
              <a:gd name="connsiteX2" fmla="*/ 6707626 w 7139966"/>
              <a:gd name="connsiteY2" fmla="*/ 811901 h 5751940"/>
              <a:gd name="connsiteX3" fmla="*/ 7139966 w 7139966"/>
              <a:gd name="connsiteY3" fmla="*/ 2215628 h 5751940"/>
              <a:gd name="connsiteX4" fmla="*/ 7139966 w 7139966"/>
              <a:gd name="connsiteY4" fmla="*/ 5751940 h 5751940"/>
              <a:gd name="connsiteX5" fmla="*/ 1951889 w 7139966"/>
              <a:gd name="connsiteY5" fmla="*/ 5751940 h 5751940"/>
              <a:gd name="connsiteX6" fmla="*/ 479487 w 7139966"/>
              <a:gd name="connsiteY6" fmla="*/ 5083704 h 5751940"/>
              <a:gd name="connsiteX7" fmla="*/ 384658 w 7139966"/>
              <a:gd name="connsiteY7" fmla="*/ 4843117 h 5751940"/>
              <a:gd name="connsiteX8" fmla="*/ 96431 w 7139966"/>
              <a:gd name="connsiteY8" fmla="*/ 3691341 h 5751940"/>
              <a:gd name="connsiteX9" fmla="*/ 96431 w 7139966"/>
              <a:gd name="connsiteY9" fmla="*/ 2557562 h 5751940"/>
              <a:gd name="connsiteX10" fmla="*/ 1384443 w 7139966"/>
              <a:gd name="connsiteY10" fmla="*/ 1612745 h 5751940"/>
              <a:gd name="connsiteX11" fmla="*/ 5293515 w 7139966"/>
              <a:gd name="connsiteY11" fmla="*/ 74045 h 5751940"/>
              <a:gd name="connsiteX12" fmla="*/ 5637046 w 7139966"/>
              <a:gd name="connsiteY12" fmla="*/ 2056 h 5751940"/>
              <a:gd name="connsiteX0" fmla="*/ 5637046 w 7139966"/>
              <a:gd name="connsiteY0" fmla="*/ 2056 h 5751940"/>
              <a:gd name="connsiteX1" fmla="*/ 5887236 w 7139966"/>
              <a:gd name="connsiteY1" fmla="*/ 10003 h 5751940"/>
              <a:gd name="connsiteX2" fmla="*/ 7139966 w 7139966"/>
              <a:gd name="connsiteY2" fmla="*/ 2215628 h 5751940"/>
              <a:gd name="connsiteX3" fmla="*/ 7139966 w 7139966"/>
              <a:gd name="connsiteY3" fmla="*/ 5751940 h 5751940"/>
              <a:gd name="connsiteX4" fmla="*/ 1951889 w 7139966"/>
              <a:gd name="connsiteY4" fmla="*/ 5751940 h 5751940"/>
              <a:gd name="connsiteX5" fmla="*/ 479487 w 7139966"/>
              <a:gd name="connsiteY5" fmla="*/ 5083704 h 5751940"/>
              <a:gd name="connsiteX6" fmla="*/ 384658 w 7139966"/>
              <a:gd name="connsiteY6" fmla="*/ 4843117 h 5751940"/>
              <a:gd name="connsiteX7" fmla="*/ 96431 w 7139966"/>
              <a:gd name="connsiteY7" fmla="*/ 3691341 h 5751940"/>
              <a:gd name="connsiteX8" fmla="*/ 96431 w 7139966"/>
              <a:gd name="connsiteY8" fmla="*/ 2557562 h 5751940"/>
              <a:gd name="connsiteX9" fmla="*/ 1384443 w 7139966"/>
              <a:gd name="connsiteY9" fmla="*/ 1612745 h 5751940"/>
              <a:gd name="connsiteX10" fmla="*/ 5293515 w 7139966"/>
              <a:gd name="connsiteY10" fmla="*/ 74045 h 5751940"/>
              <a:gd name="connsiteX11" fmla="*/ 5637046 w 7139966"/>
              <a:gd name="connsiteY11"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1951889 w 7292370"/>
              <a:gd name="connsiteY3" fmla="*/ 5751940 h 5751940"/>
              <a:gd name="connsiteX4" fmla="*/ 479487 w 7292370"/>
              <a:gd name="connsiteY4" fmla="*/ 5083704 h 5751940"/>
              <a:gd name="connsiteX5" fmla="*/ 384658 w 7292370"/>
              <a:gd name="connsiteY5" fmla="*/ 4843117 h 5751940"/>
              <a:gd name="connsiteX6" fmla="*/ 96431 w 7292370"/>
              <a:gd name="connsiteY6" fmla="*/ 3691341 h 5751940"/>
              <a:gd name="connsiteX7" fmla="*/ 96431 w 7292370"/>
              <a:gd name="connsiteY7" fmla="*/ 2557562 h 5751940"/>
              <a:gd name="connsiteX8" fmla="*/ 1384443 w 7292370"/>
              <a:gd name="connsiteY8" fmla="*/ 1612745 h 5751940"/>
              <a:gd name="connsiteX9" fmla="*/ 5293515 w 7292370"/>
              <a:gd name="connsiteY9" fmla="*/ 74045 h 5751940"/>
              <a:gd name="connsiteX10" fmla="*/ 5637046 w 7292370"/>
              <a:gd name="connsiteY10" fmla="*/ 2056 h 5751940"/>
              <a:gd name="connsiteX0" fmla="*/ 5637046 w 7292370"/>
              <a:gd name="connsiteY0" fmla="*/ 2056 h 5751940"/>
              <a:gd name="connsiteX1" fmla="*/ 5887236 w 7292370"/>
              <a:gd name="connsiteY1" fmla="*/ 10003 h 5751940"/>
              <a:gd name="connsiteX2" fmla="*/ 7139966 w 7292370"/>
              <a:gd name="connsiteY2" fmla="*/ 5751940 h 5751940"/>
              <a:gd name="connsiteX3" fmla="*/ 479487 w 7292370"/>
              <a:gd name="connsiteY3" fmla="*/ 5083704 h 5751940"/>
              <a:gd name="connsiteX4" fmla="*/ 384658 w 7292370"/>
              <a:gd name="connsiteY4" fmla="*/ 4843117 h 5751940"/>
              <a:gd name="connsiteX5" fmla="*/ 96431 w 7292370"/>
              <a:gd name="connsiteY5" fmla="*/ 3691341 h 5751940"/>
              <a:gd name="connsiteX6" fmla="*/ 96431 w 7292370"/>
              <a:gd name="connsiteY6" fmla="*/ 2557562 h 5751940"/>
              <a:gd name="connsiteX7" fmla="*/ 1384443 w 7292370"/>
              <a:gd name="connsiteY7" fmla="*/ 1612745 h 5751940"/>
              <a:gd name="connsiteX8" fmla="*/ 5293515 w 7292370"/>
              <a:gd name="connsiteY8" fmla="*/ 74045 h 5751940"/>
              <a:gd name="connsiteX9" fmla="*/ 5637046 w 7292370"/>
              <a:gd name="connsiteY9" fmla="*/ 2056 h 5751940"/>
              <a:gd name="connsiteX0" fmla="*/ 5637046 w 5956691"/>
              <a:gd name="connsiteY0" fmla="*/ 2056 h 5083704"/>
              <a:gd name="connsiteX1" fmla="*/ 5887236 w 5956691"/>
              <a:gd name="connsiteY1" fmla="*/ 10003 h 5083704"/>
              <a:gd name="connsiteX2" fmla="*/ 5022820 w 5956691"/>
              <a:gd name="connsiteY2" fmla="*/ 4627335 h 5083704"/>
              <a:gd name="connsiteX3" fmla="*/ 479487 w 5956691"/>
              <a:gd name="connsiteY3" fmla="*/ 5083704 h 5083704"/>
              <a:gd name="connsiteX4" fmla="*/ 384658 w 5956691"/>
              <a:gd name="connsiteY4" fmla="*/ 4843117 h 5083704"/>
              <a:gd name="connsiteX5" fmla="*/ 96431 w 5956691"/>
              <a:gd name="connsiteY5" fmla="*/ 3691341 h 5083704"/>
              <a:gd name="connsiteX6" fmla="*/ 96431 w 5956691"/>
              <a:gd name="connsiteY6" fmla="*/ 2557562 h 5083704"/>
              <a:gd name="connsiteX7" fmla="*/ 1384443 w 5956691"/>
              <a:gd name="connsiteY7" fmla="*/ 1612745 h 5083704"/>
              <a:gd name="connsiteX8" fmla="*/ 5293515 w 5956691"/>
              <a:gd name="connsiteY8" fmla="*/ 74045 h 5083704"/>
              <a:gd name="connsiteX9" fmla="*/ 5637046 w 5956691"/>
              <a:gd name="connsiteY9" fmla="*/ 2056 h 5083704"/>
              <a:gd name="connsiteX0" fmla="*/ 5637046 w 6243539"/>
              <a:gd name="connsiteY0" fmla="*/ 2056 h 5105891"/>
              <a:gd name="connsiteX1" fmla="*/ 5887236 w 6243539"/>
              <a:gd name="connsiteY1" fmla="*/ 10003 h 5105891"/>
              <a:gd name="connsiteX2" fmla="*/ 5888498 w 6243539"/>
              <a:gd name="connsiteY2" fmla="*/ 5105891 h 5105891"/>
              <a:gd name="connsiteX3" fmla="*/ 479487 w 6243539"/>
              <a:gd name="connsiteY3" fmla="*/ 5083704 h 5105891"/>
              <a:gd name="connsiteX4" fmla="*/ 384658 w 6243539"/>
              <a:gd name="connsiteY4" fmla="*/ 4843117 h 5105891"/>
              <a:gd name="connsiteX5" fmla="*/ 96431 w 6243539"/>
              <a:gd name="connsiteY5" fmla="*/ 3691341 h 5105891"/>
              <a:gd name="connsiteX6" fmla="*/ 96431 w 6243539"/>
              <a:gd name="connsiteY6" fmla="*/ 2557562 h 5105891"/>
              <a:gd name="connsiteX7" fmla="*/ 1384443 w 6243539"/>
              <a:gd name="connsiteY7" fmla="*/ 1612745 h 5105891"/>
              <a:gd name="connsiteX8" fmla="*/ 5293515 w 6243539"/>
              <a:gd name="connsiteY8" fmla="*/ 74045 h 5105891"/>
              <a:gd name="connsiteX9" fmla="*/ 5637046 w 6243539"/>
              <a:gd name="connsiteY9" fmla="*/ 2056 h 5105891"/>
              <a:gd name="connsiteX0" fmla="*/ 5637046 w 5996219"/>
              <a:gd name="connsiteY0" fmla="*/ 2056 h 5105891"/>
              <a:gd name="connsiteX1" fmla="*/ 5887236 w 5996219"/>
              <a:gd name="connsiteY1" fmla="*/ 10003 h 5105891"/>
              <a:gd name="connsiteX2" fmla="*/ 5888498 w 5996219"/>
              <a:gd name="connsiteY2" fmla="*/ 5105891 h 5105891"/>
              <a:gd name="connsiteX3" fmla="*/ 479487 w 5996219"/>
              <a:gd name="connsiteY3" fmla="*/ 5083704 h 5105891"/>
              <a:gd name="connsiteX4" fmla="*/ 384658 w 5996219"/>
              <a:gd name="connsiteY4" fmla="*/ 4843117 h 5105891"/>
              <a:gd name="connsiteX5" fmla="*/ 96431 w 5996219"/>
              <a:gd name="connsiteY5" fmla="*/ 3691341 h 5105891"/>
              <a:gd name="connsiteX6" fmla="*/ 96431 w 5996219"/>
              <a:gd name="connsiteY6" fmla="*/ 2557562 h 5105891"/>
              <a:gd name="connsiteX7" fmla="*/ 1384443 w 5996219"/>
              <a:gd name="connsiteY7" fmla="*/ 1612745 h 5105891"/>
              <a:gd name="connsiteX8" fmla="*/ 5293515 w 5996219"/>
              <a:gd name="connsiteY8" fmla="*/ 74045 h 5105891"/>
              <a:gd name="connsiteX9" fmla="*/ 5637046 w 5996219"/>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79487 w 5888498"/>
              <a:gd name="connsiteY3" fmla="*/ 5083704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88498"/>
              <a:gd name="connsiteY0" fmla="*/ 2056 h 5105891"/>
              <a:gd name="connsiteX1" fmla="*/ 5887236 w 5888498"/>
              <a:gd name="connsiteY1" fmla="*/ 10003 h 5105891"/>
              <a:gd name="connsiteX2" fmla="*/ 5888498 w 5888498"/>
              <a:gd name="connsiteY2" fmla="*/ 5105891 h 5105891"/>
              <a:gd name="connsiteX3" fmla="*/ 460668 w 5888498"/>
              <a:gd name="connsiteY3" fmla="*/ 5085698 h 5105891"/>
              <a:gd name="connsiteX4" fmla="*/ 384658 w 5888498"/>
              <a:gd name="connsiteY4" fmla="*/ 4843117 h 5105891"/>
              <a:gd name="connsiteX5" fmla="*/ 96431 w 5888498"/>
              <a:gd name="connsiteY5" fmla="*/ 3691341 h 5105891"/>
              <a:gd name="connsiteX6" fmla="*/ 96431 w 5888498"/>
              <a:gd name="connsiteY6" fmla="*/ 2557562 h 5105891"/>
              <a:gd name="connsiteX7" fmla="*/ 1384443 w 5888498"/>
              <a:gd name="connsiteY7" fmla="*/ 1612745 h 5105891"/>
              <a:gd name="connsiteX8" fmla="*/ 5293515 w 5888498"/>
              <a:gd name="connsiteY8" fmla="*/ 74045 h 5105891"/>
              <a:gd name="connsiteX9" fmla="*/ 5637046 w 5888498"/>
              <a:gd name="connsiteY9" fmla="*/ 2056 h 5105891"/>
              <a:gd name="connsiteX0" fmla="*/ 5637046 w 5893203"/>
              <a:gd name="connsiteY0" fmla="*/ 2056 h 5103897"/>
              <a:gd name="connsiteX1" fmla="*/ 5887236 w 5893203"/>
              <a:gd name="connsiteY1" fmla="*/ 10003 h 5103897"/>
              <a:gd name="connsiteX2" fmla="*/ 5893203 w 5893203"/>
              <a:gd name="connsiteY2" fmla="*/ 5103897 h 5103897"/>
              <a:gd name="connsiteX3" fmla="*/ 460668 w 5893203"/>
              <a:gd name="connsiteY3" fmla="*/ 5085698 h 5103897"/>
              <a:gd name="connsiteX4" fmla="*/ 384658 w 5893203"/>
              <a:gd name="connsiteY4" fmla="*/ 4843117 h 5103897"/>
              <a:gd name="connsiteX5" fmla="*/ 96431 w 5893203"/>
              <a:gd name="connsiteY5" fmla="*/ 3691341 h 5103897"/>
              <a:gd name="connsiteX6" fmla="*/ 96431 w 5893203"/>
              <a:gd name="connsiteY6" fmla="*/ 2557562 h 5103897"/>
              <a:gd name="connsiteX7" fmla="*/ 1384443 w 5893203"/>
              <a:gd name="connsiteY7" fmla="*/ 1612745 h 5103897"/>
              <a:gd name="connsiteX8" fmla="*/ 5293515 w 5893203"/>
              <a:gd name="connsiteY8" fmla="*/ 74045 h 5103897"/>
              <a:gd name="connsiteX9" fmla="*/ 5637046 w 5893203"/>
              <a:gd name="connsiteY9" fmla="*/ 2056 h 5103897"/>
              <a:gd name="connsiteX0" fmla="*/ 5637046 w 5893737"/>
              <a:gd name="connsiteY0" fmla="*/ 2056 h 5103897"/>
              <a:gd name="connsiteX1" fmla="*/ 5887236 w 5893737"/>
              <a:gd name="connsiteY1" fmla="*/ 10003 h 5103897"/>
              <a:gd name="connsiteX2" fmla="*/ 5893203 w 5893737"/>
              <a:gd name="connsiteY2" fmla="*/ 5103897 h 5103897"/>
              <a:gd name="connsiteX3" fmla="*/ 460668 w 5893737"/>
              <a:gd name="connsiteY3" fmla="*/ 5085698 h 5103897"/>
              <a:gd name="connsiteX4" fmla="*/ 384658 w 5893737"/>
              <a:gd name="connsiteY4" fmla="*/ 4843117 h 5103897"/>
              <a:gd name="connsiteX5" fmla="*/ 96431 w 5893737"/>
              <a:gd name="connsiteY5" fmla="*/ 3691341 h 5103897"/>
              <a:gd name="connsiteX6" fmla="*/ 96431 w 5893737"/>
              <a:gd name="connsiteY6" fmla="*/ 2557562 h 5103897"/>
              <a:gd name="connsiteX7" fmla="*/ 1384443 w 5893737"/>
              <a:gd name="connsiteY7" fmla="*/ 1612745 h 5103897"/>
              <a:gd name="connsiteX8" fmla="*/ 5293515 w 5893737"/>
              <a:gd name="connsiteY8" fmla="*/ 74045 h 5103897"/>
              <a:gd name="connsiteX9" fmla="*/ 5637046 w 5893737"/>
              <a:gd name="connsiteY9" fmla="*/ 2056 h 5103897"/>
              <a:gd name="connsiteX0" fmla="*/ 5637046 w 5894700"/>
              <a:gd name="connsiteY0" fmla="*/ 1873 h 5103714"/>
              <a:gd name="connsiteX1" fmla="*/ 5894293 w 5894700"/>
              <a:gd name="connsiteY1" fmla="*/ 13808 h 5103714"/>
              <a:gd name="connsiteX2" fmla="*/ 5893203 w 5894700"/>
              <a:gd name="connsiteY2" fmla="*/ 5103714 h 5103714"/>
              <a:gd name="connsiteX3" fmla="*/ 460668 w 5894700"/>
              <a:gd name="connsiteY3" fmla="*/ 5085515 h 5103714"/>
              <a:gd name="connsiteX4" fmla="*/ 384658 w 5894700"/>
              <a:gd name="connsiteY4" fmla="*/ 4842934 h 5103714"/>
              <a:gd name="connsiteX5" fmla="*/ 96431 w 5894700"/>
              <a:gd name="connsiteY5" fmla="*/ 3691158 h 5103714"/>
              <a:gd name="connsiteX6" fmla="*/ 96431 w 5894700"/>
              <a:gd name="connsiteY6" fmla="*/ 2557379 h 5103714"/>
              <a:gd name="connsiteX7" fmla="*/ 1384443 w 5894700"/>
              <a:gd name="connsiteY7" fmla="*/ 1612562 h 5103714"/>
              <a:gd name="connsiteX8" fmla="*/ 5293515 w 5894700"/>
              <a:gd name="connsiteY8" fmla="*/ 73862 h 5103714"/>
              <a:gd name="connsiteX9" fmla="*/ 5637046 w 5894700"/>
              <a:gd name="connsiteY9" fmla="*/ 1873 h 5103714"/>
              <a:gd name="connsiteX0" fmla="*/ 5637046 w 5894326"/>
              <a:gd name="connsiteY0" fmla="*/ 2809 h 5104650"/>
              <a:gd name="connsiteX1" fmla="*/ 5894293 w 5894326"/>
              <a:gd name="connsiteY1" fmla="*/ 14744 h 5104650"/>
              <a:gd name="connsiteX2" fmla="*/ 5893203 w 5894326"/>
              <a:gd name="connsiteY2" fmla="*/ 5104650 h 5104650"/>
              <a:gd name="connsiteX3" fmla="*/ 460668 w 5894326"/>
              <a:gd name="connsiteY3" fmla="*/ 5086451 h 5104650"/>
              <a:gd name="connsiteX4" fmla="*/ 384658 w 5894326"/>
              <a:gd name="connsiteY4" fmla="*/ 4843870 h 5104650"/>
              <a:gd name="connsiteX5" fmla="*/ 96431 w 5894326"/>
              <a:gd name="connsiteY5" fmla="*/ 3692094 h 5104650"/>
              <a:gd name="connsiteX6" fmla="*/ 96431 w 5894326"/>
              <a:gd name="connsiteY6" fmla="*/ 2558315 h 5104650"/>
              <a:gd name="connsiteX7" fmla="*/ 1384443 w 5894326"/>
              <a:gd name="connsiteY7" fmla="*/ 1613498 h 5104650"/>
              <a:gd name="connsiteX8" fmla="*/ 5293515 w 5894326"/>
              <a:gd name="connsiteY8" fmla="*/ 74798 h 5104650"/>
              <a:gd name="connsiteX9" fmla="*/ 5637046 w 5894326"/>
              <a:gd name="connsiteY9" fmla="*/ 2809 h 510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4326" h="5104650">
                <a:moveTo>
                  <a:pt x="5637046" y="2809"/>
                </a:moveTo>
                <a:cubicBezTo>
                  <a:pt x="5736000" y="-7865"/>
                  <a:pt x="5896997" y="15361"/>
                  <a:pt x="5894293" y="14744"/>
                </a:cubicBezTo>
                <a:cubicBezTo>
                  <a:pt x="5881314" y="981034"/>
                  <a:pt x="5897484" y="4143673"/>
                  <a:pt x="5893203" y="5104650"/>
                </a:cubicBezTo>
                <a:lnTo>
                  <a:pt x="460668" y="5086451"/>
                </a:lnTo>
                <a:cubicBezTo>
                  <a:pt x="456428" y="5060457"/>
                  <a:pt x="445364" y="5076263"/>
                  <a:pt x="384658" y="4843870"/>
                </a:cubicBezTo>
                <a:cubicBezTo>
                  <a:pt x="323952" y="4611477"/>
                  <a:pt x="192507" y="4076019"/>
                  <a:pt x="96431" y="3692094"/>
                </a:cubicBezTo>
                <a:cubicBezTo>
                  <a:pt x="6360" y="3305169"/>
                  <a:pt x="-65696" y="2945239"/>
                  <a:pt x="96431" y="2558315"/>
                </a:cubicBezTo>
                <a:cubicBezTo>
                  <a:pt x="312601" y="2027418"/>
                  <a:pt x="880047" y="1829456"/>
                  <a:pt x="1384443" y="1613498"/>
                </a:cubicBezTo>
                <a:lnTo>
                  <a:pt x="5293515" y="74798"/>
                </a:lnTo>
                <a:cubicBezTo>
                  <a:pt x="5410044" y="30931"/>
                  <a:pt x="5525307" y="7627"/>
                  <a:pt x="5637046" y="2809"/>
                </a:cubicBezTo>
                <a:close/>
              </a:path>
            </a:pathLst>
          </a:custGeom>
          <a:solidFill>
            <a:schemeClr val="accent4"/>
          </a:solidFill>
        </p:spPr>
        <p:txBody>
          <a:bodyPr wrap="square" anchor="ctr">
            <a:noAutofit/>
          </a:bodyPr>
          <a:lstStyle>
            <a:lvl1pPr marL="0" indent="0" algn="ctr">
              <a:buNone/>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20"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16" name="Title 1"/>
          <p:cNvSpPr>
            <a:spLocks noGrp="1"/>
          </p:cNvSpPr>
          <p:nvPr>
            <p:ph type="title" hasCustomPrompt="1"/>
          </p:nvPr>
        </p:nvSpPr>
        <p:spPr>
          <a:xfrm>
            <a:off x="268225" y="310463"/>
            <a:ext cx="6286759" cy="596766"/>
          </a:xfrm>
        </p:spPr>
        <p:txBody>
          <a:bodyPr tIns="0" anchor="b"/>
          <a:lstStyle>
            <a:lvl1pPr>
              <a:lnSpc>
                <a:spcPct val="100000"/>
              </a:lnSpc>
              <a:defRPr sz="2400">
                <a:solidFill>
                  <a:schemeClr val="tx2"/>
                </a:solidFill>
                <a:latin typeface="+mj-lt"/>
              </a:defRPr>
            </a:lvl1pPr>
          </a:lstStyle>
          <a:p>
            <a:r>
              <a:rPr lang="en-GB" noProof="0" dirty="0"/>
              <a:t>Agenda</a:t>
            </a:r>
          </a:p>
        </p:txBody>
      </p:sp>
      <p:sp>
        <p:nvSpPr>
          <p:cNvPr id="17" name="Marcador de texto 4"/>
          <p:cNvSpPr>
            <a:spLocks noGrp="1"/>
          </p:cNvSpPr>
          <p:nvPr>
            <p:ph type="body" sz="quarter" idx="14" hasCustomPrompt="1"/>
          </p:nvPr>
        </p:nvSpPr>
        <p:spPr>
          <a:xfrm>
            <a:off x="302728" y="1155701"/>
            <a:ext cx="6286758" cy="4597400"/>
          </a:xfrm>
          <a:prstGeom prst="rect">
            <a:avLst/>
          </a:prstGeom>
        </p:spPr>
        <p:txBody>
          <a:bodyPr>
            <a:normAutofit/>
          </a:bodyPr>
          <a:lstStyle>
            <a:lvl1pPr marL="457200" indent="-457200">
              <a:lnSpc>
                <a:spcPct val="100000"/>
              </a:lnSpc>
              <a:buClr>
                <a:schemeClr val="accent2"/>
              </a:buClr>
              <a:buSzPct val="100000"/>
              <a:buFont typeface="+mj-lt"/>
              <a:buAutoNum type="arabicPeriod"/>
              <a:defRPr sz="2400" baseline="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Index 1</a:t>
            </a:r>
          </a:p>
          <a:p>
            <a:pPr lvl="0"/>
            <a:r>
              <a:rPr lang="en-GB" noProof="0" dirty="0"/>
              <a:t>Index 2</a:t>
            </a:r>
          </a:p>
          <a:p>
            <a:pPr lvl="0"/>
            <a:r>
              <a:rPr lang="en-GB" noProof="0" dirty="0"/>
              <a:t>Index 3</a:t>
            </a:r>
          </a:p>
        </p:txBody>
      </p:sp>
    </p:spTree>
    <p:extLst>
      <p:ext uri="{BB962C8B-B14F-4D97-AF65-F5344CB8AC3E}">
        <p14:creationId xmlns:p14="http://schemas.microsoft.com/office/powerpoint/2010/main" val="22759563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and two photos">
    <p:spTree>
      <p:nvGrpSpPr>
        <p:cNvPr id="1" name=""/>
        <p:cNvGrpSpPr/>
        <p:nvPr/>
      </p:nvGrpSpPr>
      <p:grpSpPr>
        <a:xfrm>
          <a:off x="0" y="0"/>
          <a:ext cx="0" cy="0"/>
          <a:chOff x="0" y="0"/>
          <a:chExt cx="0" cy="0"/>
        </a:xfrm>
      </p:grpSpPr>
      <p:sp>
        <p:nvSpPr>
          <p:cNvPr id="12" name="Picture Placeholder 2"/>
          <p:cNvSpPr>
            <a:spLocks noGrp="1"/>
          </p:cNvSpPr>
          <p:nvPr>
            <p:ph type="pic" sz="quarter" idx="15" hasCustomPrompt="1"/>
          </p:nvPr>
        </p:nvSpPr>
        <p:spPr>
          <a:xfrm>
            <a:off x="6050347" y="3747118"/>
            <a:ext cx="5470141" cy="1790083"/>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14" name="Text Placeholder 4"/>
          <p:cNvSpPr>
            <a:spLocks noGrp="1"/>
          </p:cNvSpPr>
          <p:nvPr>
            <p:ph type="body" sz="quarter" idx="17"/>
          </p:nvPr>
        </p:nvSpPr>
        <p:spPr>
          <a:xfrm>
            <a:off x="6060571" y="5581458"/>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
        <p:nvSpPr>
          <p:cNvPr id="22" name="Picture Placeholder 2"/>
          <p:cNvSpPr>
            <a:spLocks noGrp="1"/>
          </p:cNvSpPr>
          <p:nvPr>
            <p:ph type="pic" sz="quarter" idx="20" hasCustomPrompt="1"/>
          </p:nvPr>
        </p:nvSpPr>
        <p:spPr>
          <a:xfrm>
            <a:off x="6050084" y="1330841"/>
            <a:ext cx="5470141" cy="1790206"/>
          </a:xfrm>
          <a:prstGeom prst="rect">
            <a:avLst/>
          </a:prstGeom>
          <a:solidFill>
            <a:schemeClr val="bg1">
              <a:lumMod val="95000"/>
            </a:schemeClr>
          </a:solidFill>
        </p:spPr>
        <p:txBody>
          <a:bodyPr anchor="ctr"/>
          <a:lstStyle>
            <a:lvl1pPr marL="0" marR="0" indent="0" algn="ctr" defTabSz="685749" rtl="0" eaLnBrk="1" fontAlgn="auto" latinLnBrk="0" hangingPunct="1">
              <a:lnSpc>
                <a:spcPct val="90000"/>
              </a:lnSpc>
              <a:spcBef>
                <a:spcPts val="750"/>
              </a:spcBef>
              <a:spcAft>
                <a:spcPts val="0"/>
              </a:spcAft>
              <a:buClr>
                <a:schemeClr val="accent2"/>
              </a:buClr>
              <a:buSzPct val="92000"/>
              <a:buFont typeface="Lucida Grande"/>
              <a:buNone/>
              <a:tabLst/>
              <a:defRPr/>
            </a:lvl1pPr>
          </a:lstStyle>
          <a:p>
            <a:br>
              <a:rPr lang="en-GB" noProof="0" dirty="0"/>
            </a:br>
            <a:br>
              <a:rPr lang="en-GB" noProof="0" dirty="0"/>
            </a:br>
            <a:br>
              <a:rPr lang="en-GB" noProof="0" dirty="0"/>
            </a:br>
            <a:br>
              <a:rPr lang="en-GB" noProof="0" dirty="0"/>
            </a:br>
            <a:r>
              <a:rPr lang="en-GB" noProof="0" dirty="0"/>
              <a:t>Insert your picture here</a:t>
            </a:r>
          </a:p>
        </p:txBody>
      </p:sp>
      <p:sp>
        <p:nvSpPr>
          <p:cNvPr id="25"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6" name="Title 1"/>
          <p:cNvSpPr>
            <a:spLocks noGrp="1"/>
          </p:cNvSpPr>
          <p:nvPr>
            <p:ph type="title" hasCustomPrompt="1"/>
          </p:nvPr>
        </p:nvSpPr>
        <p:spPr>
          <a:xfrm>
            <a:off x="268225" y="296865"/>
            <a:ext cx="9378888"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8" name="Text Placeholder 19"/>
          <p:cNvSpPr>
            <a:spLocks noGrp="1"/>
          </p:cNvSpPr>
          <p:nvPr>
            <p:ph type="body" sz="quarter" idx="13" hasCustomPrompt="1"/>
          </p:nvPr>
        </p:nvSpPr>
        <p:spPr>
          <a:xfrm>
            <a:off x="268225" y="779412"/>
            <a:ext cx="9378888"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1" name="Marcador de texto 2"/>
          <p:cNvSpPr>
            <a:spLocks noGrp="1"/>
          </p:cNvSpPr>
          <p:nvPr>
            <p:ph type="body" sz="quarter" idx="19" hasCustomPrompt="1"/>
          </p:nvPr>
        </p:nvSpPr>
        <p:spPr>
          <a:xfrm>
            <a:off x="268225" y="1302027"/>
            <a:ext cx="5492496" cy="4438374"/>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2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3" name="Text Placeholder 4"/>
          <p:cNvSpPr>
            <a:spLocks noGrp="1"/>
          </p:cNvSpPr>
          <p:nvPr>
            <p:ph type="body" sz="quarter" idx="21"/>
          </p:nvPr>
        </p:nvSpPr>
        <p:spPr>
          <a:xfrm>
            <a:off x="6050085" y="3202642"/>
            <a:ext cx="5470143" cy="201873"/>
          </a:xfrm>
          <a:prstGeom prst="rect">
            <a:avLst/>
          </a:prstGeom>
        </p:spPr>
        <p:txBody>
          <a:bodyPr>
            <a:noAutofit/>
          </a:bodyPr>
          <a:lstStyle>
            <a:lvl1pPr marL="0" indent="0">
              <a:buNone/>
              <a:defRPr sz="1200" i="0" baseline="0">
                <a:solidFill>
                  <a:srgbClr val="323232"/>
                </a:solidFill>
                <a:latin typeface="+mj-lt"/>
              </a:defRPr>
            </a:lvl1pPr>
            <a:lvl2pPr>
              <a:defRPr sz="1050">
                <a:latin typeface="+mj-lt"/>
              </a:defRPr>
            </a:lvl2pPr>
            <a:lvl3pPr>
              <a:defRPr sz="900">
                <a:latin typeface="+mj-lt"/>
              </a:defRPr>
            </a:lvl3pPr>
            <a:lvl4pPr>
              <a:defRPr sz="825">
                <a:latin typeface="+mj-lt"/>
              </a:defRPr>
            </a:lvl4pPr>
            <a:lvl5pPr>
              <a:defRPr sz="825">
                <a:latin typeface="+mj-lt"/>
              </a:defRPr>
            </a:lvl5pPr>
          </a:lstStyle>
          <a:p>
            <a:pPr lvl="0"/>
            <a:r>
              <a:rPr lang="en-US" noProof="0"/>
              <a:t>Click to edit Master text styles</a:t>
            </a:r>
          </a:p>
        </p:txBody>
      </p:sp>
    </p:spTree>
    <p:extLst>
      <p:ext uri="{BB962C8B-B14F-4D97-AF65-F5344CB8AC3E}">
        <p14:creationId xmlns:p14="http://schemas.microsoft.com/office/powerpoint/2010/main" val="55871018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83873" y="899886"/>
            <a:ext cx="11022863" cy="4267200"/>
          </a:xfrm>
        </p:spPr>
        <p:txBody>
          <a:bodyPr anchor="b">
            <a:normAutofit/>
          </a:bodyPr>
          <a:lstStyle>
            <a:lvl1pPr>
              <a:lnSpc>
                <a:spcPct val="100000"/>
              </a:lnSpc>
              <a:defRPr sz="3200" baseline="0">
                <a:solidFill>
                  <a:schemeClr val="tx2"/>
                </a:solidFill>
                <a:latin typeface="+mj-lt"/>
              </a:defRPr>
            </a:lvl1pPr>
          </a:lstStyle>
          <a:p>
            <a:r>
              <a:rPr lang="en-GB" noProof="0" dirty="0"/>
              <a:t>“Click to insert your quote”</a:t>
            </a:r>
          </a:p>
        </p:txBody>
      </p:sp>
      <p:sp>
        <p:nvSpPr>
          <p:cNvPr id="6" name="Text Placeholder 19"/>
          <p:cNvSpPr>
            <a:spLocks noGrp="1"/>
          </p:cNvSpPr>
          <p:nvPr>
            <p:ph type="body" sz="quarter" idx="13"/>
          </p:nvPr>
        </p:nvSpPr>
        <p:spPr>
          <a:xfrm>
            <a:off x="283657" y="5240908"/>
            <a:ext cx="4602163" cy="498992"/>
          </a:xfrm>
          <a:prstGeom prst="rect">
            <a:avLst/>
          </a:prstGeom>
        </p:spPr>
        <p:txBody>
          <a:bodyPr>
            <a:noAutofit/>
          </a:bodyPr>
          <a:lstStyle>
            <a:lvl1pPr marL="0" indent="0">
              <a:lnSpc>
                <a:spcPts val="1425"/>
              </a:lnSpc>
              <a:buNone/>
              <a:defRPr sz="1350" i="0">
                <a:solidFill>
                  <a:srgbClr val="32323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11"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Tree>
    <p:extLst>
      <p:ext uri="{BB962C8B-B14F-4D97-AF65-F5344CB8AC3E}">
        <p14:creationId xmlns:p14="http://schemas.microsoft.com/office/powerpoint/2010/main" val="328874150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with figures">
    <p:spTree>
      <p:nvGrpSpPr>
        <p:cNvPr id="1" name=""/>
        <p:cNvGrpSpPr/>
        <p:nvPr/>
      </p:nvGrpSpPr>
      <p:grpSpPr>
        <a:xfrm>
          <a:off x="0" y="0"/>
          <a:ext cx="0" cy="0"/>
          <a:chOff x="0" y="0"/>
          <a:chExt cx="0" cy="0"/>
        </a:xfrm>
      </p:grpSpPr>
      <p:sp>
        <p:nvSpPr>
          <p:cNvPr id="2" name="Rectángulo 1"/>
          <p:cNvSpPr/>
          <p:nvPr userDrawn="1"/>
        </p:nvSpPr>
        <p:spPr>
          <a:xfrm>
            <a:off x="0" y="5828996"/>
            <a:ext cx="3781425" cy="1029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43" name="Content Placeholder 5"/>
          <p:cNvSpPr>
            <a:spLocks noGrp="1"/>
          </p:cNvSpPr>
          <p:nvPr>
            <p:ph sz="quarter" idx="4"/>
          </p:nvPr>
        </p:nvSpPr>
        <p:spPr>
          <a:xfrm>
            <a:off x="304085" y="4034980"/>
            <a:ext cx="3630108" cy="2240292"/>
          </a:xfrm>
          <a:prstGeom prst="rect">
            <a:avLst/>
          </a:prstGeom>
        </p:spPr>
        <p:txBody>
          <a:bodyPr anchor="b">
            <a:noAutofit/>
          </a:bodyPr>
          <a:lstStyle>
            <a:lvl1pPr marL="0" indent="0">
              <a:lnSpc>
                <a:spcPct val="100000"/>
              </a:lnSpc>
              <a:spcAft>
                <a:spcPts val="900"/>
              </a:spcAft>
              <a:buNone/>
              <a:defRPr sz="2000">
                <a:solidFill>
                  <a:srgbClr val="323232"/>
                </a:solidFill>
                <a:latin typeface="+mj-lt"/>
              </a:defRPr>
            </a:lvl1pPr>
            <a:lvl2pPr marL="342875" indent="0">
              <a:lnSpc>
                <a:spcPts val="1575"/>
              </a:lnSpc>
              <a:spcAft>
                <a:spcPts val="900"/>
              </a:spcAft>
              <a:buNone/>
              <a:defRPr sz="900">
                <a:solidFill>
                  <a:schemeClr val="bg1">
                    <a:lumMod val="50000"/>
                  </a:schemeClr>
                </a:solidFill>
                <a:latin typeface="+mj-lt"/>
              </a:defRPr>
            </a:lvl2pPr>
            <a:lvl3pPr marL="685749" indent="0">
              <a:lnSpc>
                <a:spcPts val="1575"/>
              </a:lnSpc>
              <a:spcAft>
                <a:spcPts val="900"/>
              </a:spcAft>
              <a:buNone/>
              <a:defRPr sz="825">
                <a:solidFill>
                  <a:schemeClr val="bg1">
                    <a:lumMod val="50000"/>
                  </a:schemeClr>
                </a:solidFill>
                <a:latin typeface="+mj-lt"/>
              </a:defRPr>
            </a:lvl3pPr>
            <a:lvl4pPr marL="1028624" indent="0">
              <a:lnSpc>
                <a:spcPts val="1575"/>
              </a:lnSpc>
              <a:spcAft>
                <a:spcPts val="900"/>
              </a:spcAft>
              <a:buNone/>
              <a:defRPr sz="788">
                <a:solidFill>
                  <a:schemeClr val="bg1">
                    <a:lumMod val="50000"/>
                  </a:schemeClr>
                </a:solidFill>
                <a:latin typeface="+mj-lt"/>
              </a:defRPr>
            </a:lvl4pPr>
            <a:lvl5pPr marL="1371498" indent="0">
              <a:lnSpc>
                <a:spcPts val="1575"/>
              </a:lnSpc>
              <a:spcAft>
                <a:spcPts val="900"/>
              </a:spcAft>
              <a:buNone/>
              <a:defRPr sz="788">
                <a:solidFill>
                  <a:schemeClr val="bg1">
                    <a:lumMod val="50000"/>
                  </a:schemeClr>
                </a:solidFill>
                <a:latin typeface="+mj-lt"/>
              </a:defRPr>
            </a:lvl5pPr>
          </a:lstStyle>
          <a:p>
            <a:pPr lvl="0"/>
            <a:r>
              <a:rPr lang="en-US" noProof="0"/>
              <a:t>Click to edit Master text styles</a:t>
            </a:r>
          </a:p>
        </p:txBody>
      </p:sp>
      <p:sp>
        <p:nvSpPr>
          <p:cNvPr id="36" name="Marcador de número de diapositiva 32"/>
          <p:cNvSpPr>
            <a:spLocks noGrp="1"/>
          </p:cNvSpPr>
          <p:nvPr>
            <p:ph type="sldNum" sz="quarter" idx="31"/>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6" name="Picture Placeholder 59"/>
          <p:cNvSpPr>
            <a:spLocks noGrp="1"/>
          </p:cNvSpPr>
          <p:nvPr>
            <p:ph type="pic" sz="quarter" idx="22" hasCustomPrompt="1"/>
          </p:nvPr>
        </p:nvSpPr>
        <p:spPr>
          <a:xfrm>
            <a:off x="6217528" y="13343"/>
            <a:ext cx="5956887" cy="4900446"/>
          </a:xfrm>
          <a:custGeom>
            <a:avLst/>
            <a:gdLst>
              <a:gd name="connsiteX0" fmla="*/ 1507176 w 7526189"/>
              <a:gd name="connsiteY0" fmla="*/ 0 h 4900446"/>
              <a:gd name="connsiteX1" fmla="*/ 7526189 w 7526189"/>
              <a:gd name="connsiteY1" fmla="*/ 0 h 4900446"/>
              <a:gd name="connsiteX2" fmla="*/ 7526189 w 7526189"/>
              <a:gd name="connsiteY2" fmla="*/ 3753700 h 4900446"/>
              <a:gd name="connsiteX3" fmla="*/ 416883 w 7526189"/>
              <a:gd name="connsiteY3" fmla="*/ 3876833 h 4900446"/>
              <a:gd name="connsiteX4" fmla="*/ 1507176 w 7526189"/>
              <a:gd name="connsiteY4" fmla="*/ 0 h 490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6189" h="4900446">
                <a:moveTo>
                  <a:pt x="1507176" y="0"/>
                </a:moveTo>
                <a:lnTo>
                  <a:pt x="7526189" y="0"/>
                </a:lnTo>
                <a:cubicBezTo>
                  <a:pt x="7526189" y="0"/>
                  <a:pt x="7526189" y="0"/>
                  <a:pt x="7526189" y="3753700"/>
                </a:cubicBezTo>
                <a:cubicBezTo>
                  <a:pt x="6581517" y="4171607"/>
                  <a:pt x="1660265" y="6037263"/>
                  <a:pt x="416883" y="3876833"/>
                </a:cubicBezTo>
                <a:cubicBezTo>
                  <a:pt x="-852636" y="1667897"/>
                  <a:pt x="1148723" y="235073"/>
                  <a:pt x="1507176" y="0"/>
                </a:cubicBezTo>
                <a:close/>
              </a:path>
            </a:pathLst>
          </a:custGeom>
          <a:solidFill>
            <a:srgbClr val="ECECEC"/>
          </a:solidFill>
        </p:spPr>
        <p:txBody>
          <a:bodyPr wrap="square" anchor="ctr">
            <a:noAutofit/>
          </a:bodyPr>
          <a:lstStyle>
            <a:lvl1pPr marL="0" indent="0" algn="ctr">
              <a:buNone/>
              <a:defRPr/>
            </a:lvl1pPr>
          </a:lstStyle>
          <a:p>
            <a:br>
              <a:rPr lang="en-GB" noProof="0" dirty="0"/>
            </a:br>
            <a:br>
              <a:rPr lang="en-GB" noProof="0" dirty="0"/>
            </a:br>
            <a:r>
              <a:rPr lang="en-GB" noProof="0" dirty="0"/>
              <a:t>Insert your picture here</a:t>
            </a:r>
          </a:p>
        </p:txBody>
      </p:sp>
      <p:sp>
        <p:nvSpPr>
          <p:cNvPr id="17" name="Text Placeholder 68"/>
          <p:cNvSpPr>
            <a:spLocks noGrp="1"/>
          </p:cNvSpPr>
          <p:nvPr>
            <p:ph type="body" sz="quarter" idx="23" hasCustomPrompt="1"/>
          </p:nvPr>
        </p:nvSpPr>
        <p:spPr>
          <a:xfrm>
            <a:off x="5759505" y="1091922"/>
            <a:ext cx="1440000" cy="1438317"/>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CE0058"/>
          </a:solidFill>
        </p:spPr>
        <p:txBody>
          <a:bodyPr wrap="square" tIns="864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18" name="Text Placeholder 70"/>
          <p:cNvSpPr>
            <a:spLocks noGrp="1"/>
          </p:cNvSpPr>
          <p:nvPr>
            <p:ph type="body" sz="quarter" idx="24" hasCustomPrompt="1"/>
          </p:nvPr>
        </p:nvSpPr>
        <p:spPr>
          <a:xfrm>
            <a:off x="5883419" y="1517411"/>
            <a:ext cx="1205942" cy="463831"/>
          </a:xfrm>
          <a:prstGeom prst="rect">
            <a:avLst/>
          </a:prstGeom>
        </p:spPr>
        <p:txBody>
          <a:bodyPr>
            <a:noAutofit/>
          </a:bodyPr>
          <a:lstStyle>
            <a:lvl1pPr marL="0" indent="0" algn="ctr">
              <a:buNone/>
              <a:defRPr sz="2700">
                <a:solidFill>
                  <a:schemeClr val="bg1"/>
                </a:solidFill>
              </a:defRPr>
            </a:lvl1pPr>
          </a:lstStyle>
          <a:p>
            <a:pPr lvl="0"/>
            <a:r>
              <a:rPr lang="en-GB" noProof="0" dirty="0"/>
              <a:t>Numb</a:t>
            </a:r>
          </a:p>
        </p:txBody>
      </p:sp>
      <p:sp>
        <p:nvSpPr>
          <p:cNvPr id="19" name="Text Placeholder 71"/>
          <p:cNvSpPr>
            <a:spLocks noGrp="1"/>
          </p:cNvSpPr>
          <p:nvPr>
            <p:ph type="body" sz="quarter" idx="25" hasCustomPrompt="1"/>
          </p:nvPr>
        </p:nvSpPr>
        <p:spPr>
          <a:xfrm>
            <a:off x="6415026" y="3686660"/>
            <a:ext cx="2124000" cy="2124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2"/>
          </a:solidFill>
        </p:spPr>
        <p:txBody>
          <a:bodyPr wrap="square" tIns="1368000">
            <a:noAutofit/>
          </a:bodyPr>
          <a:lstStyle>
            <a:lvl1pPr marL="0" indent="0" algn="ctr">
              <a:lnSpc>
                <a:spcPct val="50000"/>
              </a:lnSpc>
              <a:spcBef>
                <a:spcPts val="450"/>
              </a:spcBef>
              <a:buNone/>
              <a:defRPr sz="1800" baseline="0">
                <a:solidFill>
                  <a:schemeClr val="bg1"/>
                </a:solidFill>
              </a:defRPr>
            </a:lvl1pPr>
            <a:lvl2pPr algn="ctr">
              <a:defRPr/>
            </a:lvl2pPr>
          </a:lstStyle>
          <a:p>
            <a:pPr lvl="0"/>
            <a:r>
              <a:rPr lang="en-GB" noProof="0" dirty="0"/>
              <a:t>Click to edit</a:t>
            </a:r>
          </a:p>
        </p:txBody>
      </p:sp>
      <p:sp>
        <p:nvSpPr>
          <p:cNvPr id="20" name="Text Placeholder 70"/>
          <p:cNvSpPr>
            <a:spLocks noGrp="1"/>
          </p:cNvSpPr>
          <p:nvPr>
            <p:ph type="body" sz="quarter" idx="26" hasCustomPrompt="1"/>
          </p:nvPr>
        </p:nvSpPr>
        <p:spPr>
          <a:xfrm>
            <a:off x="6453877" y="4415153"/>
            <a:ext cx="1939187" cy="615030"/>
          </a:xfrm>
          <a:prstGeom prst="rect">
            <a:avLst/>
          </a:prstGeom>
        </p:spPr>
        <p:txBody>
          <a:bodyPr>
            <a:noAutofit/>
          </a:bodyPr>
          <a:lstStyle>
            <a:lvl1pPr marL="0" indent="0" algn="ctr">
              <a:buNone/>
              <a:defRPr sz="4050">
                <a:solidFill>
                  <a:schemeClr val="bg1"/>
                </a:solidFill>
              </a:defRPr>
            </a:lvl1pPr>
          </a:lstStyle>
          <a:p>
            <a:pPr lvl="0"/>
            <a:r>
              <a:rPr lang="en-GB" noProof="0" dirty="0"/>
              <a:t>Numb</a:t>
            </a:r>
          </a:p>
        </p:txBody>
      </p:sp>
      <p:sp>
        <p:nvSpPr>
          <p:cNvPr id="21" name="Text Placeholder 73"/>
          <p:cNvSpPr>
            <a:spLocks noGrp="1"/>
          </p:cNvSpPr>
          <p:nvPr>
            <p:ph type="body" sz="quarter" idx="27" hasCustomPrompt="1"/>
          </p:nvPr>
        </p:nvSpPr>
        <p:spPr>
          <a:xfrm>
            <a:off x="8897242" y="3748156"/>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chemeClr val="accent1"/>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22" name="Text Placeholder 70"/>
          <p:cNvSpPr>
            <a:spLocks noGrp="1"/>
          </p:cNvSpPr>
          <p:nvPr>
            <p:ph type="body" sz="quarter" idx="28" hasCustomPrompt="1"/>
          </p:nvPr>
        </p:nvSpPr>
        <p:spPr>
          <a:xfrm>
            <a:off x="8950110" y="4216184"/>
            <a:ext cx="1266262" cy="414083"/>
          </a:xfrm>
          <a:prstGeom prst="rect">
            <a:avLst/>
          </a:prstGeom>
        </p:spPr>
        <p:txBody>
          <a:bodyPr>
            <a:noAutofit/>
          </a:bodyPr>
          <a:lstStyle>
            <a:lvl1pPr marL="0" indent="0" algn="ctr">
              <a:buNone/>
              <a:defRPr sz="2700">
                <a:solidFill>
                  <a:schemeClr val="bg1"/>
                </a:solidFill>
              </a:defRPr>
            </a:lvl1pPr>
          </a:lstStyle>
          <a:p>
            <a:pPr lvl="0"/>
            <a:r>
              <a:rPr lang="en-GB" noProof="0" dirty="0"/>
              <a:t>Numb</a:t>
            </a:r>
          </a:p>
        </p:txBody>
      </p:sp>
      <p:sp>
        <p:nvSpPr>
          <p:cNvPr id="26" name="Text Placeholder 75"/>
          <p:cNvSpPr>
            <a:spLocks noGrp="1"/>
          </p:cNvSpPr>
          <p:nvPr>
            <p:ph type="body" sz="quarter" idx="29" hasCustomPrompt="1"/>
          </p:nvPr>
        </p:nvSpPr>
        <p:spPr>
          <a:xfrm>
            <a:off x="10520740" y="4644293"/>
            <a:ext cx="1008000" cy="1008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E95326"/>
          </a:solidFill>
        </p:spPr>
        <p:txBody>
          <a:bodyPr wrap="square" tIns="684000">
            <a:noAutofit/>
          </a:bodyPr>
          <a:lstStyle>
            <a:lvl1pPr marL="0" indent="0" algn="ctr">
              <a:lnSpc>
                <a:spcPct val="50000"/>
              </a:lnSpc>
              <a:spcBef>
                <a:spcPts val="450"/>
              </a:spcBef>
              <a:buNone/>
              <a:defRPr sz="1050" baseline="0">
                <a:solidFill>
                  <a:schemeClr val="bg1"/>
                </a:solidFill>
              </a:defRPr>
            </a:lvl1pPr>
            <a:lvl2pPr algn="ctr">
              <a:defRPr/>
            </a:lvl2pPr>
          </a:lstStyle>
          <a:p>
            <a:pPr lvl="0"/>
            <a:r>
              <a:rPr lang="en-GB" noProof="0" dirty="0"/>
              <a:t>Click to edit</a:t>
            </a:r>
          </a:p>
        </p:txBody>
      </p:sp>
      <p:sp>
        <p:nvSpPr>
          <p:cNvPr id="27" name="Text Placeholder 70"/>
          <p:cNvSpPr>
            <a:spLocks noGrp="1"/>
          </p:cNvSpPr>
          <p:nvPr>
            <p:ph type="body" sz="quarter" idx="30" hasCustomPrompt="1"/>
          </p:nvPr>
        </p:nvSpPr>
        <p:spPr>
          <a:xfrm>
            <a:off x="10551870" y="4923524"/>
            <a:ext cx="967596" cy="300632"/>
          </a:xfrm>
          <a:prstGeom prst="rect">
            <a:avLst/>
          </a:prstGeom>
        </p:spPr>
        <p:txBody>
          <a:bodyPr>
            <a:noAutofit/>
          </a:bodyPr>
          <a:lstStyle>
            <a:lvl1pPr marL="0" indent="0" algn="ctr">
              <a:buNone/>
              <a:defRPr sz="2400">
                <a:solidFill>
                  <a:schemeClr val="bg1"/>
                </a:solidFill>
              </a:defRPr>
            </a:lvl1pPr>
          </a:lstStyle>
          <a:p>
            <a:pPr lvl="0"/>
            <a:r>
              <a:rPr lang="en-GB" noProof="0" dirty="0"/>
              <a:t>Numb</a:t>
            </a:r>
          </a:p>
        </p:txBody>
      </p:sp>
      <p:sp>
        <p:nvSpPr>
          <p:cNvPr id="24" name="Title 1"/>
          <p:cNvSpPr>
            <a:spLocks noGrp="1"/>
          </p:cNvSpPr>
          <p:nvPr>
            <p:ph type="title" hasCustomPrompt="1"/>
          </p:nvPr>
        </p:nvSpPr>
        <p:spPr>
          <a:xfrm>
            <a:off x="268224" y="296865"/>
            <a:ext cx="945997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5" name="Text Placeholder 19"/>
          <p:cNvSpPr>
            <a:spLocks noGrp="1"/>
          </p:cNvSpPr>
          <p:nvPr>
            <p:ph type="body" sz="quarter" idx="13"/>
          </p:nvPr>
        </p:nvSpPr>
        <p:spPr>
          <a:xfrm>
            <a:off x="268224" y="787824"/>
            <a:ext cx="7059676" cy="45151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
        <p:nvSpPr>
          <p:cNvPr id="28" name="Text Placeholder 73"/>
          <p:cNvSpPr>
            <a:spLocks noGrp="1"/>
          </p:cNvSpPr>
          <p:nvPr>
            <p:ph type="body" sz="quarter" idx="32" hasCustomPrompt="1"/>
          </p:nvPr>
        </p:nvSpPr>
        <p:spPr>
          <a:xfrm>
            <a:off x="4701870" y="2796165"/>
            <a:ext cx="1440000" cy="1476000"/>
          </a:xfrm>
          <a:custGeom>
            <a:avLst/>
            <a:gdLst>
              <a:gd name="connsiteX0" fmla="*/ 925829 w 1851658"/>
              <a:gd name="connsiteY0" fmla="*/ 0 h 1809056"/>
              <a:gd name="connsiteX1" fmla="*/ 1851658 w 1851658"/>
              <a:gd name="connsiteY1" fmla="*/ 904528 h 1809056"/>
              <a:gd name="connsiteX2" fmla="*/ 925829 w 1851658"/>
              <a:gd name="connsiteY2" fmla="*/ 1809056 h 1809056"/>
              <a:gd name="connsiteX3" fmla="*/ 0 w 1851658"/>
              <a:gd name="connsiteY3" fmla="*/ 904528 h 1809056"/>
              <a:gd name="connsiteX4" fmla="*/ 925829 w 1851658"/>
              <a:gd name="connsiteY4" fmla="*/ 0 h 180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1658" h="1809056">
                <a:moveTo>
                  <a:pt x="925829" y="0"/>
                </a:moveTo>
                <a:cubicBezTo>
                  <a:pt x="1437150" y="0"/>
                  <a:pt x="1851658" y="404971"/>
                  <a:pt x="1851658" y="904528"/>
                </a:cubicBezTo>
                <a:cubicBezTo>
                  <a:pt x="1851658" y="1404085"/>
                  <a:pt x="1437150" y="1809056"/>
                  <a:pt x="925829" y="1809056"/>
                </a:cubicBezTo>
                <a:cubicBezTo>
                  <a:pt x="414508" y="1809056"/>
                  <a:pt x="0" y="1404085"/>
                  <a:pt x="0" y="904528"/>
                </a:cubicBezTo>
                <a:cubicBezTo>
                  <a:pt x="0" y="404971"/>
                  <a:pt x="414508" y="0"/>
                  <a:pt x="925829" y="0"/>
                </a:cubicBezTo>
                <a:close/>
              </a:path>
            </a:pathLst>
          </a:custGeom>
          <a:solidFill>
            <a:srgbClr val="F7A827"/>
          </a:solidFill>
        </p:spPr>
        <p:txBody>
          <a:bodyPr wrap="square" tIns="900000">
            <a:noAutofit/>
          </a:bodyPr>
          <a:lstStyle>
            <a:lvl1pPr marL="0" indent="0" algn="ctr">
              <a:lnSpc>
                <a:spcPct val="50000"/>
              </a:lnSpc>
              <a:spcBef>
                <a:spcPts val="450"/>
              </a:spcBef>
              <a:buNone/>
              <a:defRPr sz="1200" baseline="0">
                <a:solidFill>
                  <a:schemeClr val="bg1"/>
                </a:solidFill>
              </a:defRPr>
            </a:lvl1pPr>
            <a:lvl2pPr algn="ctr">
              <a:defRPr/>
            </a:lvl2pPr>
          </a:lstStyle>
          <a:p>
            <a:pPr lvl="0"/>
            <a:r>
              <a:rPr lang="en-GB" noProof="0" dirty="0"/>
              <a:t>Click to edit</a:t>
            </a:r>
          </a:p>
        </p:txBody>
      </p:sp>
      <p:sp>
        <p:nvSpPr>
          <p:cNvPr id="29" name="Text Placeholder 70"/>
          <p:cNvSpPr>
            <a:spLocks noGrp="1"/>
          </p:cNvSpPr>
          <p:nvPr>
            <p:ph type="body" sz="quarter" idx="33" hasCustomPrompt="1"/>
          </p:nvPr>
        </p:nvSpPr>
        <p:spPr>
          <a:xfrm>
            <a:off x="4754738" y="3264193"/>
            <a:ext cx="1266262" cy="414083"/>
          </a:xfrm>
          <a:prstGeom prst="rect">
            <a:avLst/>
          </a:prstGeom>
        </p:spPr>
        <p:txBody>
          <a:bodyPr>
            <a:noAutofit/>
          </a:bodyPr>
          <a:lstStyle>
            <a:lvl1pPr marL="0" indent="0" algn="ctr">
              <a:buNone/>
              <a:defRPr sz="2700">
                <a:solidFill>
                  <a:schemeClr val="bg1"/>
                </a:solidFill>
              </a:defRPr>
            </a:lvl1pPr>
          </a:lstStyle>
          <a:p>
            <a:pPr lvl="0"/>
            <a:r>
              <a:rPr lang="en-GB" noProof="0" dirty="0"/>
              <a:t>Numb</a:t>
            </a:r>
          </a:p>
        </p:txBody>
      </p:sp>
    </p:spTree>
    <p:extLst>
      <p:ext uri="{BB962C8B-B14F-4D97-AF65-F5344CB8AC3E}">
        <p14:creationId xmlns:p14="http://schemas.microsoft.com/office/powerpoint/2010/main" val="15338371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and charts">
    <p:spTree>
      <p:nvGrpSpPr>
        <p:cNvPr id="1" name=""/>
        <p:cNvGrpSpPr/>
        <p:nvPr/>
      </p:nvGrpSpPr>
      <p:grpSpPr>
        <a:xfrm>
          <a:off x="0" y="0"/>
          <a:ext cx="0" cy="0"/>
          <a:chOff x="0" y="0"/>
          <a:chExt cx="0" cy="0"/>
        </a:xfrm>
      </p:grpSpPr>
      <p:sp>
        <p:nvSpPr>
          <p:cNvPr id="19" name="Content Placeholder 5"/>
          <p:cNvSpPr>
            <a:spLocks noGrp="1"/>
          </p:cNvSpPr>
          <p:nvPr>
            <p:ph sz="quarter" idx="4" hasCustomPrompt="1"/>
          </p:nvPr>
        </p:nvSpPr>
        <p:spPr>
          <a:xfrm>
            <a:off x="268225" y="2117672"/>
            <a:ext cx="4909841"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1" name="Content Placeholder 5"/>
          <p:cNvSpPr>
            <a:spLocks noGrp="1"/>
          </p:cNvSpPr>
          <p:nvPr>
            <p:ph sz="quarter" idx="14" hasCustomPrompt="1"/>
          </p:nvPr>
        </p:nvSpPr>
        <p:spPr>
          <a:xfrm>
            <a:off x="268225" y="2854989"/>
            <a:ext cx="4909840"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2" name="Content Placeholder 5"/>
          <p:cNvSpPr>
            <a:spLocks noGrp="1"/>
          </p:cNvSpPr>
          <p:nvPr>
            <p:ph sz="quarter" idx="15" hasCustomPrompt="1"/>
          </p:nvPr>
        </p:nvSpPr>
        <p:spPr>
          <a:xfrm>
            <a:off x="268227" y="3592306"/>
            <a:ext cx="4910208"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25" name="Content Placeholder 5"/>
          <p:cNvSpPr>
            <a:spLocks noGrp="1"/>
          </p:cNvSpPr>
          <p:nvPr>
            <p:ph sz="quarter" idx="16" hasCustomPrompt="1"/>
          </p:nvPr>
        </p:nvSpPr>
        <p:spPr>
          <a:xfrm>
            <a:off x="268227" y="4322886"/>
            <a:ext cx="4909836" cy="709764"/>
          </a:xfrm>
          <a:prstGeom prst="rect">
            <a:avLst/>
          </a:prstGeom>
        </p:spPr>
        <p:txBody>
          <a:bodyPr anchor="t">
            <a:noAutofit/>
          </a:bodyPr>
          <a:lstStyle>
            <a:lvl1pPr marL="0" indent="0">
              <a:lnSpc>
                <a:spcPct val="100000"/>
              </a:lnSpc>
              <a:spcAft>
                <a:spcPts val="675"/>
              </a:spcAft>
              <a:buNone/>
              <a:defRPr sz="2400">
                <a:solidFill>
                  <a:srgbClr val="323232"/>
                </a:solidFill>
                <a:latin typeface="+mj-lt"/>
              </a:defRPr>
            </a:lvl1pPr>
            <a:lvl2pPr marL="342875" indent="0">
              <a:lnSpc>
                <a:spcPts val="1575"/>
              </a:lnSpc>
              <a:spcAft>
                <a:spcPts val="900"/>
              </a:spcAft>
              <a:buNone/>
              <a:defRPr sz="1050">
                <a:solidFill>
                  <a:schemeClr val="bg1">
                    <a:lumMod val="50000"/>
                  </a:schemeClr>
                </a:solidFill>
                <a:latin typeface="+mj-lt"/>
              </a:defRPr>
            </a:lvl2pPr>
            <a:lvl3pPr marL="685749" indent="0">
              <a:lnSpc>
                <a:spcPts val="1575"/>
              </a:lnSpc>
              <a:spcAft>
                <a:spcPts val="900"/>
              </a:spcAft>
              <a:buNone/>
              <a:defRPr sz="900">
                <a:solidFill>
                  <a:schemeClr val="bg1">
                    <a:lumMod val="50000"/>
                  </a:schemeClr>
                </a:solidFill>
                <a:latin typeface="+mj-lt"/>
              </a:defRPr>
            </a:lvl3pPr>
            <a:lvl4pPr marL="1028624" indent="0">
              <a:lnSpc>
                <a:spcPts val="1575"/>
              </a:lnSpc>
              <a:spcAft>
                <a:spcPts val="900"/>
              </a:spcAft>
              <a:buNone/>
              <a:defRPr sz="825">
                <a:solidFill>
                  <a:schemeClr val="bg1">
                    <a:lumMod val="50000"/>
                  </a:schemeClr>
                </a:solidFill>
                <a:latin typeface="+mj-lt"/>
              </a:defRPr>
            </a:lvl4pPr>
            <a:lvl5pPr marL="1371498" indent="0">
              <a:lnSpc>
                <a:spcPts val="1575"/>
              </a:lnSpc>
              <a:spcAft>
                <a:spcPts val="900"/>
              </a:spcAft>
              <a:buNone/>
              <a:defRPr sz="825">
                <a:solidFill>
                  <a:schemeClr val="bg1">
                    <a:lumMod val="50000"/>
                  </a:schemeClr>
                </a:solidFill>
                <a:latin typeface="+mj-lt"/>
              </a:defRPr>
            </a:lvl5pPr>
          </a:lstStyle>
          <a:p>
            <a:pPr lvl="0"/>
            <a:r>
              <a:rPr lang="en-GB" noProof="0" dirty="0"/>
              <a:t>Object</a:t>
            </a:r>
          </a:p>
        </p:txBody>
      </p:sp>
      <p:sp>
        <p:nvSpPr>
          <p:cNvPr id="16"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2"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5" name="Title 1"/>
          <p:cNvSpPr>
            <a:spLocks noGrp="1"/>
          </p:cNvSpPr>
          <p:nvPr>
            <p:ph type="title" hasCustomPrompt="1"/>
          </p:nvPr>
        </p:nvSpPr>
        <p:spPr>
          <a:xfrm>
            <a:off x="268223" y="296865"/>
            <a:ext cx="9510777"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7" name="Text Placeholder 19"/>
          <p:cNvSpPr>
            <a:spLocks noGrp="1"/>
          </p:cNvSpPr>
          <p:nvPr>
            <p:ph type="body" sz="quarter" idx="13"/>
          </p:nvPr>
        </p:nvSpPr>
        <p:spPr>
          <a:xfrm>
            <a:off x="268223" y="779414"/>
            <a:ext cx="9510777" cy="376146"/>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42562691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and icons ll">
    <p:spTree>
      <p:nvGrpSpPr>
        <p:cNvPr id="1" name=""/>
        <p:cNvGrpSpPr/>
        <p:nvPr/>
      </p:nvGrpSpPr>
      <p:grpSpPr>
        <a:xfrm>
          <a:off x="0" y="0"/>
          <a:ext cx="0" cy="0"/>
          <a:chOff x="0" y="0"/>
          <a:chExt cx="0" cy="0"/>
        </a:xfrm>
      </p:grpSpPr>
      <p:sp>
        <p:nvSpPr>
          <p:cNvPr id="16"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8" name="Content Placeholder 2"/>
          <p:cNvSpPr>
            <a:spLocks noGrp="1"/>
          </p:cNvSpPr>
          <p:nvPr>
            <p:ph idx="1" hasCustomPrompt="1"/>
          </p:nvPr>
        </p:nvSpPr>
        <p:spPr>
          <a:xfrm>
            <a:off x="287556" y="1640190"/>
            <a:ext cx="4271650" cy="447261"/>
          </a:xfrm>
          <a:prstGeom prst="rect">
            <a:avLst/>
          </a:prstGeom>
        </p:spPr>
        <p:txBody>
          <a:bodyPr>
            <a:noAutofit/>
          </a:bodyPr>
          <a:lstStyle>
            <a:lvl1pPr marL="0" indent="0" algn="l">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19" name="Text Placeholder 23"/>
          <p:cNvSpPr>
            <a:spLocks noGrp="1"/>
          </p:cNvSpPr>
          <p:nvPr>
            <p:ph type="body" sz="quarter" idx="21"/>
          </p:nvPr>
        </p:nvSpPr>
        <p:spPr>
          <a:xfrm>
            <a:off x="287347" y="2193951"/>
            <a:ext cx="4271953" cy="1312239"/>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30" hasCustomPrompt="1"/>
          </p:nvPr>
        </p:nvSpPr>
        <p:spPr>
          <a:xfrm>
            <a:off x="287338" y="3941158"/>
            <a:ext cx="4271954" cy="447261"/>
          </a:xfrm>
          <a:prstGeom prst="rect">
            <a:avLst/>
          </a:prstGeom>
        </p:spPr>
        <p:txBody>
          <a:bodyPr>
            <a:noAutofit/>
          </a:bodyPr>
          <a:lstStyle>
            <a:lvl1pPr marL="0" indent="0" algn="l">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3" name="Text Placeholder 23"/>
          <p:cNvSpPr>
            <a:spLocks noGrp="1"/>
          </p:cNvSpPr>
          <p:nvPr>
            <p:ph type="body" sz="quarter" idx="31"/>
          </p:nvPr>
        </p:nvSpPr>
        <p:spPr>
          <a:xfrm>
            <a:off x="287338" y="4494905"/>
            <a:ext cx="4271954" cy="126007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5" name="Content Placeholder 2"/>
          <p:cNvSpPr>
            <a:spLocks noGrp="1"/>
          </p:cNvSpPr>
          <p:nvPr>
            <p:ph idx="32" hasCustomPrompt="1"/>
          </p:nvPr>
        </p:nvSpPr>
        <p:spPr>
          <a:xfrm>
            <a:off x="6032638" y="1648609"/>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6" name="Text Placeholder 23"/>
          <p:cNvSpPr>
            <a:spLocks noGrp="1"/>
          </p:cNvSpPr>
          <p:nvPr>
            <p:ph type="body" sz="quarter" idx="33"/>
          </p:nvPr>
        </p:nvSpPr>
        <p:spPr>
          <a:xfrm>
            <a:off x="6032430" y="2193951"/>
            <a:ext cx="4131418" cy="1312239"/>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7" name="Content Placeholder 2"/>
          <p:cNvSpPr>
            <a:spLocks noGrp="1"/>
          </p:cNvSpPr>
          <p:nvPr>
            <p:ph idx="34" hasCustomPrompt="1"/>
          </p:nvPr>
        </p:nvSpPr>
        <p:spPr>
          <a:xfrm>
            <a:off x="6032638" y="3941157"/>
            <a:ext cx="4131418" cy="447261"/>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29" name="Text Placeholder 23"/>
          <p:cNvSpPr>
            <a:spLocks noGrp="1"/>
          </p:cNvSpPr>
          <p:nvPr>
            <p:ph type="body" sz="quarter" idx="35"/>
          </p:nvPr>
        </p:nvSpPr>
        <p:spPr>
          <a:xfrm>
            <a:off x="6032638" y="4494905"/>
            <a:ext cx="4131418" cy="1260072"/>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7" name="Title 1"/>
          <p:cNvSpPr>
            <a:spLocks noGrp="1"/>
          </p:cNvSpPr>
          <p:nvPr>
            <p:ph type="title" hasCustomPrompt="1"/>
          </p:nvPr>
        </p:nvSpPr>
        <p:spPr>
          <a:xfrm>
            <a:off x="268224" y="296865"/>
            <a:ext cx="9378889"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1" name="Text Placeholder 19"/>
          <p:cNvSpPr>
            <a:spLocks noGrp="1"/>
          </p:cNvSpPr>
          <p:nvPr>
            <p:ph type="body" sz="quarter" idx="13" hasCustomPrompt="1"/>
          </p:nvPr>
        </p:nvSpPr>
        <p:spPr>
          <a:xfrm>
            <a:off x="268224" y="779413"/>
            <a:ext cx="9378889" cy="434229"/>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36139525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cheme">
    <p:spTree>
      <p:nvGrpSpPr>
        <p:cNvPr id="1" name=""/>
        <p:cNvGrpSpPr/>
        <p:nvPr/>
      </p:nvGrpSpPr>
      <p:grpSpPr>
        <a:xfrm>
          <a:off x="0" y="0"/>
          <a:ext cx="0" cy="0"/>
          <a:chOff x="0" y="0"/>
          <a:chExt cx="0" cy="0"/>
        </a:xfrm>
      </p:grpSpPr>
      <p:sp>
        <p:nvSpPr>
          <p:cNvPr id="17" name="Marcador de texto 31"/>
          <p:cNvSpPr>
            <a:spLocks noGrp="1"/>
          </p:cNvSpPr>
          <p:nvPr>
            <p:ph type="body" sz="quarter" idx="10" hasCustomPrompt="1"/>
          </p:nvPr>
        </p:nvSpPr>
        <p:spPr>
          <a:xfrm>
            <a:off x="3940081" y="1951686"/>
            <a:ext cx="3713163" cy="998708"/>
          </a:xfrm>
          <a:prstGeom prst="rect">
            <a:avLst/>
          </a:prstGeom>
          <a:solidFill>
            <a:schemeClr val="bg1"/>
          </a:solidFill>
        </p:spPr>
        <p:txBody>
          <a:bodyPr anchor="ctr">
            <a:normAutofit/>
          </a:bodyPr>
          <a:lstStyle>
            <a:lvl1pPr marL="0" indent="0" algn="ctr">
              <a:buNone/>
              <a:defRPr sz="3300" b="0">
                <a:solidFill>
                  <a:schemeClr val="accent2"/>
                </a:solidFill>
              </a:defRPr>
            </a:lvl1pPr>
          </a:lstStyle>
          <a:p>
            <a:pPr lvl="0"/>
            <a:r>
              <a:rPr lang="en-GB" noProof="0" dirty="0"/>
              <a:t>Title </a:t>
            </a:r>
          </a:p>
        </p:txBody>
      </p:sp>
      <p:sp>
        <p:nvSpPr>
          <p:cNvPr id="18" name="Content Placeholder 2"/>
          <p:cNvSpPr>
            <a:spLocks noGrp="1"/>
          </p:cNvSpPr>
          <p:nvPr>
            <p:ph idx="24" hasCustomPrompt="1"/>
          </p:nvPr>
        </p:nvSpPr>
        <p:spPr>
          <a:xfrm>
            <a:off x="8505017" y="3601205"/>
            <a:ext cx="2963793"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1" name="Text Placeholder 23"/>
          <p:cNvSpPr>
            <a:spLocks noGrp="1"/>
          </p:cNvSpPr>
          <p:nvPr>
            <p:ph type="body" sz="quarter" idx="25"/>
          </p:nvPr>
        </p:nvSpPr>
        <p:spPr>
          <a:xfrm>
            <a:off x="8502762" y="4122667"/>
            <a:ext cx="2994075" cy="1611665"/>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2" name="Content Placeholder 2"/>
          <p:cNvSpPr>
            <a:spLocks noGrp="1"/>
          </p:cNvSpPr>
          <p:nvPr>
            <p:ph idx="26" hasCustomPrompt="1"/>
          </p:nvPr>
        </p:nvSpPr>
        <p:spPr>
          <a:xfrm>
            <a:off x="4306799"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7"/>
          </p:nvPr>
        </p:nvSpPr>
        <p:spPr>
          <a:xfrm>
            <a:off x="4304551"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4" name="Content Placeholder 2"/>
          <p:cNvSpPr>
            <a:spLocks noGrp="1"/>
          </p:cNvSpPr>
          <p:nvPr>
            <p:ph idx="28" hasCustomPrompt="1"/>
          </p:nvPr>
        </p:nvSpPr>
        <p:spPr>
          <a:xfrm>
            <a:off x="320948" y="3654137"/>
            <a:ext cx="2991827" cy="447261"/>
          </a:xfrm>
          <a:prstGeom prst="rect">
            <a:avLst/>
          </a:prstGeom>
        </p:spPr>
        <p:txBody>
          <a:bodyPr anchor="ctr">
            <a:noAutofit/>
          </a:bodyPr>
          <a:lstStyle>
            <a:lvl1pPr marL="0" indent="0" algn="ctr">
              <a:buNone/>
              <a:defRPr sz="20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5" name="Text Placeholder 23"/>
          <p:cNvSpPr>
            <a:spLocks noGrp="1"/>
          </p:cNvSpPr>
          <p:nvPr>
            <p:ph type="body" sz="quarter" idx="29"/>
          </p:nvPr>
        </p:nvSpPr>
        <p:spPr>
          <a:xfrm>
            <a:off x="318700" y="4175599"/>
            <a:ext cx="2994075" cy="1558733"/>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6"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9" name="Text Placeholder 19"/>
          <p:cNvSpPr>
            <a:spLocks noGrp="1"/>
          </p:cNvSpPr>
          <p:nvPr>
            <p:ph type="body" sz="quarter" idx="13" hasCustomPrompt="1"/>
          </p:nvPr>
        </p:nvSpPr>
        <p:spPr>
          <a:xfrm>
            <a:off x="268224" y="779413"/>
            <a:ext cx="11228613" cy="582662"/>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3"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22664087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Number list slide ll">
    <p:spTree>
      <p:nvGrpSpPr>
        <p:cNvPr id="1" name=""/>
        <p:cNvGrpSpPr/>
        <p:nvPr/>
      </p:nvGrpSpPr>
      <p:grpSpPr>
        <a:xfrm>
          <a:off x="0" y="0"/>
          <a:ext cx="0" cy="0"/>
          <a:chOff x="0" y="0"/>
          <a:chExt cx="0" cy="0"/>
        </a:xfrm>
      </p:grpSpPr>
      <p:sp>
        <p:nvSpPr>
          <p:cNvPr id="26" name="Content Placeholder 2"/>
          <p:cNvSpPr>
            <a:spLocks noGrp="1"/>
          </p:cNvSpPr>
          <p:nvPr>
            <p:ph idx="1" hasCustomPrompt="1"/>
          </p:nvPr>
        </p:nvSpPr>
        <p:spPr>
          <a:xfrm>
            <a:off x="58423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21"/>
          </p:nvPr>
        </p:nvSpPr>
        <p:spPr>
          <a:xfrm>
            <a:off x="58402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9" name="Marcador de texto 4"/>
          <p:cNvSpPr>
            <a:spLocks noGrp="1"/>
          </p:cNvSpPr>
          <p:nvPr>
            <p:ph type="body" sz="quarter" idx="36" hasCustomPrompt="1"/>
          </p:nvPr>
        </p:nvSpPr>
        <p:spPr>
          <a:xfrm>
            <a:off x="1307634" y="2249487"/>
            <a:ext cx="1255923" cy="973138"/>
          </a:xfrm>
          <a:prstGeom prst="rect">
            <a:avLst/>
          </a:prstGeom>
        </p:spPr>
        <p:txBody>
          <a:bodyPr>
            <a:normAutofit/>
          </a:bodyPr>
          <a:lstStyle>
            <a:lvl1pPr marL="0" indent="0" algn="ctr">
              <a:buNone/>
              <a:defRPr sz="4500">
                <a:solidFill>
                  <a:schemeClr val="tx2"/>
                </a:solidFill>
              </a:defRPr>
            </a:lvl1pPr>
          </a:lstStyle>
          <a:p>
            <a:pPr lvl="0"/>
            <a:r>
              <a:rPr lang="en-GB" noProof="0" dirty="0"/>
              <a:t>1</a:t>
            </a:r>
          </a:p>
        </p:txBody>
      </p:sp>
      <p:sp>
        <p:nvSpPr>
          <p:cNvPr id="30" name="Content Placeholder 2"/>
          <p:cNvSpPr>
            <a:spLocks noGrp="1"/>
          </p:cNvSpPr>
          <p:nvPr>
            <p:ph idx="37" hasCustomPrompt="1"/>
          </p:nvPr>
        </p:nvSpPr>
        <p:spPr>
          <a:xfrm>
            <a:off x="3409175"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1" name="Text Placeholder 23"/>
          <p:cNvSpPr>
            <a:spLocks noGrp="1"/>
          </p:cNvSpPr>
          <p:nvPr>
            <p:ph type="body" sz="quarter" idx="38"/>
          </p:nvPr>
        </p:nvSpPr>
        <p:spPr>
          <a:xfrm>
            <a:off x="3408967"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4117730"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dirty="0"/>
              <a:t>2</a:t>
            </a:r>
          </a:p>
        </p:txBody>
      </p:sp>
      <p:sp>
        <p:nvSpPr>
          <p:cNvPr id="33" name="Content Placeholder 2"/>
          <p:cNvSpPr>
            <a:spLocks noGrp="1"/>
          </p:cNvSpPr>
          <p:nvPr>
            <p:ph idx="40" hasCustomPrompt="1"/>
          </p:nvPr>
        </p:nvSpPr>
        <p:spPr>
          <a:xfrm>
            <a:off x="6201823"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0161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911748"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dirty="0"/>
              <a:t>3</a:t>
            </a:r>
          </a:p>
        </p:txBody>
      </p:sp>
      <p:sp>
        <p:nvSpPr>
          <p:cNvPr id="36" name="Content Placeholder 2"/>
          <p:cNvSpPr>
            <a:spLocks noGrp="1"/>
          </p:cNvSpPr>
          <p:nvPr>
            <p:ph idx="43" hasCustomPrompt="1"/>
          </p:nvPr>
        </p:nvSpPr>
        <p:spPr>
          <a:xfrm>
            <a:off x="9026759" y="3190201"/>
            <a:ext cx="2688372" cy="447261"/>
          </a:xfrm>
          <a:prstGeom prst="rect">
            <a:avLst/>
          </a:prstGeom>
        </p:spPr>
        <p:txBody>
          <a:bodyPr anchor="ctr">
            <a:noAutofit/>
          </a:bodyPr>
          <a:lstStyle>
            <a:lvl1pPr marL="0" indent="0" algn="ctr">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026551" y="3991278"/>
            <a:ext cx="2688564" cy="1412072"/>
          </a:xfrm>
          <a:prstGeom prst="rect">
            <a:avLst/>
          </a:prstGeom>
        </p:spPr>
        <p:txBody>
          <a:bodyPr>
            <a:noAutofit/>
          </a:bodyPr>
          <a:lstStyle>
            <a:lvl1pPr marL="0" indent="0" algn="ctr">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736687" y="2249487"/>
            <a:ext cx="1271279" cy="973138"/>
          </a:xfrm>
          <a:prstGeom prst="rect">
            <a:avLst/>
          </a:prstGeom>
        </p:spPr>
        <p:txBody>
          <a:bodyPr>
            <a:normAutofit/>
          </a:bodyPr>
          <a:lstStyle>
            <a:lvl1pPr marL="0" indent="0" algn="ctr">
              <a:buNone/>
              <a:defRPr sz="4500">
                <a:solidFill>
                  <a:schemeClr val="tx2"/>
                </a:solidFill>
              </a:defRPr>
            </a:lvl1pPr>
          </a:lstStyle>
          <a:p>
            <a:pPr lvl="0"/>
            <a:r>
              <a:rPr lang="en-GB" noProof="0" dirty="0"/>
              <a:t>4</a:t>
            </a:r>
          </a:p>
        </p:txBody>
      </p:sp>
      <p:sp>
        <p:nvSpPr>
          <p:cNvPr id="4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23"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4" name="Text Placeholder 19"/>
          <p:cNvSpPr>
            <a:spLocks noGrp="1"/>
          </p:cNvSpPr>
          <p:nvPr>
            <p:ph type="body" sz="quarter" idx="13" hasCustomPrompt="1"/>
          </p:nvPr>
        </p:nvSpPr>
        <p:spPr>
          <a:xfrm>
            <a:off x="268224" y="779413"/>
            <a:ext cx="11228613" cy="611237"/>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8" name="Marcador de número de diapositiva 32"/>
          <p:cNvSpPr>
            <a:spLocks noGrp="1"/>
          </p:cNvSpPr>
          <p:nvPr>
            <p:ph type="sldNum" sz="quarter" idx="17"/>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5605651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umber list slide lll">
    <p:spTree>
      <p:nvGrpSpPr>
        <p:cNvPr id="1" name=""/>
        <p:cNvGrpSpPr/>
        <p:nvPr/>
      </p:nvGrpSpPr>
      <p:grpSpPr>
        <a:xfrm>
          <a:off x="0" y="0"/>
          <a:ext cx="0" cy="0"/>
          <a:chOff x="0" y="0"/>
          <a:chExt cx="0" cy="0"/>
        </a:xfrm>
      </p:grpSpPr>
      <p:sp>
        <p:nvSpPr>
          <p:cNvPr id="20"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22" name="Content Placeholder 2"/>
          <p:cNvSpPr>
            <a:spLocks noGrp="1"/>
          </p:cNvSpPr>
          <p:nvPr>
            <p:ph idx="1" hasCustomPrompt="1"/>
          </p:nvPr>
        </p:nvSpPr>
        <p:spPr>
          <a:xfrm>
            <a:off x="761245"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3" name="Text Placeholder 23"/>
          <p:cNvSpPr>
            <a:spLocks noGrp="1"/>
          </p:cNvSpPr>
          <p:nvPr>
            <p:ph type="body" sz="quarter" idx="21"/>
          </p:nvPr>
        </p:nvSpPr>
        <p:spPr>
          <a:xfrm>
            <a:off x="755215"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26" name="Marcador de texto 4"/>
          <p:cNvSpPr>
            <a:spLocks noGrp="1"/>
          </p:cNvSpPr>
          <p:nvPr>
            <p:ph type="body" sz="quarter" idx="36" hasCustomPrompt="1"/>
          </p:nvPr>
        </p:nvSpPr>
        <p:spPr>
          <a:xfrm>
            <a:off x="774793"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1</a:t>
            </a:r>
          </a:p>
        </p:txBody>
      </p:sp>
      <p:sp>
        <p:nvSpPr>
          <p:cNvPr id="27" name="Content Placeholder 2"/>
          <p:cNvSpPr>
            <a:spLocks noGrp="1"/>
          </p:cNvSpPr>
          <p:nvPr>
            <p:ph idx="37" hasCustomPrompt="1"/>
          </p:nvPr>
        </p:nvSpPr>
        <p:spPr>
          <a:xfrm>
            <a:off x="354970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28" name="Text Placeholder 23"/>
          <p:cNvSpPr>
            <a:spLocks noGrp="1"/>
          </p:cNvSpPr>
          <p:nvPr>
            <p:ph type="body" sz="quarter" idx="38"/>
          </p:nvPr>
        </p:nvSpPr>
        <p:spPr>
          <a:xfrm>
            <a:off x="3543679"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2" name="Marcador de texto 4"/>
          <p:cNvSpPr>
            <a:spLocks noGrp="1"/>
          </p:cNvSpPr>
          <p:nvPr>
            <p:ph type="body" sz="quarter" idx="39" hasCustomPrompt="1"/>
          </p:nvPr>
        </p:nvSpPr>
        <p:spPr>
          <a:xfrm>
            <a:off x="356325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2</a:t>
            </a:r>
          </a:p>
        </p:txBody>
      </p:sp>
      <p:sp>
        <p:nvSpPr>
          <p:cNvPr id="33" name="Content Placeholder 2"/>
          <p:cNvSpPr>
            <a:spLocks noGrp="1"/>
          </p:cNvSpPr>
          <p:nvPr>
            <p:ph idx="40" hasCustomPrompt="1"/>
          </p:nvPr>
        </p:nvSpPr>
        <p:spPr>
          <a:xfrm>
            <a:off x="6283421"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4" name="Text Placeholder 23"/>
          <p:cNvSpPr>
            <a:spLocks noGrp="1"/>
          </p:cNvSpPr>
          <p:nvPr>
            <p:ph type="body" sz="quarter" idx="41"/>
          </p:nvPr>
        </p:nvSpPr>
        <p:spPr>
          <a:xfrm>
            <a:off x="6294324"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5" name="Marcador de texto 4"/>
          <p:cNvSpPr>
            <a:spLocks noGrp="1"/>
          </p:cNvSpPr>
          <p:nvPr>
            <p:ph type="body" sz="quarter" idx="42" hasCustomPrompt="1"/>
          </p:nvPr>
        </p:nvSpPr>
        <p:spPr>
          <a:xfrm>
            <a:off x="6296969"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3</a:t>
            </a:r>
          </a:p>
        </p:txBody>
      </p:sp>
      <p:sp>
        <p:nvSpPr>
          <p:cNvPr id="36" name="Content Placeholder 2"/>
          <p:cNvSpPr>
            <a:spLocks noGrp="1"/>
          </p:cNvSpPr>
          <p:nvPr>
            <p:ph idx="43" hasCustomPrompt="1"/>
          </p:nvPr>
        </p:nvSpPr>
        <p:spPr>
          <a:xfrm>
            <a:off x="9122489" y="3297489"/>
            <a:ext cx="2462491" cy="447261"/>
          </a:xfrm>
          <a:prstGeom prst="rect">
            <a:avLst/>
          </a:prstGeom>
        </p:spPr>
        <p:txBody>
          <a:bodyPr anchor="ctr">
            <a:noAutofit/>
          </a:bodyPr>
          <a:lstStyle>
            <a:lvl1pPr marL="0" indent="0" algn="l">
              <a:buNone/>
              <a:defRPr sz="2400" baseline="0">
                <a:solidFill>
                  <a:schemeClr val="tx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Edit text style</a:t>
            </a:r>
          </a:p>
        </p:txBody>
      </p:sp>
      <p:sp>
        <p:nvSpPr>
          <p:cNvPr id="37" name="Text Placeholder 23"/>
          <p:cNvSpPr>
            <a:spLocks noGrp="1"/>
          </p:cNvSpPr>
          <p:nvPr>
            <p:ph type="body" sz="quarter" idx="44"/>
          </p:nvPr>
        </p:nvSpPr>
        <p:spPr>
          <a:xfrm>
            <a:off x="9133392" y="3818945"/>
            <a:ext cx="2462667" cy="1975882"/>
          </a:xfrm>
          <a:prstGeom prst="rect">
            <a:avLst/>
          </a:prstGeom>
        </p:spPr>
        <p:txBody>
          <a:bodyPr>
            <a:noAutofit/>
          </a:bodyPr>
          <a:lstStyle>
            <a:lvl1pPr marL="0" indent="0" algn="l">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8" name="Marcador de texto 4"/>
          <p:cNvSpPr>
            <a:spLocks noGrp="1"/>
          </p:cNvSpPr>
          <p:nvPr>
            <p:ph type="body" sz="quarter" idx="45" hasCustomPrompt="1"/>
          </p:nvPr>
        </p:nvSpPr>
        <p:spPr>
          <a:xfrm>
            <a:off x="9136037" y="2401759"/>
            <a:ext cx="1270115" cy="784354"/>
          </a:xfrm>
          <a:prstGeom prst="rect">
            <a:avLst/>
          </a:prstGeom>
        </p:spPr>
        <p:txBody>
          <a:bodyPr>
            <a:normAutofit/>
          </a:bodyPr>
          <a:lstStyle>
            <a:lvl1pPr marL="0" indent="0" algn="l">
              <a:buNone/>
              <a:defRPr sz="4500">
                <a:solidFill>
                  <a:schemeClr val="tx2"/>
                </a:solidFill>
              </a:defRPr>
            </a:lvl1pPr>
          </a:lstStyle>
          <a:p>
            <a:pPr lvl="0"/>
            <a:r>
              <a:rPr lang="en-GB" noProof="0" dirty="0"/>
              <a:t>4</a:t>
            </a:r>
          </a:p>
        </p:txBody>
      </p:sp>
      <p:sp>
        <p:nvSpPr>
          <p:cNvPr id="4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25"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29"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7357974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umber list slide l">
    <p:spTree>
      <p:nvGrpSpPr>
        <p:cNvPr id="1" name=""/>
        <p:cNvGrpSpPr/>
        <p:nvPr/>
      </p:nvGrpSpPr>
      <p:grpSpPr>
        <a:xfrm>
          <a:off x="0" y="0"/>
          <a:ext cx="0" cy="0"/>
          <a:chOff x="0" y="0"/>
          <a:chExt cx="0" cy="0"/>
        </a:xfrm>
      </p:grpSpPr>
      <p:sp>
        <p:nvSpPr>
          <p:cNvPr id="12"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s-ES" smtClean="0">
                <a:solidFill>
                  <a:srgbClr val="FFFFFF">
                    <a:lumMod val="50000"/>
                  </a:srgbClr>
                </a:solidFill>
              </a:rPr>
              <a:pPr/>
              <a:t>‹#›</a:t>
            </a:fld>
            <a:endParaRPr lang="es-ES" dirty="0">
              <a:solidFill>
                <a:srgbClr val="FFFFFF">
                  <a:lumMod val="50000"/>
                </a:srgbClr>
              </a:solidFill>
            </a:endParaRPr>
          </a:p>
        </p:txBody>
      </p:sp>
      <p:sp>
        <p:nvSpPr>
          <p:cNvPr id="18" name="Marcador de texto 2"/>
          <p:cNvSpPr>
            <a:spLocks noGrp="1"/>
          </p:cNvSpPr>
          <p:nvPr>
            <p:ph type="body" sz="quarter" idx="18" hasCustomPrompt="1"/>
          </p:nvPr>
        </p:nvSpPr>
        <p:spPr>
          <a:xfrm>
            <a:off x="1626500" y="2289059"/>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0" name="Marcador de texto 4"/>
          <p:cNvSpPr>
            <a:spLocks noGrp="1"/>
          </p:cNvSpPr>
          <p:nvPr>
            <p:ph type="body" sz="quarter" idx="36" hasCustomPrompt="1"/>
          </p:nvPr>
        </p:nvSpPr>
        <p:spPr>
          <a:xfrm>
            <a:off x="628190" y="2291032"/>
            <a:ext cx="956105" cy="663649"/>
          </a:xfrm>
          <a:prstGeom prst="rect">
            <a:avLst/>
          </a:prstGeom>
        </p:spPr>
        <p:txBody>
          <a:bodyPr>
            <a:noAutofit/>
          </a:bodyPr>
          <a:lstStyle>
            <a:lvl1pPr marL="0" indent="0" algn="ctr">
              <a:buNone/>
              <a:defRPr sz="4500">
                <a:solidFill>
                  <a:schemeClr val="tx1"/>
                </a:solidFill>
              </a:defRPr>
            </a:lvl1pPr>
          </a:lstStyle>
          <a:p>
            <a:pPr lvl="0"/>
            <a:r>
              <a:rPr lang="en-GB" noProof="0" dirty="0"/>
              <a:t>1.</a:t>
            </a:r>
          </a:p>
        </p:txBody>
      </p:sp>
      <p:sp>
        <p:nvSpPr>
          <p:cNvPr id="24" name="Marcador de texto 4"/>
          <p:cNvSpPr>
            <a:spLocks noGrp="1"/>
          </p:cNvSpPr>
          <p:nvPr>
            <p:ph type="body" sz="quarter" idx="38" hasCustomPrompt="1"/>
          </p:nvPr>
        </p:nvSpPr>
        <p:spPr>
          <a:xfrm>
            <a:off x="628190" y="3380951"/>
            <a:ext cx="956105" cy="663649"/>
          </a:xfrm>
          <a:prstGeom prst="rect">
            <a:avLst/>
          </a:prstGeom>
        </p:spPr>
        <p:txBody>
          <a:bodyPr>
            <a:noAutofit/>
          </a:bodyPr>
          <a:lstStyle>
            <a:lvl1pPr marL="0" indent="0" algn="ctr">
              <a:buNone/>
              <a:defRPr sz="4500">
                <a:solidFill>
                  <a:schemeClr val="tx1"/>
                </a:solidFill>
              </a:defRPr>
            </a:lvl1pPr>
          </a:lstStyle>
          <a:p>
            <a:pPr lvl="0"/>
            <a:r>
              <a:rPr lang="en-GB" noProof="0" dirty="0"/>
              <a:t>2.</a:t>
            </a:r>
          </a:p>
        </p:txBody>
      </p:sp>
      <p:sp>
        <p:nvSpPr>
          <p:cNvPr id="26" name="Marcador de texto 2"/>
          <p:cNvSpPr>
            <a:spLocks noGrp="1"/>
          </p:cNvSpPr>
          <p:nvPr>
            <p:ph type="body" sz="quarter" idx="41" hasCustomPrompt="1"/>
          </p:nvPr>
        </p:nvSpPr>
        <p:spPr>
          <a:xfrm>
            <a:off x="1626500" y="3367948"/>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27" name="Marcador de texto 4"/>
          <p:cNvSpPr>
            <a:spLocks noGrp="1"/>
          </p:cNvSpPr>
          <p:nvPr>
            <p:ph type="body" sz="quarter" idx="42" hasCustomPrompt="1"/>
          </p:nvPr>
        </p:nvSpPr>
        <p:spPr>
          <a:xfrm>
            <a:off x="628190" y="4459850"/>
            <a:ext cx="956105" cy="663649"/>
          </a:xfrm>
          <a:prstGeom prst="rect">
            <a:avLst/>
          </a:prstGeom>
        </p:spPr>
        <p:txBody>
          <a:bodyPr>
            <a:noAutofit/>
          </a:bodyPr>
          <a:lstStyle>
            <a:lvl1pPr marL="0" indent="0" algn="ctr">
              <a:buNone/>
              <a:defRPr sz="4500">
                <a:solidFill>
                  <a:schemeClr val="tx1"/>
                </a:solidFill>
              </a:defRPr>
            </a:lvl1pPr>
          </a:lstStyle>
          <a:p>
            <a:pPr lvl="0"/>
            <a:r>
              <a:rPr lang="en-GB" noProof="0" dirty="0"/>
              <a:t>3.</a:t>
            </a:r>
          </a:p>
        </p:txBody>
      </p:sp>
      <p:sp>
        <p:nvSpPr>
          <p:cNvPr id="28" name="Marcador de texto 2"/>
          <p:cNvSpPr>
            <a:spLocks noGrp="1"/>
          </p:cNvSpPr>
          <p:nvPr>
            <p:ph type="body" sz="quarter" idx="43" hasCustomPrompt="1"/>
          </p:nvPr>
        </p:nvSpPr>
        <p:spPr>
          <a:xfrm>
            <a:off x="1626500" y="4446837"/>
            <a:ext cx="5291145" cy="956604"/>
          </a:xfrm>
          <a:prstGeom prst="rect">
            <a:avLst/>
          </a:prstGeom>
        </p:spPr>
        <p:txBody>
          <a:bodyPr anchor="t">
            <a:noAutofit/>
          </a:bodyPr>
          <a:lstStyle>
            <a:lvl1pPr marL="0" indent="0">
              <a:lnSpc>
                <a:spcPct val="100000"/>
              </a:lnSpc>
              <a:buNone/>
              <a:defRPr sz="2800">
                <a:solidFill>
                  <a:srgbClr val="323232"/>
                </a:solidFill>
              </a:defRPr>
            </a:lvl1pPr>
            <a:lvl2pPr marL="342875" indent="0">
              <a:buNone/>
              <a:defRPr/>
            </a:lvl2pPr>
            <a:lvl3pPr marL="685749" indent="0">
              <a:buNone/>
              <a:defRPr/>
            </a:lvl3pPr>
            <a:lvl4pPr marL="1028624" indent="0">
              <a:buNone/>
              <a:defRPr/>
            </a:lvl4pPr>
            <a:lvl5pPr marL="1371498" indent="0">
              <a:buNone/>
              <a:defRPr/>
            </a:lvl5pPr>
          </a:lstStyle>
          <a:p>
            <a:pPr lvl="0"/>
            <a:r>
              <a:rPr lang="en-GB" noProof="0" dirty="0"/>
              <a:t>Edit master text slide</a:t>
            </a:r>
          </a:p>
        </p:txBody>
      </p:sp>
      <p:sp>
        <p:nvSpPr>
          <p:cNvPr id="3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5"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3" name="Marcador de posición de imagen 28"/>
          <p:cNvSpPr>
            <a:spLocks noGrp="1"/>
          </p:cNvSpPr>
          <p:nvPr>
            <p:ph type="pic" sz="quarter" idx="44" hasCustomPrompt="1"/>
          </p:nvPr>
        </p:nvSpPr>
        <p:spPr>
          <a:xfrm>
            <a:off x="7695959" y="2218004"/>
            <a:ext cx="3359735" cy="3256492"/>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95000"/>
            </a:schemeClr>
          </a:solidFill>
        </p:spPr>
        <p:txBody>
          <a:bodyPr wrap="square" anchor="ctr">
            <a:noAutofit/>
          </a:bodyPr>
          <a:lstStyle>
            <a:lvl1pPr marL="0" indent="0" algn="l">
              <a:buNone/>
              <a:defRPr/>
            </a:lvl1pPr>
          </a:lstStyle>
          <a:p>
            <a:r>
              <a:rPr lang="en-GB" noProof="0" dirty="0"/>
              <a:t>     </a:t>
            </a:r>
            <a:br>
              <a:rPr lang="en-GB" noProof="0" dirty="0"/>
            </a:br>
            <a:br>
              <a:rPr lang="en-GB" noProof="0" dirty="0"/>
            </a:br>
            <a:r>
              <a:rPr lang="en-GB" noProof="0" dirty="0"/>
              <a:t> Insert your picture here</a:t>
            </a:r>
          </a:p>
        </p:txBody>
      </p:sp>
    </p:spTree>
    <p:extLst>
      <p:ext uri="{BB962C8B-B14F-4D97-AF65-F5344CB8AC3E}">
        <p14:creationId xmlns:p14="http://schemas.microsoft.com/office/powerpoint/2010/main" val="7417274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heme ll">
    <p:spTree>
      <p:nvGrpSpPr>
        <p:cNvPr id="1" name=""/>
        <p:cNvGrpSpPr/>
        <p:nvPr/>
      </p:nvGrpSpPr>
      <p:grpSpPr>
        <a:xfrm>
          <a:off x="0" y="0"/>
          <a:ext cx="0" cy="0"/>
          <a:chOff x="0" y="0"/>
          <a:chExt cx="0" cy="0"/>
        </a:xfrm>
      </p:grpSpPr>
      <p:sp>
        <p:nvSpPr>
          <p:cNvPr id="18"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17" name="Marcador de texto 33"/>
          <p:cNvSpPr>
            <a:spLocks noGrp="1"/>
          </p:cNvSpPr>
          <p:nvPr>
            <p:ph type="body" sz="quarter" idx="14" hasCustomPrompt="1"/>
          </p:nvPr>
        </p:nvSpPr>
        <p:spPr>
          <a:xfrm>
            <a:off x="2857602" y="2057246"/>
            <a:ext cx="2942647" cy="431800"/>
          </a:xfrm>
          <a:prstGeom prst="rect">
            <a:avLst/>
          </a:prstGeom>
        </p:spPr>
        <p:txBody>
          <a:bodyPr>
            <a:normAutofit/>
          </a:bodyPr>
          <a:lstStyle>
            <a:lvl1pPr marL="0" indent="0">
              <a:buNone/>
              <a:defRPr sz="2000" baseline="0">
                <a:solidFill>
                  <a:schemeClr val="accent2"/>
                </a:solidFill>
              </a:defRPr>
            </a:lvl1pPr>
          </a:lstStyle>
          <a:p>
            <a:pPr lvl="0"/>
            <a:r>
              <a:rPr lang="en-GB" noProof="0" dirty="0"/>
              <a:t>Title here</a:t>
            </a:r>
          </a:p>
        </p:txBody>
      </p:sp>
      <p:sp>
        <p:nvSpPr>
          <p:cNvPr id="19" name="Marcador de texto 33"/>
          <p:cNvSpPr>
            <a:spLocks noGrp="1"/>
          </p:cNvSpPr>
          <p:nvPr>
            <p:ph type="body" sz="quarter" idx="16" hasCustomPrompt="1"/>
          </p:nvPr>
        </p:nvSpPr>
        <p:spPr>
          <a:xfrm>
            <a:off x="576481" y="4420860"/>
            <a:ext cx="2942647" cy="431800"/>
          </a:xfrm>
          <a:prstGeom prst="rect">
            <a:avLst/>
          </a:prstGeom>
        </p:spPr>
        <p:txBody>
          <a:bodyPr>
            <a:noAutofit/>
          </a:bodyPr>
          <a:lstStyle>
            <a:lvl1pPr marL="0" indent="0">
              <a:buNone/>
              <a:defRPr sz="2400" baseline="0">
                <a:solidFill>
                  <a:schemeClr val="accent2"/>
                </a:solidFill>
              </a:defRPr>
            </a:lvl1pPr>
          </a:lstStyle>
          <a:p>
            <a:pPr lvl="0"/>
            <a:r>
              <a:rPr lang="en-GB" noProof="0" dirty="0"/>
              <a:t>Title here</a:t>
            </a:r>
          </a:p>
        </p:txBody>
      </p:sp>
      <p:sp>
        <p:nvSpPr>
          <p:cNvPr id="21" name="Marcador de texto 33"/>
          <p:cNvSpPr>
            <a:spLocks noGrp="1"/>
          </p:cNvSpPr>
          <p:nvPr>
            <p:ph type="body" sz="quarter" idx="17" hasCustomPrompt="1"/>
          </p:nvPr>
        </p:nvSpPr>
        <p:spPr>
          <a:xfrm>
            <a:off x="5800189" y="4903912"/>
            <a:ext cx="3459659" cy="1200045"/>
          </a:xfrm>
          <a:prstGeom prst="rect">
            <a:avLst/>
          </a:prstGeom>
        </p:spPr>
        <p:txBody>
          <a:bodyPr>
            <a:normAutofit/>
          </a:bodyPr>
          <a:lstStyle>
            <a:lvl1pPr marL="0" indent="0">
              <a:buNone/>
              <a:defRPr sz="2800" baseline="0">
                <a:solidFill>
                  <a:schemeClr val="accent2"/>
                </a:solidFill>
              </a:defRPr>
            </a:lvl1pPr>
          </a:lstStyle>
          <a:p>
            <a:pPr lvl="0"/>
            <a:r>
              <a:rPr lang="en-GB" noProof="0" dirty="0"/>
              <a:t>Highlight here</a:t>
            </a:r>
          </a:p>
        </p:txBody>
      </p:sp>
      <p:sp>
        <p:nvSpPr>
          <p:cNvPr id="22" name="Marcador de texto 2"/>
          <p:cNvSpPr>
            <a:spLocks noGrp="1"/>
          </p:cNvSpPr>
          <p:nvPr>
            <p:ph type="body" sz="quarter" idx="18" hasCustomPrompt="1"/>
          </p:nvPr>
        </p:nvSpPr>
        <p:spPr>
          <a:xfrm>
            <a:off x="576481" y="4875698"/>
            <a:ext cx="2929143" cy="1307738"/>
          </a:xfrm>
          <a:prstGeom prst="rect">
            <a:avLst/>
          </a:prstGeom>
        </p:spPr>
        <p:txBody>
          <a:bodyPr>
            <a:normAutofit/>
          </a:bodyPr>
          <a:lstStyle>
            <a:lvl1pPr marL="130960" indent="-130960">
              <a:lnSpc>
                <a:spcPct val="100000"/>
              </a:lnSpc>
              <a:defRPr sz="2000">
                <a:solidFill>
                  <a:srgbClr val="323232"/>
                </a:solidFill>
              </a:defRPr>
            </a:lvl1pPr>
            <a:lvl2pPr marL="538163" indent="-139700">
              <a:lnSpc>
                <a:spcPct val="100000"/>
              </a:lnSpc>
              <a:defRPr sz="2000">
                <a:solidFill>
                  <a:srgbClr val="323232"/>
                </a:solidFill>
              </a:defRPr>
            </a:lvl2pPr>
            <a:lvl3pPr marL="985838" indent="-138113">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23" name="Marcador de texto 2"/>
          <p:cNvSpPr>
            <a:spLocks noGrp="1"/>
          </p:cNvSpPr>
          <p:nvPr>
            <p:ph type="body" sz="quarter" idx="19" hasCustomPrompt="1"/>
          </p:nvPr>
        </p:nvSpPr>
        <p:spPr>
          <a:xfrm>
            <a:off x="2857602" y="2489047"/>
            <a:ext cx="2929143"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2000">
                <a:solidFill>
                  <a:srgbClr val="323232"/>
                </a:solidFill>
              </a:defRPr>
            </a:lvl2pPr>
            <a:lvl3pPr marL="1076325" indent="-161925">
              <a:lnSpc>
                <a:spcPct val="100000"/>
              </a:lnSpc>
              <a:defRPr sz="2000">
                <a:solidFill>
                  <a:srgbClr val="323232"/>
                </a:solidFill>
              </a:defRPr>
            </a:lvl3pPr>
            <a:lvl4pPr>
              <a:lnSpc>
                <a:spcPct val="100000"/>
              </a:lnSpc>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a:t>
            </a:r>
          </a:p>
        </p:txBody>
      </p:sp>
      <p:sp>
        <p:nvSpPr>
          <p:cNvPr id="24" name="Marcador de texto 2"/>
          <p:cNvSpPr>
            <a:spLocks noGrp="1"/>
          </p:cNvSpPr>
          <p:nvPr>
            <p:ph type="body" sz="quarter" idx="20" hasCustomPrompt="1"/>
          </p:nvPr>
        </p:nvSpPr>
        <p:spPr>
          <a:xfrm>
            <a:off x="8903377" y="2057260"/>
            <a:ext cx="2617847" cy="1507399"/>
          </a:xfrm>
          <a:prstGeom prst="rect">
            <a:avLst/>
          </a:prstGeom>
        </p:spPr>
        <p:txBody>
          <a:bodyPr>
            <a:normAutofit/>
          </a:bodyPr>
          <a:lstStyle>
            <a:lvl1pPr marL="130960" indent="-130960">
              <a:lnSpc>
                <a:spcPct val="100000"/>
              </a:lnSpc>
              <a:defRPr sz="2000">
                <a:solidFill>
                  <a:srgbClr val="323232"/>
                </a:solidFill>
              </a:defRPr>
            </a:lvl1pPr>
            <a:lvl2pPr marL="627063" indent="-169863">
              <a:lnSpc>
                <a:spcPct val="100000"/>
              </a:lnSpc>
              <a:defRPr sz="1800">
                <a:solidFill>
                  <a:srgbClr val="323232"/>
                </a:solidFill>
              </a:defRPr>
            </a:lvl2pPr>
            <a:lvl3pPr marL="1076325" indent="-228600">
              <a:lnSpc>
                <a:spcPct val="100000"/>
              </a:lnSpc>
              <a:defRPr sz="1400">
                <a:solidFill>
                  <a:srgbClr val="323232"/>
                </a:solidFill>
              </a:defRPr>
            </a:lvl3pPr>
            <a:lvl4pPr marL="1371600" indent="0">
              <a:lnSpc>
                <a:spcPct val="100000"/>
              </a:lnSpc>
              <a:buNone/>
              <a:defRPr sz="1200"/>
            </a:lvl4pPr>
            <a:lvl5pPr>
              <a:lnSpc>
                <a:spcPct val="100000"/>
              </a:lnSpc>
              <a:defRPr sz="1200"/>
            </a:lvl5pPr>
          </a:lstStyle>
          <a:p>
            <a:pPr lvl="0"/>
            <a:r>
              <a:rPr lang="en-GB" noProof="0" dirty="0"/>
              <a:t>Bullet level 1</a:t>
            </a:r>
          </a:p>
          <a:p>
            <a:pPr lvl="1"/>
            <a:r>
              <a:rPr lang="en-GB" noProof="0" dirty="0"/>
              <a:t>Bullet level 2</a:t>
            </a:r>
          </a:p>
          <a:p>
            <a:pPr lvl="2"/>
            <a:r>
              <a:rPr lang="en-GB" noProof="0" dirty="0"/>
              <a:t>Bullet level 3	</a:t>
            </a:r>
          </a:p>
        </p:txBody>
      </p:sp>
      <p:sp>
        <p:nvSpPr>
          <p:cNvPr id="27"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4"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6"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12308595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s slide">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09" y="1480159"/>
            <a:ext cx="11228409" cy="4442685"/>
          </a:xfrm>
          <a:prstGeom prst="rect">
            <a:avLst/>
          </a:prstGeom>
        </p:spPr>
        <p:txBody>
          <a:bodyPr>
            <a:normAutofit/>
          </a:bodyPr>
          <a:lstStyle>
            <a:lvl1pPr marL="130960" indent="-130960">
              <a:lnSpc>
                <a:spcPct val="100000"/>
              </a:lnSpc>
              <a:buClr>
                <a:schemeClr val="accent2"/>
              </a:buClr>
              <a:defRPr sz="2400" baseline="0">
                <a:solidFill>
                  <a:srgbClr val="323232"/>
                </a:solidFill>
              </a:defRPr>
            </a:lvl1pPr>
            <a:lvl2pPr>
              <a:lnSpc>
                <a:spcPct val="100000"/>
              </a:lnSpc>
              <a:buClr>
                <a:schemeClr val="accent2"/>
              </a:buClr>
              <a:defRPr sz="2000" baseline="0">
                <a:solidFill>
                  <a:srgbClr val="323232"/>
                </a:solidFill>
              </a:defRPr>
            </a:lvl2pPr>
            <a:lvl3pPr>
              <a:lnSpc>
                <a:spcPct val="100000"/>
              </a:lnSpc>
              <a:buClr>
                <a:schemeClr val="accent2"/>
              </a:buClr>
              <a:defRPr sz="1800" baseline="0">
                <a:solidFill>
                  <a:srgbClr val="323232"/>
                </a:solidFill>
              </a:defRPr>
            </a:lvl3pPr>
            <a:lvl4pPr>
              <a:lnSpc>
                <a:spcPct val="100000"/>
              </a:lnSpc>
              <a:buClr>
                <a:schemeClr val="accent2"/>
              </a:buClr>
              <a:defRPr sz="1600" baseline="0">
                <a:solidFill>
                  <a:srgbClr val="323232"/>
                </a:solidFill>
              </a:defRPr>
            </a:lvl4pPr>
            <a:lvl5pPr>
              <a:lnSpc>
                <a:spcPct val="100000"/>
              </a:lnSpc>
              <a:buClr>
                <a:schemeClr val="accent2"/>
              </a:buClr>
              <a:defRPr sz="1400" baseline="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11" name="Title 1"/>
          <p:cNvSpPr>
            <a:spLocks noGrp="1"/>
          </p:cNvSpPr>
          <p:nvPr>
            <p:ph type="title" hasCustomPrompt="1"/>
          </p:nvPr>
        </p:nvSpPr>
        <p:spPr>
          <a:xfrm>
            <a:off x="268224" y="296865"/>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68224" y="779412"/>
            <a:ext cx="11228613" cy="468000"/>
          </a:xfrm>
          <a:prstGeom prst="rect">
            <a:avLst/>
          </a:prstGeom>
        </p:spPr>
        <p:txBody>
          <a:bodyPr>
            <a:noAutofit/>
          </a:bodyPr>
          <a:lstStyle>
            <a:lvl1pPr marL="0" indent="0">
              <a:lnSpc>
                <a:spcPct val="100000"/>
              </a:lnSpc>
              <a:buNone/>
              <a:defRPr sz="20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Tree>
    <p:extLst>
      <p:ext uri="{BB962C8B-B14F-4D97-AF65-F5344CB8AC3E}">
        <p14:creationId xmlns:p14="http://schemas.microsoft.com/office/powerpoint/2010/main" val="15332846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and icons">
    <p:spTree>
      <p:nvGrpSpPr>
        <p:cNvPr id="1" name=""/>
        <p:cNvGrpSpPr/>
        <p:nvPr/>
      </p:nvGrpSpPr>
      <p:grpSpPr>
        <a:xfrm>
          <a:off x="0" y="0"/>
          <a:ext cx="0" cy="0"/>
          <a:chOff x="0" y="0"/>
          <a:chExt cx="0" cy="0"/>
        </a:xfrm>
      </p:grpSpPr>
      <p:sp>
        <p:nvSpPr>
          <p:cNvPr id="17"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32" name="Content Placeholder 2"/>
          <p:cNvSpPr>
            <a:spLocks noGrp="1"/>
          </p:cNvSpPr>
          <p:nvPr>
            <p:ph idx="1" hasCustomPrompt="1"/>
          </p:nvPr>
        </p:nvSpPr>
        <p:spPr>
          <a:xfrm>
            <a:off x="768977"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3" name="Text Placeholder 23"/>
          <p:cNvSpPr>
            <a:spLocks noGrp="1"/>
          </p:cNvSpPr>
          <p:nvPr>
            <p:ph type="body" sz="quarter" idx="21"/>
          </p:nvPr>
        </p:nvSpPr>
        <p:spPr>
          <a:xfrm>
            <a:off x="768777"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4" name="Content Placeholder 2"/>
          <p:cNvSpPr>
            <a:spLocks noGrp="1"/>
          </p:cNvSpPr>
          <p:nvPr>
            <p:ph idx="30" hasCustomPrompt="1"/>
          </p:nvPr>
        </p:nvSpPr>
        <p:spPr>
          <a:xfrm>
            <a:off x="3564116" y="3493009"/>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n-GB" noProof="0" dirty="0"/>
              <a:t>Click to add text</a:t>
            </a:r>
          </a:p>
        </p:txBody>
      </p:sp>
      <p:sp>
        <p:nvSpPr>
          <p:cNvPr id="35" name="Text Placeholder 23"/>
          <p:cNvSpPr>
            <a:spLocks noGrp="1"/>
          </p:cNvSpPr>
          <p:nvPr>
            <p:ph type="body" sz="quarter" idx="31"/>
          </p:nvPr>
        </p:nvSpPr>
        <p:spPr>
          <a:xfrm>
            <a:off x="3563913"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36" name="Content Placeholder 2"/>
          <p:cNvSpPr>
            <a:spLocks noGrp="1"/>
          </p:cNvSpPr>
          <p:nvPr>
            <p:ph idx="32" hasCustomPrompt="1"/>
          </p:nvPr>
        </p:nvSpPr>
        <p:spPr>
          <a:xfrm>
            <a:off x="6364560" y="3507837"/>
            <a:ext cx="2047701" cy="723884"/>
          </a:xfrm>
          <a:prstGeom prst="rect">
            <a:avLst/>
          </a:prstGeom>
        </p:spPr>
        <p:txBody>
          <a:bodyPr>
            <a:noAutofit/>
          </a:bodyPr>
          <a:lstStyle>
            <a:lvl1pPr marL="0" indent="0">
              <a:buNone/>
              <a:defRPr sz="240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3" name="Text Placeholder 23"/>
          <p:cNvSpPr>
            <a:spLocks noGrp="1"/>
          </p:cNvSpPr>
          <p:nvPr>
            <p:ph type="body" sz="quarter" idx="33"/>
          </p:nvPr>
        </p:nvSpPr>
        <p:spPr>
          <a:xfrm>
            <a:off x="6364567" y="4332130"/>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4" name="Content Placeholder 2"/>
          <p:cNvSpPr>
            <a:spLocks noGrp="1"/>
          </p:cNvSpPr>
          <p:nvPr>
            <p:ph idx="34" hasCustomPrompt="1"/>
          </p:nvPr>
        </p:nvSpPr>
        <p:spPr>
          <a:xfrm>
            <a:off x="9136016" y="3493009"/>
            <a:ext cx="2047701" cy="723884"/>
          </a:xfrm>
          <a:prstGeom prst="rect">
            <a:avLst/>
          </a:prstGeom>
        </p:spPr>
        <p:txBody>
          <a:bodyPr>
            <a:noAutofit/>
          </a:bodyPr>
          <a:lstStyle>
            <a:lvl1pPr marL="0" indent="0">
              <a:buNone/>
              <a:defRPr sz="2400" baseline="0">
                <a:solidFill>
                  <a:schemeClr val="accent2"/>
                </a:solidFill>
                <a:latin typeface="+mj-lt"/>
              </a:defRPr>
            </a:lvl1pPr>
            <a:lvl2pPr marL="342875" indent="0">
              <a:buNone/>
              <a:defRPr sz="1350">
                <a:solidFill>
                  <a:srgbClr val="454545"/>
                </a:solidFill>
                <a:latin typeface="+mj-lt"/>
              </a:defRPr>
            </a:lvl2pPr>
            <a:lvl3pPr>
              <a:defRPr sz="1200">
                <a:solidFill>
                  <a:srgbClr val="454545"/>
                </a:solidFill>
                <a:latin typeface="+mj-lt"/>
              </a:defRPr>
            </a:lvl3pPr>
            <a:lvl4pPr>
              <a:defRPr sz="1050">
                <a:solidFill>
                  <a:srgbClr val="454545"/>
                </a:solidFill>
                <a:latin typeface="+mj-lt"/>
              </a:defRPr>
            </a:lvl4pPr>
            <a:lvl5pPr>
              <a:defRPr sz="1050">
                <a:solidFill>
                  <a:srgbClr val="454545"/>
                </a:solidFill>
                <a:latin typeface="+mj-lt"/>
              </a:defRPr>
            </a:lvl5pPr>
          </a:lstStyle>
          <a:p>
            <a:pPr lvl="0"/>
            <a:r>
              <a:rPr lang="es-ES" noProof="0" dirty="0" err="1"/>
              <a:t>Click</a:t>
            </a:r>
            <a:r>
              <a:rPr lang="es-ES" noProof="0" dirty="0"/>
              <a:t> to </a:t>
            </a:r>
            <a:r>
              <a:rPr lang="es-ES" noProof="0" dirty="0" err="1"/>
              <a:t>add</a:t>
            </a:r>
            <a:r>
              <a:rPr lang="es-ES" noProof="0" dirty="0"/>
              <a:t> </a:t>
            </a:r>
            <a:r>
              <a:rPr lang="es-ES" noProof="0" dirty="0" err="1"/>
              <a:t>text</a:t>
            </a:r>
            <a:endParaRPr lang="en-GB" noProof="0" dirty="0"/>
          </a:p>
        </p:txBody>
      </p:sp>
      <p:sp>
        <p:nvSpPr>
          <p:cNvPr id="45" name="Text Placeholder 23"/>
          <p:cNvSpPr>
            <a:spLocks noGrp="1"/>
          </p:cNvSpPr>
          <p:nvPr>
            <p:ph type="body" sz="quarter" idx="35"/>
          </p:nvPr>
        </p:nvSpPr>
        <p:spPr>
          <a:xfrm>
            <a:off x="9135814" y="4317308"/>
            <a:ext cx="2047703" cy="1559618"/>
          </a:xfrm>
          <a:prstGeom prst="rect">
            <a:avLst/>
          </a:prstGeom>
        </p:spPr>
        <p:txBody>
          <a:bodyPr>
            <a:noAutofit/>
          </a:bodyPr>
          <a:lstStyle>
            <a:lvl1pPr marL="0" indent="0">
              <a:lnSpc>
                <a:spcPct val="100000"/>
              </a:lnSpc>
              <a:buNone/>
              <a:defRPr sz="2000">
                <a:solidFill>
                  <a:srgbClr val="323232"/>
                </a:solidFill>
                <a:latin typeface="+mj-lt"/>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US" noProof="0"/>
              <a:t>Click to edit Master text styles</a:t>
            </a:r>
          </a:p>
        </p:txBody>
      </p:sp>
      <p:sp>
        <p:nvSpPr>
          <p:cNvPr id="48"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9" name="Title 1"/>
          <p:cNvSpPr>
            <a:spLocks noGrp="1"/>
          </p:cNvSpPr>
          <p:nvPr>
            <p:ph type="title" hasCustomPrompt="1"/>
          </p:nvPr>
        </p:nvSpPr>
        <p:spPr>
          <a:xfrm>
            <a:off x="268224" y="296865"/>
            <a:ext cx="10915493" cy="482549"/>
          </a:xfrm>
        </p:spPr>
        <p:txBody>
          <a:bodyPr anchor="t">
            <a:noAutofit/>
          </a:bodyPr>
          <a:lstStyle>
            <a:lvl1pPr>
              <a:defRPr sz="2400">
                <a:solidFill>
                  <a:schemeClr val="tx2"/>
                </a:solidFill>
                <a:latin typeface="+mj-lt"/>
              </a:defRPr>
            </a:lvl1pPr>
          </a:lstStyle>
          <a:p>
            <a:r>
              <a:rPr lang="en-GB" noProof="0" dirty="0"/>
              <a:t>Add your title here</a:t>
            </a:r>
          </a:p>
        </p:txBody>
      </p:sp>
      <p:sp>
        <p:nvSpPr>
          <p:cNvPr id="20" name="Text Placeholder 19"/>
          <p:cNvSpPr>
            <a:spLocks noGrp="1"/>
          </p:cNvSpPr>
          <p:nvPr>
            <p:ph type="body" sz="quarter" idx="13"/>
          </p:nvPr>
        </p:nvSpPr>
        <p:spPr>
          <a:xfrm>
            <a:off x="268224" y="779412"/>
            <a:ext cx="10891629" cy="468000"/>
          </a:xfrm>
          <a:prstGeom prst="rect">
            <a:avLst/>
          </a:prstGeom>
        </p:spPr>
        <p:txBody>
          <a:bodyPr>
            <a:noAutofit/>
          </a:bodyPr>
          <a:lstStyle>
            <a:lvl1pPr marL="0" indent="0">
              <a:lnSpc>
                <a:spcPct val="100000"/>
              </a:lnSpc>
              <a:buNone/>
              <a:defRPr sz="18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US" noProof="0"/>
              <a:t>Click to edit Master text styles</a:t>
            </a:r>
          </a:p>
        </p:txBody>
      </p:sp>
    </p:spTree>
    <p:extLst>
      <p:ext uri="{BB962C8B-B14F-4D97-AF65-F5344CB8AC3E}">
        <p14:creationId xmlns:p14="http://schemas.microsoft.com/office/powerpoint/2010/main" val="36609549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 Thank you slide">
    <p:bg>
      <p:bgPr>
        <a:solidFill>
          <a:schemeClr val="bg1"/>
        </a:solidFill>
        <a:effectLst/>
      </p:bgPr>
    </p:bg>
    <p:spTree>
      <p:nvGrpSpPr>
        <p:cNvPr id="1" name=""/>
        <p:cNvGrpSpPr/>
        <p:nvPr/>
      </p:nvGrpSpPr>
      <p:grpSpPr>
        <a:xfrm>
          <a:off x="0" y="0"/>
          <a:ext cx="0" cy="0"/>
          <a:chOff x="0" y="0"/>
          <a:chExt cx="0" cy="0"/>
        </a:xfrm>
      </p:grpSpPr>
      <p:sp>
        <p:nvSpPr>
          <p:cNvPr id="2" name="Rectángulo 1"/>
          <p:cNvSpPr/>
          <p:nvPr userDrawn="1"/>
        </p:nvSpPr>
        <p:spPr>
          <a:xfrm>
            <a:off x="0" y="5905500"/>
            <a:ext cx="8715375" cy="952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dirty="0">
              <a:solidFill>
                <a:srgbClr val="005EB8"/>
              </a:solidFill>
            </a:endParaRPr>
          </a:p>
        </p:txBody>
      </p:sp>
      <p:cxnSp>
        <p:nvCxnSpPr>
          <p:cNvPr id="123" name="Straight Connector 11"/>
          <p:cNvCxnSpPr/>
          <p:nvPr userDrawn="1"/>
        </p:nvCxnSpPr>
        <p:spPr>
          <a:xfrm>
            <a:off x="1948357" y="6282442"/>
            <a:ext cx="0" cy="4308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56" name="Text Placeholder 23"/>
          <p:cNvSpPr>
            <a:spLocks noGrp="1"/>
          </p:cNvSpPr>
          <p:nvPr>
            <p:ph type="body" sz="quarter" idx="39" hasCustomPrompt="1"/>
          </p:nvPr>
        </p:nvSpPr>
        <p:spPr>
          <a:xfrm>
            <a:off x="2471325" y="6307922"/>
            <a:ext cx="1602489" cy="178471"/>
          </a:xfrm>
          <a:prstGeom prst="rect">
            <a:avLst/>
          </a:prstGeom>
        </p:spPr>
        <p:txBody>
          <a:bodyPr>
            <a:noAutofit/>
          </a:bodyPr>
          <a:lstStyle>
            <a:lvl1pPr marL="0" indent="0" algn="l">
              <a:lnSpc>
                <a:spcPct val="100000"/>
              </a:lnSpc>
              <a:buNone/>
              <a:defRPr lang="en-GB" sz="900" i="1"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7" name="Text Placeholder 23"/>
          <p:cNvSpPr>
            <a:spLocks noGrp="1"/>
          </p:cNvSpPr>
          <p:nvPr>
            <p:ph type="body" sz="quarter" idx="40" hasCustomPrompt="1"/>
          </p:nvPr>
        </p:nvSpPr>
        <p:spPr>
          <a:xfrm>
            <a:off x="2072506" y="6518623"/>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55" name="Text Placeholder 23"/>
          <p:cNvSpPr>
            <a:spLocks noGrp="1"/>
          </p:cNvSpPr>
          <p:nvPr>
            <p:ph type="body" sz="quarter" idx="38" hasCustomPrompt="1"/>
          </p:nvPr>
        </p:nvSpPr>
        <p:spPr>
          <a:xfrm>
            <a:off x="389804" y="6323083"/>
            <a:ext cx="1764284" cy="390246"/>
          </a:xfrm>
          <a:prstGeom prst="rect">
            <a:avLst/>
          </a:prstGeom>
        </p:spPr>
        <p:txBody>
          <a:bodyPr>
            <a:noAutofit/>
          </a:bodyPr>
          <a:lstStyle>
            <a:lvl1pPr marL="0" indent="0" algn="l">
              <a:lnSpc>
                <a:spcPct val="100000"/>
              </a:lnSpc>
              <a:buNone/>
              <a:defRPr lang="en-GB" sz="1100" kern="1200" noProof="0" dirty="0" smtClean="0">
                <a:solidFill>
                  <a:schemeClr val="tx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24" name="Freeform 5"/>
          <p:cNvSpPr>
            <a:spLocks/>
          </p:cNvSpPr>
          <p:nvPr userDrawn="1"/>
        </p:nvSpPr>
        <p:spPr bwMode="auto">
          <a:xfrm>
            <a:off x="585996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5" name="Freeform 5"/>
          <p:cNvSpPr>
            <a:spLocks noEditPoints="1"/>
          </p:cNvSpPr>
          <p:nvPr userDrawn="1"/>
        </p:nvSpPr>
        <p:spPr bwMode="auto">
          <a:xfrm>
            <a:off x="377377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6"/>
          <p:cNvSpPr>
            <a:spLocks/>
          </p:cNvSpPr>
          <p:nvPr userDrawn="1"/>
        </p:nvSpPr>
        <p:spPr bwMode="auto">
          <a:xfrm>
            <a:off x="467547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7"/>
          <p:cNvSpPr>
            <a:spLocks noEditPoints="1"/>
          </p:cNvSpPr>
          <p:nvPr userDrawn="1"/>
        </p:nvSpPr>
        <p:spPr bwMode="auto">
          <a:xfrm>
            <a:off x="497075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8" name="Freeform 8"/>
          <p:cNvSpPr>
            <a:spLocks noEditPoints="1"/>
          </p:cNvSpPr>
          <p:nvPr userDrawn="1"/>
        </p:nvSpPr>
        <p:spPr bwMode="auto">
          <a:xfrm>
            <a:off x="40738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9" name="Freeform 9"/>
          <p:cNvSpPr>
            <a:spLocks noEditPoints="1"/>
          </p:cNvSpPr>
          <p:nvPr userDrawn="1"/>
        </p:nvSpPr>
        <p:spPr bwMode="auto">
          <a:xfrm>
            <a:off x="557241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0" name="Freeform 10"/>
          <p:cNvSpPr>
            <a:spLocks noEditPoints="1"/>
          </p:cNvSpPr>
          <p:nvPr userDrawn="1"/>
        </p:nvSpPr>
        <p:spPr bwMode="auto">
          <a:xfrm>
            <a:off x="527237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31" name="Freeform 11"/>
          <p:cNvSpPr>
            <a:spLocks noEditPoints="1"/>
          </p:cNvSpPr>
          <p:nvPr userDrawn="1"/>
        </p:nvSpPr>
        <p:spPr bwMode="auto">
          <a:xfrm>
            <a:off x="437385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Tree>
    <p:extLst>
      <p:ext uri="{BB962C8B-B14F-4D97-AF65-F5344CB8AC3E}">
        <p14:creationId xmlns:p14="http://schemas.microsoft.com/office/powerpoint/2010/main" val="42523332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hape 1">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4377712"/>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92608" y="779416"/>
            <a:ext cx="11228613" cy="411209"/>
          </a:xfrm>
          <a:prstGeom prst="rect">
            <a:avLst/>
          </a:prstGeom>
        </p:spPr>
        <p:txBody>
          <a:bodyPr>
            <a:noAutofit/>
          </a:bodyPr>
          <a:lstStyle>
            <a:lvl1pPr marL="0" indent="0">
              <a:lnSpc>
                <a:spcPct val="100000"/>
              </a:lnSpc>
              <a:buNone/>
              <a:defRPr sz="16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9" name="Picture Placeholder 18"/>
          <p:cNvSpPr>
            <a:spLocks noGrp="1"/>
          </p:cNvSpPr>
          <p:nvPr>
            <p:ph type="pic" sz="quarter" idx="19" hasCustomPrompt="1"/>
          </p:nvPr>
        </p:nvSpPr>
        <p:spPr>
          <a:xfrm>
            <a:off x="6434720" y="1753456"/>
            <a:ext cx="4556125" cy="3886200"/>
          </a:xfrm>
          <a:custGeom>
            <a:avLst/>
            <a:gdLst>
              <a:gd name="connsiteX0" fmla="*/ 3764756 w 4556125"/>
              <a:gd name="connsiteY0" fmla="*/ 0 h 3886200"/>
              <a:gd name="connsiteX1" fmla="*/ 3778647 w 4556125"/>
              <a:gd name="connsiteY1" fmla="*/ 0 h 3886200"/>
              <a:gd name="connsiteX2" fmla="*/ 3792538 w 4556125"/>
              <a:gd name="connsiteY2" fmla="*/ 397 h 3886200"/>
              <a:gd name="connsiteX3" fmla="*/ 3806031 w 4556125"/>
              <a:gd name="connsiteY3" fmla="*/ 1191 h 3886200"/>
              <a:gd name="connsiteX4" fmla="*/ 3819922 w 4556125"/>
              <a:gd name="connsiteY4" fmla="*/ 2381 h 3886200"/>
              <a:gd name="connsiteX5" fmla="*/ 3833019 w 4556125"/>
              <a:gd name="connsiteY5" fmla="*/ 3969 h 3886200"/>
              <a:gd name="connsiteX6" fmla="*/ 3846512 w 4556125"/>
              <a:gd name="connsiteY6" fmla="*/ 5953 h 3886200"/>
              <a:gd name="connsiteX7" fmla="*/ 3859610 w 4556125"/>
              <a:gd name="connsiteY7" fmla="*/ 8731 h 3886200"/>
              <a:gd name="connsiteX8" fmla="*/ 3871912 w 4556125"/>
              <a:gd name="connsiteY8" fmla="*/ 11510 h 3886200"/>
              <a:gd name="connsiteX9" fmla="*/ 3885010 w 4556125"/>
              <a:gd name="connsiteY9" fmla="*/ 14685 h 3886200"/>
              <a:gd name="connsiteX10" fmla="*/ 3897710 w 4556125"/>
              <a:gd name="connsiteY10" fmla="*/ 18256 h 3886200"/>
              <a:gd name="connsiteX11" fmla="*/ 3910410 w 4556125"/>
              <a:gd name="connsiteY11" fmla="*/ 22622 h 3886200"/>
              <a:gd name="connsiteX12" fmla="*/ 3923110 w 4556125"/>
              <a:gd name="connsiteY12" fmla="*/ 26591 h 3886200"/>
              <a:gd name="connsiteX13" fmla="*/ 3935016 w 4556125"/>
              <a:gd name="connsiteY13" fmla="*/ 31750 h 3886200"/>
              <a:gd name="connsiteX14" fmla="*/ 3947716 w 4556125"/>
              <a:gd name="connsiteY14" fmla="*/ 36910 h 3886200"/>
              <a:gd name="connsiteX15" fmla="*/ 3959622 w 4556125"/>
              <a:gd name="connsiteY15" fmla="*/ 42863 h 3886200"/>
              <a:gd name="connsiteX16" fmla="*/ 3971131 w 4556125"/>
              <a:gd name="connsiteY16" fmla="*/ 48419 h 3886200"/>
              <a:gd name="connsiteX17" fmla="*/ 3983434 w 4556125"/>
              <a:gd name="connsiteY17" fmla="*/ 54769 h 3886200"/>
              <a:gd name="connsiteX18" fmla="*/ 3994944 w 4556125"/>
              <a:gd name="connsiteY18" fmla="*/ 61516 h 3886200"/>
              <a:gd name="connsiteX19" fmla="*/ 4006453 w 4556125"/>
              <a:gd name="connsiteY19" fmla="*/ 68660 h 3886200"/>
              <a:gd name="connsiteX20" fmla="*/ 4017962 w 4556125"/>
              <a:gd name="connsiteY20" fmla="*/ 76200 h 3886200"/>
              <a:gd name="connsiteX21" fmla="*/ 4029075 w 4556125"/>
              <a:gd name="connsiteY21" fmla="*/ 83741 h 3886200"/>
              <a:gd name="connsiteX22" fmla="*/ 4040188 w 4556125"/>
              <a:gd name="connsiteY22" fmla="*/ 91678 h 3886200"/>
              <a:gd name="connsiteX23" fmla="*/ 4051300 w 4556125"/>
              <a:gd name="connsiteY23" fmla="*/ 100013 h 3886200"/>
              <a:gd name="connsiteX24" fmla="*/ 4062412 w 4556125"/>
              <a:gd name="connsiteY24" fmla="*/ 108744 h 3886200"/>
              <a:gd name="connsiteX25" fmla="*/ 4073128 w 4556125"/>
              <a:gd name="connsiteY25" fmla="*/ 117872 h 3886200"/>
              <a:gd name="connsiteX26" fmla="*/ 4083844 w 4556125"/>
              <a:gd name="connsiteY26" fmla="*/ 127000 h 3886200"/>
              <a:gd name="connsiteX27" fmla="*/ 4094560 w 4556125"/>
              <a:gd name="connsiteY27" fmla="*/ 136525 h 3886200"/>
              <a:gd name="connsiteX28" fmla="*/ 4104481 w 4556125"/>
              <a:gd name="connsiteY28" fmla="*/ 146447 h 3886200"/>
              <a:gd name="connsiteX29" fmla="*/ 4125119 w 4556125"/>
              <a:gd name="connsiteY29" fmla="*/ 167084 h 3886200"/>
              <a:gd name="connsiteX30" fmla="*/ 4145360 w 4556125"/>
              <a:gd name="connsiteY30" fmla="*/ 188913 h 3886200"/>
              <a:gd name="connsiteX31" fmla="*/ 4164410 w 4556125"/>
              <a:gd name="connsiteY31" fmla="*/ 211931 h 3886200"/>
              <a:gd name="connsiteX32" fmla="*/ 4183856 w 4556125"/>
              <a:gd name="connsiteY32" fmla="*/ 235744 h 3886200"/>
              <a:gd name="connsiteX33" fmla="*/ 4202112 w 4556125"/>
              <a:gd name="connsiteY33" fmla="*/ 260350 h 3886200"/>
              <a:gd name="connsiteX34" fmla="*/ 4219972 w 4556125"/>
              <a:gd name="connsiteY34" fmla="*/ 286544 h 3886200"/>
              <a:gd name="connsiteX35" fmla="*/ 4237434 w 4556125"/>
              <a:gd name="connsiteY35" fmla="*/ 313135 h 3886200"/>
              <a:gd name="connsiteX36" fmla="*/ 4254500 w 4556125"/>
              <a:gd name="connsiteY36" fmla="*/ 340519 h 3886200"/>
              <a:gd name="connsiteX37" fmla="*/ 4271169 w 4556125"/>
              <a:gd name="connsiteY37" fmla="*/ 369094 h 3886200"/>
              <a:gd name="connsiteX38" fmla="*/ 4286647 w 4556125"/>
              <a:gd name="connsiteY38" fmla="*/ 398463 h 3886200"/>
              <a:gd name="connsiteX39" fmla="*/ 4302522 w 4556125"/>
              <a:gd name="connsiteY39" fmla="*/ 427831 h 3886200"/>
              <a:gd name="connsiteX40" fmla="*/ 4317603 w 4556125"/>
              <a:gd name="connsiteY40" fmla="*/ 458391 h 3886200"/>
              <a:gd name="connsiteX41" fmla="*/ 4332288 w 4556125"/>
              <a:gd name="connsiteY41" fmla="*/ 489347 h 3886200"/>
              <a:gd name="connsiteX42" fmla="*/ 4346178 w 4556125"/>
              <a:gd name="connsiteY42" fmla="*/ 521097 h 3886200"/>
              <a:gd name="connsiteX43" fmla="*/ 4359672 w 4556125"/>
              <a:gd name="connsiteY43" fmla="*/ 553244 h 3886200"/>
              <a:gd name="connsiteX44" fmla="*/ 4372769 w 4556125"/>
              <a:gd name="connsiteY44" fmla="*/ 586185 h 3886200"/>
              <a:gd name="connsiteX45" fmla="*/ 4385469 w 4556125"/>
              <a:gd name="connsiteY45" fmla="*/ 619522 h 3886200"/>
              <a:gd name="connsiteX46" fmla="*/ 4398169 w 4556125"/>
              <a:gd name="connsiteY46" fmla="*/ 652463 h 3886200"/>
              <a:gd name="connsiteX47" fmla="*/ 4409678 w 4556125"/>
              <a:gd name="connsiteY47" fmla="*/ 686991 h 3886200"/>
              <a:gd name="connsiteX48" fmla="*/ 4420790 w 4556125"/>
              <a:gd name="connsiteY48" fmla="*/ 721122 h 3886200"/>
              <a:gd name="connsiteX49" fmla="*/ 4431903 w 4556125"/>
              <a:gd name="connsiteY49" fmla="*/ 755253 h 3886200"/>
              <a:gd name="connsiteX50" fmla="*/ 4441825 w 4556125"/>
              <a:gd name="connsiteY50" fmla="*/ 790178 h 3886200"/>
              <a:gd name="connsiteX51" fmla="*/ 4451747 w 4556125"/>
              <a:gd name="connsiteY51" fmla="*/ 824706 h 3886200"/>
              <a:gd name="connsiteX52" fmla="*/ 4461669 w 4556125"/>
              <a:gd name="connsiteY52" fmla="*/ 859631 h 3886200"/>
              <a:gd name="connsiteX53" fmla="*/ 4470003 w 4556125"/>
              <a:gd name="connsiteY53" fmla="*/ 894953 h 3886200"/>
              <a:gd name="connsiteX54" fmla="*/ 4478734 w 4556125"/>
              <a:gd name="connsiteY54" fmla="*/ 929878 h 3886200"/>
              <a:gd name="connsiteX55" fmla="*/ 4486672 w 4556125"/>
              <a:gd name="connsiteY55" fmla="*/ 964803 h 3886200"/>
              <a:gd name="connsiteX56" fmla="*/ 4494212 w 4556125"/>
              <a:gd name="connsiteY56" fmla="*/ 1000125 h 3886200"/>
              <a:gd name="connsiteX57" fmla="*/ 4501753 w 4556125"/>
              <a:gd name="connsiteY57" fmla="*/ 1034653 h 3886200"/>
              <a:gd name="connsiteX58" fmla="*/ 4508500 w 4556125"/>
              <a:gd name="connsiteY58" fmla="*/ 1069578 h 3886200"/>
              <a:gd name="connsiteX59" fmla="*/ 4514453 w 4556125"/>
              <a:gd name="connsiteY59" fmla="*/ 1104106 h 3886200"/>
              <a:gd name="connsiteX60" fmla="*/ 4520406 w 4556125"/>
              <a:gd name="connsiteY60" fmla="*/ 1138635 h 3886200"/>
              <a:gd name="connsiteX61" fmla="*/ 4525566 w 4556125"/>
              <a:gd name="connsiteY61" fmla="*/ 1172369 h 3886200"/>
              <a:gd name="connsiteX62" fmla="*/ 4530328 w 4556125"/>
              <a:gd name="connsiteY62" fmla="*/ 1206103 h 3886200"/>
              <a:gd name="connsiteX63" fmla="*/ 4535090 w 4556125"/>
              <a:gd name="connsiteY63" fmla="*/ 1239044 h 3886200"/>
              <a:gd name="connsiteX64" fmla="*/ 4539060 w 4556125"/>
              <a:gd name="connsiteY64" fmla="*/ 1271985 h 3886200"/>
              <a:gd name="connsiteX65" fmla="*/ 4542631 w 4556125"/>
              <a:gd name="connsiteY65" fmla="*/ 1304528 h 3886200"/>
              <a:gd name="connsiteX66" fmla="*/ 4546203 w 4556125"/>
              <a:gd name="connsiteY66" fmla="*/ 1336278 h 3886200"/>
              <a:gd name="connsiteX67" fmla="*/ 4548584 w 4556125"/>
              <a:gd name="connsiteY67" fmla="*/ 1367631 h 3886200"/>
              <a:gd name="connsiteX68" fmla="*/ 4550966 w 4556125"/>
              <a:gd name="connsiteY68" fmla="*/ 1398191 h 3886200"/>
              <a:gd name="connsiteX69" fmla="*/ 4552950 w 4556125"/>
              <a:gd name="connsiteY69" fmla="*/ 1428353 h 3886200"/>
              <a:gd name="connsiteX70" fmla="*/ 4554538 w 4556125"/>
              <a:gd name="connsiteY70" fmla="*/ 1458119 h 3886200"/>
              <a:gd name="connsiteX71" fmla="*/ 4555728 w 4556125"/>
              <a:gd name="connsiteY71" fmla="*/ 1486297 h 3886200"/>
              <a:gd name="connsiteX72" fmla="*/ 4556125 w 4556125"/>
              <a:gd name="connsiteY72" fmla="*/ 1514475 h 3886200"/>
              <a:gd name="connsiteX73" fmla="*/ 4556125 w 4556125"/>
              <a:gd name="connsiteY73" fmla="*/ 1541463 h 3886200"/>
              <a:gd name="connsiteX74" fmla="*/ 4556125 w 4556125"/>
              <a:gd name="connsiteY74" fmla="*/ 1572022 h 3886200"/>
              <a:gd name="connsiteX75" fmla="*/ 4555728 w 4556125"/>
              <a:gd name="connsiteY75" fmla="*/ 1602185 h 3886200"/>
              <a:gd name="connsiteX76" fmla="*/ 4554538 w 4556125"/>
              <a:gd name="connsiteY76" fmla="*/ 1631950 h 3886200"/>
              <a:gd name="connsiteX77" fmla="*/ 4552950 w 4556125"/>
              <a:gd name="connsiteY77" fmla="*/ 1662113 h 3886200"/>
              <a:gd name="connsiteX78" fmla="*/ 4551760 w 4556125"/>
              <a:gd name="connsiteY78" fmla="*/ 1692275 h 3886200"/>
              <a:gd name="connsiteX79" fmla="*/ 4549775 w 4556125"/>
              <a:gd name="connsiteY79" fmla="*/ 1722041 h 3886200"/>
              <a:gd name="connsiteX80" fmla="*/ 4546997 w 4556125"/>
              <a:gd name="connsiteY80" fmla="*/ 1751806 h 3886200"/>
              <a:gd name="connsiteX81" fmla="*/ 4544219 w 4556125"/>
              <a:gd name="connsiteY81" fmla="*/ 1781572 h 3886200"/>
              <a:gd name="connsiteX82" fmla="*/ 4541044 w 4556125"/>
              <a:gd name="connsiteY82" fmla="*/ 1810544 h 3886200"/>
              <a:gd name="connsiteX83" fmla="*/ 4537472 w 4556125"/>
              <a:gd name="connsiteY83" fmla="*/ 1840310 h 3886200"/>
              <a:gd name="connsiteX84" fmla="*/ 4533503 w 4556125"/>
              <a:gd name="connsiteY84" fmla="*/ 1869678 h 3886200"/>
              <a:gd name="connsiteX85" fmla="*/ 4529534 w 4556125"/>
              <a:gd name="connsiteY85" fmla="*/ 1898650 h 3886200"/>
              <a:gd name="connsiteX86" fmla="*/ 4524375 w 4556125"/>
              <a:gd name="connsiteY86" fmla="*/ 1927622 h 3886200"/>
              <a:gd name="connsiteX87" fmla="*/ 4520010 w 4556125"/>
              <a:gd name="connsiteY87" fmla="*/ 1956594 h 3886200"/>
              <a:gd name="connsiteX88" fmla="*/ 4514453 w 4556125"/>
              <a:gd name="connsiteY88" fmla="*/ 1985566 h 3886200"/>
              <a:gd name="connsiteX89" fmla="*/ 4508897 w 4556125"/>
              <a:gd name="connsiteY89" fmla="*/ 2014141 h 3886200"/>
              <a:gd name="connsiteX90" fmla="*/ 4502944 w 4556125"/>
              <a:gd name="connsiteY90" fmla="*/ 2042716 h 3886200"/>
              <a:gd name="connsiteX91" fmla="*/ 4496197 w 4556125"/>
              <a:gd name="connsiteY91" fmla="*/ 2070894 h 3886200"/>
              <a:gd name="connsiteX92" fmla="*/ 4489847 w 4556125"/>
              <a:gd name="connsiteY92" fmla="*/ 2099072 h 3886200"/>
              <a:gd name="connsiteX93" fmla="*/ 4482703 w 4556125"/>
              <a:gd name="connsiteY93" fmla="*/ 2127250 h 3886200"/>
              <a:gd name="connsiteX94" fmla="*/ 4475162 w 4556125"/>
              <a:gd name="connsiteY94" fmla="*/ 2155428 h 3886200"/>
              <a:gd name="connsiteX95" fmla="*/ 4467622 w 4556125"/>
              <a:gd name="connsiteY95" fmla="*/ 2183210 h 3886200"/>
              <a:gd name="connsiteX96" fmla="*/ 4459684 w 4556125"/>
              <a:gd name="connsiteY96" fmla="*/ 2210991 h 3886200"/>
              <a:gd name="connsiteX97" fmla="*/ 4450953 w 4556125"/>
              <a:gd name="connsiteY97" fmla="*/ 2238772 h 3886200"/>
              <a:gd name="connsiteX98" fmla="*/ 4442222 w 4556125"/>
              <a:gd name="connsiteY98" fmla="*/ 2266553 h 3886200"/>
              <a:gd name="connsiteX99" fmla="*/ 4433490 w 4556125"/>
              <a:gd name="connsiteY99" fmla="*/ 2293541 h 3886200"/>
              <a:gd name="connsiteX100" fmla="*/ 4423569 w 4556125"/>
              <a:gd name="connsiteY100" fmla="*/ 2320925 h 3886200"/>
              <a:gd name="connsiteX101" fmla="*/ 4414044 w 4556125"/>
              <a:gd name="connsiteY101" fmla="*/ 2347913 h 3886200"/>
              <a:gd name="connsiteX102" fmla="*/ 4404122 w 4556125"/>
              <a:gd name="connsiteY102" fmla="*/ 2374503 h 3886200"/>
              <a:gd name="connsiteX103" fmla="*/ 4393406 w 4556125"/>
              <a:gd name="connsiteY103" fmla="*/ 2401491 h 3886200"/>
              <a:gd name="connsiteX104" fmla="*/ 4383088 w 4556125"/>
              <a:gd name="connsiteY104" fmla="*/ 2428081 h 3886200"/>
              <a:gd name="connsiteX105" fmla="*/ 4371975 w 4556125"/>
              <a:gd name="connsiteY105" fmla="*/ 2454275 h 3886200"/>
              <a:gd name="connsiteX106" fmla="*/ 4360862 w 4556125"/>
              <a:gd name="connsiteY106" fmla="*/ 2480469 h 3886200"/>
              <a:gd name="connsiteX107" fmla="*/ 4349353 w 4556125"/>
              <a:gd name="connsiteY107" fmla="*/ 2506663 h 3886200"/>
              <a:gd name="connsiteX108" fmla="*/ 4337050 w 4556125"/>
              <a:gd name="connsiteY108" fmla="*/ 2532063 h 3886200"/>
              <a:gd name="connsiteX109" fmla="*/ 4325144 w 4556125"/>
              <a:gd name="connsiteY109" fmla="*/ 2557860 h 3886200"/>
              <a:gd name="connsiteX110" fmla="*/ 4312444 w 4556125"/>
              <a:gd name="connsiteY110" fmla="*/ 2583656 h 3886200"/>
              <a:gd name="connsiteX111" fmla="*/ 4299744 w 4556125"/>
              <a:gd name="connsiteY111" fmla="*/ 2608660 h 3886200"/>
              <a:gd name="connsiteX112" fmla="*/ 4286647 w 4556125"/>
              <a:gd name="connsiteY112" fmla="*/ 2634060 h 3886200"/>
              <a:gd name="connsiteX113" fmla="*/ 4273153 w 4556125"/>
              <a:gd name="connsiteY113" fmla="*/ 2659063 h 3886200"/>
              <a:gd name="connsiteX114" fmla="*/ 4259660 w 4556125"/>
              <a:gd name="connsiteY114" fmla="*/ 2683669 h 3886200"/>
              <a:gd name="connsiteX115" fmla="*/ 4245769 w 4556125"/>
              <a:gd name="connsiteY115" fmla="*/ 2708275 h 3886200"/>
              <a:gd name="connsiteX116" fmla="*/ 4231481 w 4556125"/>
              <a:gd name="connsiteY116" fmla="*/ 2733278 h 3886200"/>
              <a:gd name="connsiteX117" fmla="*/ 4216797 w 4556125"/>
              <a:gd name="connsiteY117" fmla="*/ 2757488 h 3886200"/>
              <a:gd name="connsiteX118" fmla="*/ 4202112 w 4556125"/>
              <a:gd name="connsiteY118" fmla="*/ 2781300 h 3886200"/>
              <a:gd name="connsiteX119" fmla="*/ 4187031 w 4556125"/>
              <a:gd name="connsiteY119" fmla="*/ 2805113 h 3886200"/>
              <a:gd name="connsiteX120" fmla="*/ 4171553 w 4556125"/>
              <a:gd name="connsiteY120" fmla="*/ 2828925 h 3886200"/>
              <a:gd name="connsiteX121" fmla="*/ 4156075 w 4556125"/>
              <a:gd name="connsiteY121" fmla="*/ 2852341 h 3886200"/>
              <a:gd name="connsiteX122" fmla="*/ 4139803 w 4556125"/>
              <a:gd name="connsiteY122" fmla="*/ 2875756 h 3886200"/>
              <a:gd name="connsiteX123" fmla="*/ 4123928 w 4556125"/>
              <a:gd name="connsiteY123" fmla="*/ 2898775 h 3886200"/>
              <a:gd name="connsiteX124" fmla="*/ 4107260 w 4556125"/>
              <a:gd name="connsiteY124" fmla="*/ 2921794 h 3886200"/>
              <a:gd name="connsiteX125" fmla="*/ 4090590 w 4556125"/>
              <a:gd name="connsiteY125" fmla="*/ 2944416 h 3886200"/>
              <a:gd name="connsiteX126" fmla="*/ 4073525 w 4556125"/>
              <a:gd name="connsiteY126" fmla="*/ 2966641 h 3886200"/>
              <a:gd name="connsiteX127" fmla="*/ 4056460 w 4556125"/>
              <a:gd name="connsiteY127" fmla="*/ 2988866 h 3886200"/>
              <a:gd name="connsiteX128" fmla="*/ 4038600 w 4556125"/>
              <a:gd name="connsiteY128" fmla="*/ 3011091 h 3886200"/>
              <a:gd name="connsiteX129" fmla="*/ 4021138 w 4556125"/>
              <a:gd name="connsiteY129" fmla="*/ 3033316 h 3886200"/>
              <a:gd name="connsiteX130" fmla="*/ 4002881 w 4556125"/>
              <a:gd name="connsiteY130" fmla="*/ 3054350 h 3886200"/>
              <a:gd name="connsiteX131" fmla="*/ 3985022 w 4556125"/>
              <a:gd name="connsiteY131" fmla="*/ 3076178 h 3886200"/>
              <a:gd name="connsiteX132" fmla="*/ 3966369 w 4556125"/>
              <a:gd name="connsiteY132" fmla="*/ 3097213 h 3886200"/>
              <a:gd name="connsiteX133" fmla="*/ 3947716 w 4556125"/>
              <a:gd name="connsiteY133" fmla="*/ 3117850 h 3886200"/>
              <a:gd name="connsiteX134" fmla="*/ 3928666 w 4556125"/>
              <a:gd name="connsiteY134" fmla="*/ 3138885 h 3886200"/>
              <a:gd name="connsiteX135" fmla="*/ 3908822 w 4556125"/>
              <a:gd name="connsiteY135" fmla="*/ 3159125 h 3886200"/>
              <a:gd name="connsiteX136" fmla="*/ 3889772 w 4556125"/>
              <a:gd name="connsiteY136" fmla="*/ 3179366 h 3886200"/>
              <a:gd name="connsiteX137" fmla="*/ 3869531 w 4556125"/>
              <a:gd name="connsiteY137" fmla="*/ 3199210 h 3886200"/>
              <a:gd name="connsiteX138" fmla="*/ 3850084 w 4556125"/>
              <a:gd name="connsiteY138" fmla="*/ 3219053 h 3886200"/>
              <a:gd name="connsiteX139" fmla="*/ 3829447 w 4556125"/>
              <a:gd name="connsiteY139" fmla="*/ 3238500 h 3886200"/>
              <a:gd name="connsiteX140" fmla="*/ 3809206 w 4556125"/>
              <a:gd name="connsiteY140" fmla="*/ 3258344 h 3886200"/>
              <a:gd name="connsiteX141" fmla="*/ 3788569 w 4556125"/>
              <a:gd name="connsiteY141" fmla="*/ 3276997 h 3886200"/>
              <a:gd name="connsiteX142" fmla="*/ 3767534 w 4556125"/>
              <a:gd name="connsiteY142" fmla="*/ 3296047 h 3886200"/>
              <a:gd name="connsiteX143" fmla="*/ 3746103 w 4556125"/>
              <a:gd name="connsiteY143" fmla="*/ 3314700 h 3886200"/>
              <a:gd name="connsiteX144" fmla="*/ 3725069 w 4556125"/>
              <a:gd name="connsiteY144" fmla="*/ 3332956 h 3886200"/>
              <a:gd name="connsiteX145" fmla="*/ 3703638 w 4556125"/>
              <a:gd name="connsiteY145" fmla="*/ 3350816 h 3886200"/>
              <a:gd name="connsiteX146" fmla="*/ 3681412 w 4556125"/>
              <a:gd name="connsiteY146" fmla="*/ 3368675 h 3886200"/>
              <a:gd name="connsiteX147" fmla="*/ 3659584 w 4556125"/>
              <a:gd name="connsiteY147" fmla="*/ 3386138 h 3886200"/>
              <a:gd name="connsiteX148" fmla="*/ 3636962 w 4556125"/>
              <a:gd name="connsiteY148" fmla="*/ 3403203 h 3886200"/>
              <a:gd name="connsiteX149" fmla="*/ 3614738 w 4556125"/>
              <a:gd name="connsiteY149" fmla="*/ 3420269 h 3886200"/>
              <a:gd name="connsiteX150" fmla="*/ 3592116 w 4556125"/>
              <a:gd name="connsiteY150" fmla="*/ 3436938 h 3886200"/>
              <a:gd name="connsiteX151" fmla="*/ 3569097 w 4556125"/>
              <a:gd name="connsiteY151" fmla="*/ 3453606 h 3886200"/>
              <a:gd name="connsiteX152" fmla="*/ 3546078 w 4556125"/>
              <a:gd name="connsiteY152" fmla="*/ 3469878 h 3886200"/>
              <a:gd name="connsiteX153" fmla="*/ 3522662 w 4556125"/>
              <a:gd name="connsiteY153" fmla="*/ 3485753 h 3886200"/>
              <a:gd name="connsiteX154" fmla="*/ 3499644 w 4556125"/>
              <a:gd name="connsiteY154" fmla="*/ 3501628 h 3886200"/>
              <a:gd name="connsiteX155" fmla="*/ 3475831 w 4556125"/>
              <a:gd name="connsiteY155" fmla="*/ 3517106 h 3886200"/>
              <a:gd name="connsiteX156" fmla="*/ 3452019 w 4556125"/>
              <a:gd name="connsiteY156" fmla="*/ 3532188 h 3886200"/>
              <a:gd name="connsiteX157" fmla="*/ 3427810 w 4556125"/>
              <a:gd name="connsiteY157" fmla="*/ 3546872 h 3886200"/>
              <a:gd name="connsiteX158" fmla="*/ 3403600 w 4556125"/>
              <a:gd name="connsiteY158" fmla="*/ 3561556 h 3886200"/>
              <a:gd name="connsiteX159" fmla="*/ 3379390 w 4556125"/>
              <a:gd name="connsiteY159" fmla="*/ 3575447 h 3886200"/>
              <a:gd name="connsiteX160" fmla="*/ 3354784 w 4556125"/>
              <a:gd name="connsiteY160" fmla="*/ 3589735 h 3886200"/>
              <a:gd name="connsiteX161" fmla="*/ 3329384 w 4556125"/>
              <a:gd name="connsiteY161" fmla="*/ 3603228 h 3886200"/>
              <a:gd name="connsiteX162" fmla="*/ 3304778 w 4556125"/>
              <a:gd name="connsiteY162" fmla="*/ 3616722 h 3886200"/>
              <a:gd name="connsiteX163" fmla="*/ 3279775 w 4556125"/>
              <a:gd name="connsiteY163" fmla="*/ 3629819 h 3886200"/>
              <a:gd name="connsiteX164" fmla="*/ 3253978 w 4556125"/>
              <a:gd name="connsiteY164" fmla="*/ 3642519 h 3886200"/>
              <a:gd name="connsiteX165" fmla="*/ 3228975 w 4556125"/>
              <a:gd name="connsiteY165" fmla="*/ 3655219 h 3886200"/>
              <a:gd name="connsiteX166" fmla="*/ 3202781 w 4556125"/>
              <a:gd name="connsiteY166" fmla="*/ 3667125 h 3886200"/>
              <a:gd name="connsiteX167" fmla="*/ 3176984 w 4556125"/>
              <a:gd name="connsiteY167" fmla="*/ 3679428 h 3886200"/>
              <a:gd name="connsiteX168" fmla="*/ 3150790 w 4556125"/>
              <a:gd name="connsiteY168" fmla="*/ 3690938 h 3886200"/>
              <a:gd name="connsiteX169" fmla="*/ 3124597 w 4556125"/>
              <a:gd name="connsiteY169" fmla="*/ 3702050 h 3886200"/>
              <a:gd name="connsiteX170" fmla="*/ 3098403 w 4556125"/>
              <a:gd name="connsiteY170" fmla="*/ 3713163 h 3886200"/>
              <a:gd name="connsiteX171" fmla="*/ 3071812 w 4556125"/>
              <a:gd name="connsiteY171" fmla="*/ 3723481 h 3886200"/>
              <a:gd name="connsiteX172" fmla="*/ 3045222 w 4556125"/>
              <a:gd name="connsiteY172" fmla="*/ 3734197 h 3886200"/>
              <a:gd name="connsiteX173" fmla="*/ 3018631 w 4556125"/>
              <a:gd name="connsiteY173" fmla="*/ 3744119 h 3886200"/>
              <a:gd name="connsiteX174" fmla="*/ 2991247 w 4556125"/>
              <a:gd name="connsiteY174" fmla="*/ 3753644 h 3886200"/>
              <a:gd name="connsiteX175" fmla="*/ 2964260 w 4556125"/>
              <a:gd name="connsiteY175" fmla="*/ 3763169 h 3886200"/>
              <a:gd name="connsiteX176" fmla="*/ 2936875 w 4556125"/>
              <a:gd name="connsiteY176" fmla="*/ 3771900 h 3886200"/>
              <a:gd name="connsiteX177" fmla="*/ 2909094 w 4556125"/>
              <a:gd name="connsiteY177" fmla="*/ 3781028 h 3886200"/>
              <a:gd name="connsiteX178" fmla="*/ 2882106 w 4556125"/>
              <a:gd name="connsiteY178" fmla="*/ 3789363 h 3886200"/>
              <a:gd name="connsiteX179" fmla="*/ 2853928 w 4556125"/>
              <a:gd name="connsiteY179" fmla="*/ 3797697 h 3886200"/>
              <a:gd name="connsiteX180" fmla="*/ 2826147 w 4556125"/>
              <a:gd name="connsiteY180" fmla="*/ 3805238 h 3886200"/>
              <a:gd name="connsiteX181" fmla="*/ 2797969 w 4556125"/>
              <a:gd name="connsiteY181" fmla="*/ 3812778 h 3886200"/>
              <a:gd name="connsiteX182" fmla="*/ 2770188 w 4556125"/>
              <a:gd name="connsiteY182" fmla="*/ 3819922 h 3886200"/>
              <a:gd name="connsiteX183" fmla="*/ 2741612 w 4556125"/>
              <a:gd name="connsiteY183" fmla="*/ 3826272 h 3886200"/>
              <a:gd name="connsiteX184" fmla="*/ 2713434 w 4556125"/>
              <a:gd name="connsiteY184" fmla="*/ 3833019 h 3886200"/>
              <a:gd name="connsiteX185" fmla="*/ 2684860 w 4556125"/>
              <a:gd name="connsiteY185" fmla="*/ 3838972 h 3886200"/>
              <a:gd name="connsiteX186" fmla="*/ 2655888 w 4556125"/>
              <a:gd name="connsiteY186" fmla="*/ 3844528 h 3886200"/>
              <a:gd name="connsiteX187" fmla="*/ 2627312 w 4556125"/>
              <a:gd name="connsiteY187" fmla="*/ 3849291 h 3886200"/>
              <a:gd name="connsiteX188" fmla="*/ 2598738 w 4556125"/>
              <a:gd name="connsiteY188" fmla="*/ 3854450 h 3886200"/>
              <a:gd name="connsiteX189" fmla="*/ 2569369 w 4556125"/>
              <a:gd name="connsiteY189" fmla="*/ 3859610 h 3886200"/>
              <a:gd name="connsiteX190" fmla="*/ 2540397 w 4556125"/>
              <a:gd name="connsiteY190" fmla="*/ 3863578 h 3886200"/>
              <a:gd name="connsiteX191" fmla="*/ 2511028 w 4556125"/>
              <a:gd name="connsiteY191" fmla="*/ 3867547 h 3886200"/>
              <a:gd name="connsiteX192" fmla="*/ 2481262 w 4556125"/>
              <a:gd name="connsiteY192" fmla="*/ 3871119 h 3886200"/>
              <a:gd name="connsiteX193" fmla="*/ 2452290 w 4556125"/>
              <a:gd name="connsiteY193" fmla="*/ 3874294 h 3886200"/>
              <a:gd name="connsiteX194" fmla="*/ 2422525 w 4556125"/>
              <a:gd name="connsiteY194" fmla="*/ 3877072 h 3886200"/>
              <a:gd name="connsiteX195" fmla="*/ 2392760 w 4556125"/>
              <a:gd name="connsiteY195" fmla="*/ 3879850 h 3886200"/>
              <a:gd name="connsiteX196" fmla="*/ 2362994 w 4556125"/>
              <a:gd name="connsiteY196" fmla="*/ 3881835 h 3886200"/>
              <a:gd name="connsiteX197" fmla="*/ 2332831 w 4556125"/>
              <a:gd name="connsiteY197" fmla="*/ 3883025 h 3886200"/>
              <a:gd name="connsiteX198" fmla="*/ 2303066 w 4556125"/>
              <a:gd name="connsiteY198" fmla="*/ 3884613 h 3886200"/>
              <a:gd name="connsiteX199" fmla="*/ 2272903 w 4556125"/>
              <a:gd name="connsiteY199" fmla="*/ 3885803 h 3886200"/>
              <a:gd name="connsiteX200" fmla="*/ 2242740 w 4556125"/>
              <a:gd name="connsiteY200" fmla="*/ 3886200 h 3886200"/>
              <a:gd name="connsiteX201" fmla="*/ 2212578 w 4556125"/>
              <a:gd name="connsiteY201" fmla="*/ 3886200 h 3886200"/>
              <a:gd name="connsiteX202" fmla="*/ 2169716 w 4556125"/>
              <a:gd name="connsiteY202" fmla="*/ 3885803 h 3886200"/>
              <a:gd name="connsiteX203" fmla="*/ 2127647 w 4556125"/>
              <a:gd name="connsiteY203" fmla="*/ 3884613 h 3886200"/>
              <a:gd name="connsiteX204" fmla="*/ 2085975 w 4556125"/>
              <a:gd name="connsiteY204" fmla="*/ 3883025 h 3886200"/>
              <a:gd name="connsiteX205" fmla="*/ 2043906 w 4556125"/>
              <a:gd name="connsiteY205" fmla="*/ 3880247 h 3886200"/>
              <a:gd name="connsiteX206" fmla="*/ 2002234 w 4556125"/>
              <a:gd name="connsiteY206" fmla="*/ 3877072 h 3886200"/>
              <a:gd name="connsiteX207" fmla="*/ 1960960 w 4556125"/>
              <a:gd name="connsiteY207" fmla="*/ 3873103 h 3886200"/>
              <a:gd name="connsiteX208" fmla="*/ 1919685 w 4556125"/>
              <a:gd name="connsiteY208" fmla="*/ 3867944 h 3886200"/>
              <a:gd name="connsiteX209" fmla="*/ 1878410 w 4556125"/>
              <a:gd name="connsiteY209" fmla="*/ 3862388 h 3886200"/>
              <a:gd name="connsiteX210" fmla="*/ 1837531 w 4556125"/>
              <a:gd name="connsiteY210" fmla="*/ 3856435 h 3886200"/>
              <a:gd name="connsiteX211" fmla="*/ 1797050 w 4556125"/>
              <a:gd name="connsiteY211" fmla="*/ 3849291 h 3886200"/>
              <a:gd name="connsiteX212" fmla="*/ 1756569 w 4556125"/>
              <a:gd name="connsiteY212" fmla="*/ 3841750 h 3886200"/>
              <a:gd name="connsiteX213" fmla="*/ 1716881 w 4556125"/>
              <a:gd name="connsiteY213" fmla="*/ 3833813 h 3886200"/>
              <a:gd name="connsiteX214" fmla="*/ 1677194 w 4556125"/>
              <a:gd name="connsiteY214" fmla="*/ 3824685 h 3886200"/>
              <a:gd name="connsiteX215" fmla="*/ 1637506 w 4556125"/>
              <a:gd name="connsiteY215" fmla="*/ 3815160 h 3886200"/>
              <a:gd name="connsiteX216" fmla="*/ 1598216 w 4556125"/>
              <a:gd name="connsiteY216" fmla="*/ 3804444 h 3886200"/>
              <a:gd name="connsiteX217" fmla="*/ 1558925 w 4556125"/>
              <a:gd name="connsiteY217" fmla="*/ 3794125 h 3886200"/>
              <a:gd name="connsiteX218" fmla="*/ 1520031 w 4556125"/>
              <a:gd name="connsiteY218" fmla="*/ 3782616 h 3886200"/>
              <a:gd name="connsiteX219" fmla="*/ 1481931 w 4556125"/>
              <a:gd name="connsiteY219" fmla="*/ 3769916 h 3886200"/>
              <a:gd name="connsiteX220" fmla="*/ 1443435 w 4556125"/>
              <a:gd name="connsiteY220" fmla="*/ 3757216 h 3886200"/>
              <a:gd name="connsiteX221" fmla="*/ 1405731 w 4556125"/>
              <a:gd name="connsiteY221" fmla="*/ 3743722 h 3886200"/>
              <a:gd name="connsiteX222" fmla="*/ 1368028 w 4556125"/>
              <a:gd name="connsiteY222" fmla="*/ 3729435 h 3886200"/>
              <a:gd name="connsiteX223" fmla="*/ 1330722 w 4556125"/>
              <a:gd name="connsiteY223" fmla="*/ 3714353 h 3886200"/>
              <a:gd name="connsiteX224" fmla="*/ 1294210 w 4556125"/>
              <a:gd name="connsiteY224" fmla="*/ 3699272 h 3886200"/>
              <a:gd name="connsiteX225" fmla="*/ 1257300 w 4556125"/>
              <a:gd name="connsiteY225" fmla="*/ 3683397 h 3886200"/>
              <a:gd name="connsiteX226" fmla="*/ 1221185 w 4556125"/>
              <a:gd name="connsiteY226" fmla="*/ 3666728 h 3886200"/>
              <a:gd name="connsiteX227" fmla="*/ 1184672 w 4556125"/>
              <a:gd name="connsiteY227" fmla="*/ 3649663 h 3886200"/>
              <a:gd name="connsiteX228" fmla="*/ 1148953 w 4556125"/>
              <a:gd name="connsiteY228" fmla="*/ 3631803 h 3886200"/>
              <a:gd name="connsiteX229" fmla="*/ 1114028 w 4556125"/>
              <a:gd name="connsiteY229" fmla="*/ 3613150 h 3886200"/>
              <a:gd name="connsiteX230" fmla="*/ 1079103 w 4556125"/>
              <a:gd name="connsiteY230" fmla="*/ 3594100 h 3886200"/>
              <a:gd name="connsiteX231" fmla="*/ 1044575 w 4556125"/>
              <a:gd name="connsiteY231" fmla="*/ 3575050 h 3886200"/>
              <a:gd name="connsiteX232" fmla="*/ 1010047 w 4556125"/>
              <a:gd name="connsiteY232" fmla="*/ 3554810 h 3886200"/>
              <a:gd name="connsiteX233" fmla="*/ 976313 w 4556125"/>
              <a:gd name="connsiteY233" fmla="*/ 3534172 h 3886200"/>
              <a:gd name="connsiteX234" fmla="*/ 943372 w 4556125"/>
              <a:gd name="connsiteY234" fmla="*/ 3513138 h 3886200"/>
              <a:gd name="connsiteX235" fmla="*/ 910035 w 4556125"/>
              <a:gd name="connsiteY235" fmla="*/ 3490913 h 3886200"/>
              <a:gd name="connsiteX236" fmla="*/ 877491 w 4556125"/>
              <a:gd name="connsiteY236" fmla="*/ 3468688 h 3886200"/>
              <a:gd name="connsiteX237" fmla="*/ 844947 w 4556125"/>
              <a:gd name="connsiteY237" fmla="*/ 3446066 h 3886200"/>
              <a:gd name="connsiteX238" fmla="*/ 813197 w 4556125"/>
              <a:gd name="connsiteY238" fmla="*/ 3422650 h 3886200"/>
              <a:gd name="connsiteX239" fmla="*/ 781844 w 4556125"/>
              <a:gd name="connsiteY239" fmla="*/ 3398838 h 3886200"/>
              <a:gd name="connsiteX240" fmla="*/ 750888 w 4556125"/>
              <a:gd name="connsiteY240" fmla="*/ 3374231 h 3886200"/>
              <a:gd name="connsiteX241" fmla="*/ 720328 w 4556125"/>
              <a:gd name="connsiteY241" fmla="*/ 3349625 h 3886200"/>
              <a:gd name="connsiteX242" fmla="*/ 690166 w 4556125"/>
              <a:gd name="connsiteY242" fmla="*/ 3324225 h 3886200"/>
              <a:gd name="connsiteX243" fmla="*/ 660400 w 4556125"/>
              <a:gd name="connsiteY243" fmla="*/ 3298031 h 3886200"/>
              <a:gd name="connsiteX244" fmla="*/ 630635 w 4556125"/>
              <a:gd name="connsiteY244" fmla="*/ 3271838 h 3886200"/>
              <a:gd name="connsiteX245" fmla="*/ 602060 w 4556125"/>
              <a:gd name="connsiteY245" fmla="*/ 3244850 h 3886200"/>
              <a:gd name="connsiteX246" fmla="*/ 573881 w 4556125"/>
              <a:gd name="connsiteY246" fmla="*/ 3217466 h 3886200"/>
              <a:gd name="connsiteX247" fmla="*/ 545703 w 4556125"/>
              <a:gd name="connsiteY247" fmla="*/ 3189685 h 3886200"/>
              <a:gd name="connsiteX248" fmla="*/ 518319 w 4556125"/>
              <a:gd name="connsiteY248" fmla="*/ 3161506 h 3886200"/>
              <a:gd name="connsiteX249" fmla="*/ 491331 w 4556125"/>
              <a:gd name="connsiteY249" fmla="*/ 3132931 h 3886200"/>
              <a:gd name="connsiteX250" fmla="*/ 464741 w 4556125"/>
              <a:gd name="connsiteY250" fmla="*/ 3103563 h 3886200"/>
              <a:gd name="connsiteX251" fmla="*/ 438944 w 4556125"/>
              <a:gd name="connsiteY251" fmla="*/ 3074194 h 3886200"/>
              <a:gd name="connsiteX252" fmla="*/ 413147 w 4556125"/>
              <a:gd name="connsiteY252" fmla="*/ 3043635 h 3886200"/>
              <a:gd name="connsiteX253" fmla="*/ 388144 w 4556125"/>
              <a:gd name="connsiteY253" fmla="*/ 3013472 h 3886200"/>
              <a:gd name="connsiteX254" fmla="*/ 363538 w 4556125"/>
              <a:gd name="connsiteY254" fmla="*/ 2982516 h 3886200"/>
              <a:gd name="connsiteX255" fmla="*/ 339725 w 4556125"/>
              <a:gd name="connsiteY255" fmla="*/ 2951163 h 3886200"/>
              <a:gd name="connsiteX256" fmla="*/ 315913 w 4556125"/>
              <a:gd name="connsiteY256" fmla="*/ 2919413 h 3886200"/>
              <a:gd name="connsiteX257" fmla="*/ 292894 w 4556125"/>
              <a:gd name="connsiteY257" fmla="*/ 2887266 h 3886200"/>
              <a:gd name="connsiteX258" fmla="*/ 270669 w 4556125"/>
              <a:gd name="connsiteY258" fmla="*/ 2854325 h 3886200"/>
              <a:gd name="connsiteX259" fmla="*/ 248841 w 4556125"/>
              <a:gd name="connsiteY259" fmla="*/ 2821781 h 3886200"/>
              <a:gd name="connsiteX260" fmla="*/ 227410 w 4556125"/>
              <a:gd name="connsiteY260" fmla="*/ 2788444 h 3886200"/>
              <a:gd name="connsiteX261" fmla="*/ 206375 w 4556125"/>
              <a:gd name="connsiteY261" fmla="*/ 2754710 h 3886200"/>
              <a:gd name="connsiteX262" fmla="*/ 186135 w 4556125"/>
              <a:gd name="connsiteY262" fmla="*/ 2720578 h 3886200"/>
              <a:gd name="connsiteX263" fmla="*/ 166688 w 4556125"/>
              <a:gd name="connsiteY263" fmla="*/ 2685653 h 3886200"/>
              <a:gd name="connsiteX264" fmla="*/ 147638 w 4556125"/>
              <a:gd name="connsiteY264" fmla="*/ 2651125 h 3886200"/>
              <a:gd name="connsiteX265" fmla="*/ 128985 w 4556125"/>
              <a:gd name="connsiteY265" fmla="*/ 2615803 h 3886200"/>
              <a:gd name="connsiteX266" fmla="*/ 114697 w 4556125"/>
              <a:gd name="connsiteY266" fmla="*/ 2589213 h 3886200"/>
              <a:gd name="connsiteX267" fmla="*/ 101600 w 4556125"/>
              <a:gd name="connsiteY267" fmla="*/ 2561828 h 3886200"/>
              <a:gd name="connsiteX268" fmla="*/ 89694 w 4556125"/>
              <a:gd name="connsiteY268" fmla="*/ 2534841 h 3886200"/>
              <a:gd name="connsiteX269" fmla="*/ 78185 w 4556125"/>
              <a:gd name="connsiteY269" fmla="*/ 2507060 h 3886200"/>
              <a:gd name="connsiteX270" fmla="*/ 67072 w 4556125"/>
              <a:gd name="connsiteY270" fmla="*/ 2479278 h 3886200"/>
              <a:gd name="connsiteX271" fmla="*/ 57547 w 4556125"/>
              <a:gd name="connsiteY271" fmla="*/ 2451100 h 3886200"/>
              <a:gd name="connsiteX272" fmla="*/ 47625 w 4556125"/>
              <a:gd name="connsiteY272" fmla="*/ 2422922 h 3886200"/>
              <a:gd name="connsiteX273" fmla="*/ 39688 w 4556125"/>
              <a:gd name="connsiteY273" fmla="*/ 2394347 h 3886200"/>
              <a:gd name="connsiteX274" fmla="*/ 32147 w 4556125"/>
              <a:gd name="connsiteY274" fmla="*/ 2365375 h 3886200"/>
              <a:gd name="connsiteX275" fmla="*/ 25797 w 4556125"/>
              <a:gd name="connsiteY275" fmla="*/ 2336800 h 3886200"/>
              <a:gd name="connsiteX276" fmla="*/ 19447 w 4556125"/>
              <a:gd name="connsiteY276" fmla="*/ 2308225 h 3886200"/>
              <a:gd name="connsiteX277" fmla="*/ 14685 w 4556125"/>
              <a:gd name="connsiteY277" fmla="*/ 2278856 h 3886200"/>
              <a:gd name="connsiteX278" fmla="*/ 9922 w 4556125"/>
              <a:gd name="connsiteY278" fmla="*/ 2250281 h 3886200"/>
              <a:gd name="connsiteX279" fmla="*/ 6350 w 4556125"/>
              <a:gd name="connsiteY279" fmla="*/ 2220913 h 3886200"/>
              <a:gd name="connsiteX280" fmla="*/ 3572 w 4556125"/>
              <a:gd name="connsiteY280" fmla="*/ 2191941 h 3886200"/>
              <a:gd name="connsiteX281" fmla="*/ 1588 w 4556125"/>
              <a:gd name="connsiteY281" fmla="*/ 2162175 h 3886200"/>
              <a:gd name="connsiteX282" fmla="*/ 397 w 4556125"/>
              <a:gd name="connsiteY282" fmla="*/ 2132806 h 3886200"/>
              <a:gd name="connsiteX283" fmla="*/ 0 w 4556125"/>
              <a:gd name="connsiteY283" fmla="*/ 2103835 h 3886200"/>
              <a:gd name="connsiteX284" fmla="*/ 0 w 4556125"/>
              <a:gd name="connsiteY284" fmla="*/ 2074466 h 3886200"/>
              <a:gd name="connsiteX285" fmla="*/ 1588 w 4556125"/>
              <a:gd name="connsiteY285" fmla="*/ 2044700 h 3886200"/>
              <a:gd name="connsiteX286" fmla="*/ 3175 w 4556125"/>
              <a:gd name="connsiteY286" fmla="*/ 2015728 h 3886200"/>
              <a:gd name="connsiteX287" fmla="*/ 5556 w 4556125"/>
              <a:gd name="connsiteY287" fmla="*/ 1986360 h 3886200"/>
              <a:gd name="connsiteX288" fmla="*/ 9128 w 4556125"/>
              <a:gd name="connsiteY288" fmla="*/ 1957388 h 3886200"/>
              <a:gd name="connsiteX289" fmla="*/ 13097 w 4556125"/>
              <a:gd name="connsiteY289" fmla="*/ 1928019 h 3886200"/>
              <a:gd name="connsiteX290" fmla="*/ 18256 w 4556125"/>
              <a:gd name="connsiteY290" fmla="*/ 1898650 h 3886200"/>
              <a:gd name="connsiteX291" fmla="*/ 23813 w 4556125"/>
              <a:gd name="connsiteY291" fmla="*/ 1870075 h 3886200"/>
              <a:gd name="connsiteX292" fmla="*/ 29766 w 4556125"/>
              <a:gd name="connsiteY292" fmla="*/ 1841500 h 3886200"/>
              <a:gd name="connsiteX293" fmla="*/ 36910 w 4556125"/>
              <a:gd name="connsiteY293" fmla="*/ 1812528 h 3886200"/>
              <a:gd name="connsiteX294" fmla="*/ 44847 w 4556125"/>
              <a:gd name="connsiteY294" fmla="*/ 1783953 h 3886200"/>
              <a:gd name="connsiteX295" fmla="*/ 53181 w 4556125"/>
              <a:gd name="connsiteY295" fmla="*/ 1755775 h 3886200"/>
              <a:gd name="connsiteX296" fmla="*/ 62310 w 4556125"/>
              <a:gd name="connsiteY296" fmla="*/ 1727597 h 3886200"/>
              <a:gd name="connsiteX297" fmla="*/ 72628 w 4556125"/>
              <a:gd name="connsiteY297" fmla="*/ 1699419 h 3886200"/>
              <a:gd name="connsiteX298" fmla="*/ 83741 w 4556125"/>
              <a:gd name="connsiteY298" fmla="*/ 1671638 h 3886200"/>
              <a:gd name="connsiteX299" fmla="*/ 94456 w 4556125"/>
              <a:gd name="connsiteY299" fmla="*/ 1644650 h 3886200"/>
              <a:gd name="connsiteX300" fmla="*/ 106760 w 4556125"/>
              <a:gd name="connsiteY300" fmla="*/ 1617266 h 3886200"/>
              <a:gd name="connsiteX301" fmla="*/ 119856 w 4556125"/>
              <a:gd name="connsiteY301" fmla="*/ 1590278 h 3886200"/>
              <a:gd name="connsiteX302" fmla="*/ 133350 w 4556125"/>
              <a:gd name="connsiteY302" fmla="*/ 1563291 h 3886200"/>
              <a:gd name="connsiteX303" fmla="*/ 148035 w 4556125"/>
              <a:gd name="connsiteY303" fmla="*/ 1537097 h 3886200"/>
              <a:gd name="connsiteX304" fmla="*/ 162719 w 4556125"/>
              <a:gd name="connsiteY304" fmla="*/ 1510903 h 3886200"/>
              <a:gd name="connsiteX305" fmla="*/ 178594 w 4556125"/>
              <a:gd name="connsiteY305" fmla="*/ 1485503 h 3886200"/>
              <a:gd name="connsiteX306" fmla="*/ 194866 w 4556125"/>
              <a:gd name="connsiteY306" fmla="*/ 1460103 h 3886200"/>
              <a:gd name="connsiteX307" fmla="*/ 211931 w 4556125"/>
              <a:gd name="connsiteY307" fmla="*/ 1435100 h 3886200"/>
              <a:gd name="connsiteX308" fmla="*/ 230188 w 4556125"/>
              <a:gd name="connsiteY308" fmla="*/ 1410494 h 3886200"/>
              <a:gd name="connsiteX309" fmla="*/ 248047 w 4556125"/>
              <a:gd name="connsiteY309" fmla="*/ 1386285 h 3886200"/>
              <a:gd name="connsiteX310" fmla="*/ 267891 w 4556125"/>
              <a:gd name="connsiteY310" fmla="*/ 1362472 h 3886200"/>
              <a:gd name="connsiteX311" fmla="*/ 287338 w 4556125"/>
              <a:gd name="connsiteY311" fmla="*/ 1339056 h 3886200"/>
              <a:gd name="connsiteX312" fmla="*/ 307975 w 4556125"/>
              <a:gd name="connsiteY312" fmla="*/ 1316038 h 3886200"/>
              <a:gd name="connsiteX313" fmla="*/ 329010 w 4556125"/>
              <a:gd name="connsiteY313" fmla="*/ 1293416 h 3886200"/>
              <a:gd name="connsiteX314" fmla="*/ 351235 w 4556125"/>
              <a:gd name="connsiteY314" fmla="*/ 1271588 h 3886200"/>
              <a:gd name="connsiteX315" fmla="*/ 373856 w 4556125"/>
              <a:gd name="connsiteY315" fmla="*/ 1249760 h 3886200"/>
              <a:gd name="connsiteX316" fmla="*/ 397272 w 4556125"/>
              <a:gd name="connsiteY316" fmla="*/ 1229122 h 3886200"/>
              <a:gd name="connsiteX317" fmla="*/ 421481 w 4556125"/>
              <a:gd name="connsiteY317" fmla="*/ 1208485 h 3886200"/>
              <a:gd name="connsiteX318" fmla="*/ 445294 w 4556125"/>
              <a:gd name="connsiteY318" fmla="*/ 1188641 h 3886200"/>
              <a:gd name="connsiteX319" fmla="*/ 471091 w 4556125"/>
              <a:gd name="connsiteY319" fmla="*/ 1169194 h 3886200"/>
              <a:gd name="connsiteX320" fmla="*/ 496888 w 4556125"/>
              <a:gd name="connsiteY320" fmla="*/ 1150541 h 3886200"/>
              <a:gd name="connsiteX321" fmla="*/ 523478 w 4556125"/>
              <a:gd name="connsiteY321" fmla="*/ 1132285 h 3886200"/>
              <a:gd name="connsiteX322" fmla="*/ 550466 w 4556125"/>
              <a:gd name="connsiteY322" fmla="*/ 1114822 h 3886200"/>
              <a:gd name="connsiteX323" fmla="*/ 578644 w 4556125"/>
              <a:gd name="connsiteY323" fmla="*/ 1097756 h 3886200"/>
              <a:gd name="connsiteX324" fmla="*/ 606822 w 4556125"/>
              <a:gd name="connsiteY324" fmla="*/ 1081088 h 3886200"/>
              <a:gd name="connsiteX325" fmla="*/ 636191 w 4556125"/>
              <a:gd name="connsiteY325" fmla="*/ 1065610 h 3886200"/>
              <a:gd name="connsiteX326" fmla="*/ 666353 w 4556125"/>
              <a:gd name="connsiteY326" fmla="*/ 1050528 h 3886200"/>
              <a:gd name="connsiteX327" fmla="*/ 696516 w 4556125"/>
              <a:gd name="connsiteY327" fmla="*/ 1036241 h 3886200"/>
              <a:gd name="connsiteX328" fmla="*/ 727869 w 4556125"/>
              <a:gd name="connsiteY328" fmla="*/ 1022747 h 3886200"/>
              <a:gd name="connsiteX329" fmla="*/ 759619 w 4556125"/>
              <a:gd name="connsiteY329" fmla="*/ 1009650 h 3886200"/>
              <a:gd name="connsiteX330" fmla="*/ 3618310 w 4556125"/>
              <a:gd name="connsiteY330" fmla="*/ 26591 h 3886200"/>
              <a:gd name="connsiteX331" fmla="*/ 3633390 w 4556125"/>
              <a:gd name="connsiteY331" fmla="*/ 22225 h 3886200"/>
              <a:gd name="connsiteX332" fmla="*/ 3648472 w 4556125"/>
              <a:gd name="connsiteY332" fmla="*/ 17463 h 3886200"/>
              <a:gd name="connsiteX333" fmla="*/ 3663553 w 4556125"/>
              <a:gd name="connsiteY333" fmla="*/ 13494 h 3886200"/>
              <a:gd name="connsiteX334" fmla="*/ 3678634 w 4556125"/>
              <a:gd name="connsiteY334" fmla="*/ 10716 h 3886200"/>
              <a:gd name="connsiteX335" fmla="*/ 3693319 w 4556125"/>
              <a:gd name="connsiteY335" fmla="*/ 7541 h 3886200"/>
              <a:gd name="connsiteX336" fmla="*/ 3708003 w 4556125"/>
              <a:gd name="connsiteY336" fmla="*/ 5159 h 3886200"/>
              <a:gd name="connsiteX337" fmla="*/ 3722290 w 4556125"/>
              <a:gd name="connsiteY337" fmla="*/ 3175 h 3886200"/>
              <a:gd name="connsiteX338" fmla="*/ 3736578 w 4556125"/>
              <a:gd name="connsiteY338" fmla="*/ 1588 h 3886200"/>
              <a:gd name="connsiteX339" fmla="*/ 3750866 w 4556125"/>
              <a:gd name="connsiteY339" fmla="*/ 397 h 38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Lst>
            <a:rect l="l" t="t" r="r" b="b"/>
            <a:pathLst>
              <a:path w="4556125" h="3886200">
                <a:moveTo>
                  <a:pt x="3764756" y="0"/>
                </a:moveTo>
                <a:lnTo>
                  <a:pt x="3778647" y="0"/>
                </a:lnTo>
                <a:lnTo>
                  <a:pt x="3792538" y="397"/>
                </a:lnTo>
                <a:lnTo>
                  <a:pt x="3806031" y="1191"/>
                </a:lnTo>
                <a:lnTo>
                  <a:pt x="3819922" y="2381"/>
                </a:lnTo>
                <a:lnTo>
                  <a:pt x="3833019" y="3969"/>
                </a:lnTo>
                <a:lnTo>
                  <a:pt x="3846512" y="5953"/>
                </a:lnTo>
                <a:lnTo>
                  <a:pt x="3859610" y="8731"/>
                </a:lnTo>
                <a:lnTo>
                  <a:pt x="3871912" y="11510"/>
                </a:lnTo>
                <a:lnTo>
                  <a:pt x="3885010" y="14685"/>
                </a:lnTo>
                <a:lnTo>
                  <a:pt x="3897710" y="18256"/>
                </a:lnTo>
                <a:lnTo>
                  <a:pt x="3910410" y="22622"/>
                </a:lnTo>
                <a:lnTo>
                  <a:pt x="3923110" y="26591"/>
                </a:lnTo>
                <a:lnTo>
                  <a:pt x="3935016" y="31750"/>
                </a:lnTo>
                <a:lnTo>
                  <a:pt x="3947716" y="36910"/>
                </a:lnTo>
                <a:lnTo>
                  <a:pt x="3959622" y="42863"/>
                </a:lnTo>
                <a:lnTo>
                  <a:pt x="3971131" y="48419"/>
                </a:lnTo>
                <a:lnTo>
                  <a:pt x="3983434" y="54769"/>
                </a:lnTo>
                <a:lnTo>
                  <a:pt x="3994944" y="61516"/>
                </a:lnTo>
                <a:lnTo>
                  <a:pt x="4006453" y="68660"/>
                </a:lnTo>
                <a:lnTo>
                  <a:pt x="4017962" y="76200"/>
                </a:lnTo>
                <a:lnTo>
                  <a:pt x="4029075" y="83741"/>
                </a:lnTo>
                <a:lnTo>
                  <a:pt x="4040188" y="91678"/>
                </a:lnTo>
                <a:lnTo>
                  <a:pt x="4051300" y="100013"/>
                </a:lnTo>
                <a:lnTo>
                  <a:pt x="4062412" y="108744"/>
                </a:lnTo>
                <a:lnTo>
                  <a:pt x="4073128" y="117872"/>
                </a:lnTo>
                <a:lnTo>
                  <a:pt x="4083844" y="127000"/>
                </a:lnTo>
                <a:lnTo>
                  <a:pt x="4094560" y="136525"/>
                </a:lnTo>
                <a:lnTo>
                  <a:pt x="4104481" y="146447"/>
                </a:lnTo>
                <a:lnTo>
                  <a:pt x="4125119" y="167084"/>
                </a:lnTo>
                <a:lnTo>
                  <a:pt x="4145360" y="188913"/>
                </a:lnTo>
                <a:lnTo>
                  <a:pt x="4164410" y="211931"/>
                </a:lnTo>
                <a:lnTo>
                  <a:pt x="4183856" y="235744"/>
                </a:lnTo>
                <a:lnTo>
                  <a:pt x="4202112" y="260350"/>
                </a:lnTo>
                <a:lnTo>
                  <a:pt x="4219972" y="286544"/>
                </a:lnTo>
                <a:lnTo>
                  <a:pt x="4237434" y="313135"/>
                </a:lnTo>
                <a:lnTo>
                  <a:pt x="4254500" y="340519"/>
                </a:lnTo>
                <a:lnTo>
                  <a:pt x="4271169" y="369094"/>
                </a:lnTo>
                <a:lnTo>
                  <a:pt x="4286647" y="398463"/>
                </a:lnTo>
                <a:lnTo>
                  <a:pt x="4302522" y="427831"/>
                </a:lnTo>
                <a:lnTo>
                  <a:pt x="4317603" y="458391"/>
                </a:lnTo>
                <a:lnTo>
                  <a:pt x="4332288" y="489347"/>
                </a:lnTo>
                <a:lnTo>
                  <a:pt x="4346178" y="521097"/>
                </a:lnTo>
                <a:lnTo>
                  <a:pt x="4359672" y="553244"/>
                </a:lnTo>
                <a:lnTo>
                  <a:pt x="4372769" y="586185"/>
                </a:lnTo>
                <a:lnTo>
                  <a:pt x="4385469" y="619522"/>
                </a:lnTo>
                <a:lnTo>
                  <a:pt x="4398169" y="652463"/>
                </a:lnTo>
                <a:lnTo>
                  <a:pt x="4409678" y="686991"/>
                </a:lnTo>
                <a:lnTo>
                  <a:pt x="4420790" y="721122"/>
                </a:lnTo>
                <a:lnTo>
                  <a:pt x="4431903" y="755253"/>
                </a:lnTo>
                <a:lnTo>
                  <a:pt x="4441825" y="790178"/>
                </a:lnTo>
                <a:lnTo>
                  <a:pt x="4451747" y="824706"/>
                </a:lnTo>
                <a:lnTo>
                  <a:pt x="4461669" y="859631"/>
                </a:lnTo>
                <a:lnTo>
                  <a:pt x="4470003" y="894953"/>
                </a:lnTo>
                <a:lnTo>
                  <a:pt x="4478734" y="929878"/>
                </a:lnTo>
                <a:lnTo>
                  <a:pt x="4486672" y="964803"/>
                </a:lnTo>
                <a:lnTo>
                  <a:pt x="4494212" y="1000125"/>
                </a:lnTo>
                <a:lnTo>
                  <a:pt x="4501753" y="1034653"/>
                </a:lnTo>
                <a:lnTo>
                  <a:pt x="4508500" y="1069578"/>
                </a:lnTo>
                <a:lnTo>
                  <a:pt x="4514453" y="1104106"/>
                </a:lnTo>
                <a:lnTo>
                  <a:pt x="4520406" y="1138635"/>
                </a:lnTo>
                <a:lnTo>
                  <a:pt x="4525566" y="1172369"/>
                </a:lnTo>
                <a:lnTo>
                  <a:pt x="4530328" y="1206103"/>
                </a:lnTo>
                <a:lnTo>
                  <a:pt x="4535090" y="1239044"/>
                </a:lnTo>
                <a:lnTo>
                  <a:pt x="4539060" y="1271985"/>
                </a:lnTo>
                <a:lnTo>
                  <a:pt x="4542631" y="1304528"/>
                </a:lnTo>
                <a:lnTo>
                  <a:pt x="4546203" y="1336278"/>
                </a:lnTo>
                <a:lnTo>
                  <a:pt x="4548584" y="1367631"/>
                </a:lnTo>
                <a:lnTo>
                  <a:pt x="4550966" y="1398191"/>
                </a:lnTo>
                <a:lnTo>
                  <a:pt x="4552950" y="1428353"/>
                </a:lnTo>
                <a:lnTo>
                  <a:pt x="4554538" y="1458119"/>
                </a:lnTo>
                <a:lnTo>
                  <a:pt x="4555728" y="1486297"/>
                </a:lnTo>
                <a:lnTo>
                  <a:pt x="4556125" y="1514475"/>
                </a:lnTo>
                <a:lnTo>
                  <a:pt x="4556125" y="1541463"/>
                </a:lnTo>
                <a:lnTo>
                  <a:pt x="4556125" y="1572022"/>
                </a:lnTo>
                <a:lnTo>
                  <a:pt x="4555728" y="1602185"/>
                </a:lnTo>
                <a:lnTo>
                  <a:pt x="4554538" y="1631950"/>
                </a:lnTo>
                <a:lnTo>
                  <a:pt x="4552950" y="1662113"/>
                </a:lnTo>
                <a:lnTo>
                  <a:pt x="4551760" y="1692275"/>
                </a:lnTo>
                <a:lnTo>
                  <a:pt x="4549775" y="1722041"/>
                </a:lnTo>
                <a:lnTo>
                  <a:pt x="4546997" y="1751806"/>
                </a:lnTo>
                <a:lnTo>
                  <a:pt x="4544219" y="1781572"/>
                </a:lnTo>
                <a:lnTo>
                  <a:pt x="4541044" y="1810544"/>
                </a:lnTo>
                <a:lnTo>
                  <a:pt x="4537472" y="1840310"/>
                </a:lnTo>
                <a:lnTo>
                  <a:pt x="4533503" y="1869678"/>
                </a:lnTo>
                <a:lnTo>
                  <a:pt x="4529534" y="1898650"/>
                </a:lnTo>
                <a:lnTo>
                  <a:pt x="4524375" y="1927622"/>
                </a:lnTo>
                <a:lnTo>
                  <a:pt x="4520010" y="1956594"/>
                </a:lnTo>
                <a:lnTo>
                  <a:pt x="4514453" y="1985566"/>
                </a:lnTo>
                <a:lnTo>
                  <a:pt x="4508897" y="2014141"/>
                </a:lnTo>
                <a:lnTo>
                  <a:pt x="4502944" y="2042716"/>
                </a:lnTo>
                <a:lnTo>
                  <a:pt x="4496197" y="2070894"/>
                </a:lnTo>
                <a:lnTo>
                  <a:pt x="4489847" y="2099072"/>
                </a:lnTo>
                <a:lnTo>
                  <a:pt x="4482703" y="2127250"/>
                </a:lnTo>
                <a:lnTo>
                  <a:pt x="4475162" y="2155428"/>
                </a:lnTo>
                <a:lnTo>
                  <a:pt x="4467622" y="2183210"/>
                </a:lnTo>
                <a:lnTo>
                  <a:pt x="4459684" y="2210991"/>
                </a:lnTo>
                <a:lnTo>
                  <a:pt x="4450953" y="2238772"/>
                </a:lnTo>
                <a:lnTo>
                  <a:pt x="4442222" y="2266553"/>
                </a:lnTo>
                <a:lnTo>
                  <a:pt x="4433490" y="2293541"/>
                </a:lnTo>
                <a:lnTo>
                  <a:pt x="4423569" y="2320925"/>
                </a:lnTo>
                <a:lnTo>
                  <a:pt x="4414044" y="2347913"/>
                </a:lnTo>
                <a:lnTo>
                  <a:pt x="4404122" y="2374503"/>
                </a:lnTo>
                <a:lnTo>
                  <a:pt x="4393406" y="2401491"/>
                </a:lnTo>
                <a:lnTo>
                  <a:pt x="4383088" y="2428081"/>
                </a:lnTo>
                <a:lnTo>
                  <a:pt x="4371975" y="2454275"/>
                </a:lnTo>
                <a:lnTo>
                  <a:pt x="4360862" y="2480469"/>
                </a:lnTo>
                <a:lnTo>
                  <a:pt x="4349353" y="2506663"/>
                </a:lnTo>
                <a:lnTo>
                  <a:pt x="4337050" y="2532063"/>
                </a:lnTo>
                <a:lnTo>
                  <a:pt x="4325144" y="2557860"/>
                </a:lnTo>
                <a:lnTo>
                  <a:pt x="4312444" y="2583656"/>
                </a:lnTo>
                <a:lnTo>
                  <a:pt x="4299744" y="2608660"/>
                </a:lnTo>
                <a:lnTo>
                  <a:pt x="4286647" y="2634060"/>
                </a:lnTo>
                <a:lnTo>
                  <a:pt x="4273153" y="2659063"/>
                </a:lnTo>
                <a:lnTo>
                  <a:pt x="4259660" y="2683669"/>
                </a:lnTo>
                <a:lnTo>
                  <a:pt x="4245769" y="2708275"/>
                </a:lnTo>
                <a:lnTo>
                  <a:pt x="4231481" y="2733278"/>
                </a:lnTo>
                <a:lnTo>
                  <a:pt x="4216797" y="2757488"/>
                </a:lnTo>
                <a:lnTo>
                  <a:pt x="4202112" y="2781300"/>
                </a:lnTo>
                <a:lnTo>
                  <a:pt x="4187031" y="2805113"/>
                </a:lnTo>
                <a:lnTo>
                  <a:pt x="4171553" y="2828925"/>
                </a:lnTo>
                <a:lnTo>
                  <a:pt x="4156075" y="2852341"/>
                </a:lnTo>
                <a:lnTo>
                  <a:pt x="4139803" y="2875756"/>
                </a:lnTo>
                <a:lnTo>
                  <a:pt x="4123928" y="2898775"/>
                </a:lnTo>
                <a:lnTo>
                  <a:pt x="4107260" y="2921794"/>
                </a:lnTo>
                <a:lnTo>
                  <a:pt x="4090590" y="2944416"/>
                </a:lnTo>
                <a:lnTo>
                  <a:pt x="4073525" y="2966641"/>
                </a:lnTo>
                <a:lnTo>
                  <a:pt x="4056460" y="2988866"/>
                </a:lnTo>
                <a:lnTo>
                  <a:pt x="4038600" y="3011091"/>
                </a:lnTo>
                <a:lnTo>
                  <a:pt x="4021138" y="3033316"/>
                </a:lnTo>
                <a:lnTo>
                  <a:pt x="4002881" y="3054350"/>
                </a:lnTo>
                <a:lnTo>
                  <a:pt x="3985022" y="3076178"/>
                </a:lnTo>
                <a:lnTo>
                  <a:pt x="3966369" y="3097213"/>
                </a:lnTo>
                <a:lnTo>
                  <a:pt x="3947716" y="3117850"/>
                </a:lnTo>
                <a:lnTo>
                  <a:pt x="3928666" y="3138885"/>
                </a:lnTo>
                <a:lnTo>
                  <a:pt x="3908822" y="3159125"/>
                </a:lnTo>
                <a:lnTo>
                  <a:pt x="3889772" y="3179366"/>
                </a:lnTo>
                <a:lnTo>
                  <a:pt x="3869531" y="3199210"/>
                </a:lnTo>
                <a:lnTo>
                  <a:pt x="3850084" y="3219053"/>
                </a:lnTo>
                <a:lnTo>
                  <a:pt x="3829447" y="3238500"/>
                </a:lnTo>
                <a:lnTo>
                  <a:pt x="3809206" y="3258344"/>
                </a:lnTo>
                <a:lnTo>
                  <a:pt x="3788569" y="3276997"/>
                </a:lnTo>
                <a:lnTo>
                  <a:pt x="3767534" y="3296047"/>
                </a:lnTo>
                <a:lnTo>
                  <a:pt x="3746103" y="3314700"/>
                </a:lnTo>
                <a:lnTo>
                  <a:pt x="3725069" y="3332956"/>
                </a:lnTo>
                <a:lnTo>
                  <a:pt x="3703638" y="3350816"/>
                </a:lnTo>
                <a:lnTo>
                  <a:pt x="3681412" y="3368675"/>
                </a:lnTo>
                <a:lnTo>
                  <a:pt x="3659584" y="3386138"/>
                </a:lnTo>
                <a:lnTo>
                  <a:pt x="3636962" y="3403203"/>
                </a:lnTo>
                <a:lnTo>
                  <a:pt x="3614738" y="3420269"/>
                </a:lnTo>
                <a:lnTo>
                  <a:pt x="3592116" y="3436938"/>
                </a:lnTo>
                <a:lnTo>
                  <a:pt x="3569097" y="3453606"/>
                </a:lnTo>
                <a:lnTo>
                  <a:pt x="3546078" y="3469878"/>
                </a:lnTo>
                <a:lnTo>
                  <a:pt x="3522662" y="3485753"/>
                </a:lnTo>
                <a:lnTo>
                  <a:pt x="3499644" y="3501628"/>
                </a:lnTo>
                <a:lnTo>
                  <a:pt x="3475831" y="3517106"/>
                </a:lnTo>
                <a:lnTo>
                  <a:pt x="3452019" y="3532188"/>
                </a:lnTo>
                <a:lnTo>
                  <a:pt x="3427810" y="3546872"/>
                </a:lnTo>
                <a:lnTo>
                  <a:pt x="3403600" y="3561556"/>
                </a:lnTo>
                <a:lnTo>
                  <a:pt x="3379390" y="3575447"/>
                </a:lnTo>
                <a:lnTo>
                  <a:pt x="3354784" y="3589735"/>
                </a:lnTo>
                <a:lnTo>
                  <a:pt x="3329384" y="3603228"/>
                </a:lnTo>
                <a:lnTo>
                  <a:pt x="3304778" y="3616722"/>
                </a:lnTo>
                <a:lnTo>
                  <a:pt x="3279775" y="3629819"/>
                </a:lnTo>
                <a:lnTo>
                  <a:pt x="3253978" y="3642519"/>
                </a:lnTo>
                <a:lnTo>
                  <a:pt x="3228975" y="3655219"/>
                </a:lnTo>
                <a:lnTo>
                  <a:pt x="3202781" y="3667125"/>
                </a:lnTo>
                <a:lnTo>
                  <a:pt x="3176984" y="3679428"/>
                </a:lnTo>
                <a:lnTo>
                  <a:pt x="3150790" y="3690938"/>
                </a:lnTo>
                <a:lnTo>
                  <a:pt x="3124597" y="3702050"/>
                </a:lnTo>
                <a:lnTo>
                  <a:pt x="3098403" y="3713163"/>
                </a:lnTo>
                <a:lnTo>
                  <a:pt x="3071812" y="3723481"/>
                </a:lnTo>
                <a:lnTo>
                  <a:pt x="3045222" y="3734197"/>
                </a:lnTo>
                <a:lnTo>
                  <a:pt x="3018631" y="3744119"/>
                </a:lnTo>
                <a:lnTo>
                  <a:pt x="2991247" y="3753644"/>
                </a:lnTo>
                <a:lnTo>
                  <a:pt x="2964260" y="3763169"/>
                </a:lnTo>
                <a:lnTo>
                  <a:pt x="2936875" y="3771900"/>
                </a:lnTo>
                <a:lnTo>
                  <a:pt x="2909094" y="3781028"/>
                </a:lnTo>
                <a:lnTo>
                  <a:pt x="2882106" y="3789363"/>
                </a:lnTo>
                <a:lnTo>
                  <a:pt x="2853928" y="3797697"/>
                </a:lnTo>
                <a:lnTo>
                  <a:pt x="2826147" y="3805238"/>
                </a:lnTo>
                <a:lnTo>
                  <a:pt x="2797969" y="3812778"/>
                </a:lnTo>
                <a:lnTo>
                  <a:pt x="2770188" y="3819922"/>
                </a:lnTo>
                <a:lnTo>
                  <a:pt x="2741612" y="3826272"/>
                </a:lnTo>
                <a:lnTo>
                  <a:pt x="2713434" y="3833019"/>
                </a:lnTo>
                <a:lnTo>
                  <a:pt x="2684860" y="3838972"/>
                </a:lnTo>
                <a:lnTo>
                  <a:pt x="2655888" y="3844528"/>
                </a:lnTo>
                <a:lnTo>
                  <a:pt x="2627312" y="3849291"/>
                </a:lnTo>
                <a:lnTo>
                  <a:pt x="2598738" y="3854450"/>
                </a:lnTo>
                <a:lnTo>
                  <a:pt x="2569369" y="3859610"/>
                </a:lnTo>
                <a:lnTo>
                  <a:pt x="2540397" y="3863578"/>
                </a:lnTo>
                <a:lnTo>
                  <a:pt x="2511028" y="3867547"/>
                </a:lnTo>
                <a:lnTo>
                  <a:pt x="2481262" y="3871119"/>
                </a:lnTo>
                <a:lnTo>
                  <a:pt x="2452290" y="3874294"/>
                </a:lnTo>
                <a:lnTo>
                  <a:pt x="2422525" y="3877072"/>
                </a:lnTo>
                <a:lnTo>
                  <a:pt x="2392760" y="3879850"/>
                </a:lnTo>
                <a:lnTo>
                  <a:pt x="2362994" y="3881835"/>
                </a:lnTo>
                <a:lnTo>
                  <a:pt x="2332831" y="3883025"/>
                </a:lnTo>
                <a:lnTo>
                  <a:pt x="2303066" y="3884613"/>
                </a:lnTo>
                <a:lnTo>
                  <a:pt x="2272903" y="3885803"/>
                </a:lnTo>
                <a:lnTo>
                  <a:pt x="2242740" y="3886200"/>
                </a:lnTo>
                <a:lnTo>
                  <a:pt x="2212578" y="3886200"/>
                </a:lnTo>
                <a:lnTo>
                  <a:pt x="2169716" y="3885803"/>
                </a:lnTo>
                <a:lnTo>
                  <a:pt x="2127647" y="3884613"/>
                </a:lnTo>
                <a:lnTo>
                  <a:pt x="2085975" y="3883025"/>
                </a:lnTo>
                <a:lnTo>
                  <a:pt x="2043906" y="3880247"/>
                </a:lnTo>
                <a:lnTo>
                  <a:pt x="2002234" y="3877072"/>
                </a:lnTo>
                <a:lnTo>
                  <a:pt x="1960960" y="3873103"/>
                </a:lnTo>
                <a:lnTo>
                  <a:pt x="1919685" y="3867944"/>
                </a:lnTo>
                <a:lnTo>
                  <a:pt x="1878410" y="3862388"/>
                </a:lnTo>
                <a:lnTo>
                  <a:pt x="1837531" y="3856435"/>
                </a:lnTo>
                <a:lnTo>
                  <a:pt x="1797050" y="3849291"/>
                </a:lnTo>
                <a:lnTo>
                  <a:pt x="1756569" y="3841750"/>
                </a:lnTo>
                <a:lnTo>
                  <a:pt x="1716881" y="3833813"/>
                </a:lnTo>
                <a:lnTo>
                  <a:pt x="1677194" y="3824685"/>
                </a:lnTo>
                <a:lnTo>
                  <a:pt x="1637506" y="3815160"/>
                </a:lnTo>
                <a:lnTo>
                  <a:pt x="1598216" y="3804444"/>
                </a:lnTo>
                <a:lnTo>
                  <a:pt x="1558925" y="3794125"/>
                </a:lnTo>
                <a:lnTo>
                  <a:pt x="1520031" y="3782616"/>
                </a:lnTo>
                <a:lnTo>
                  <a:pt x="1481931" y="3769916"/>
                </a:lnTo>
                <a:lnTo>
                  <a:pt x="1443435" y="3757216"/>
                </a:lnTo>
                <a:lnTo>
                  <a:pt x="1405731" y="3743722"/>
                </a:lnTo>
                <a:lnTo>
                  <a:pt x="1368028" y="3729435"/>
                </a:lnTo>
                <a:lnTo>
                  <a:pt x="1330722" y="3714353"/>
                </a:lnTo>
                <a:lnTo>
                  <a:pt x="1294210" y="3699272"/>
                </a:lnTo>
                <a:lnTo>
                  <a:pt x="1257300" y="3683397"/>
                </a:lnTo>
                <a:lnTo>
                  <a:pt x="1221185" y="3666728"/>
                </a:lnTo>
                <a:lnTo>
                  <a:pt x="1184672" y="3649663"/>
                </a:lnTo>
                <a:lnTo>
                  <a:pt x="1148953" y="3631803"/>
                </a:lnTo>
                <a:lnTo>
                  <a:pt x="1114028" y="3613150"/>
                </a:lnTo>
                <a:lnTo>
                  <a:pt x="1079103" y="3594100"/>
                </a:lnTo>
                <a:lnTo>
                  <a:pt x="1044575" y="3575050"/>
                </a:lnTo>
                <a:lnTo>
                  <a:pt x="1010047" y="3554810"/>
                </a:lnTo>
                <a:lnTo>
                  <a:pt x="976313" y="3534172"/>
                </a:lnTo>
                <a:lnTo>
                  <a:pt x="943372" y="3513138"/>
                </a:lnTo>
                <a:lnTo>
                  <a:pt x="910035" y="3490913"/>
                </a:lnTo>
                <a:lnTo>
                  <a:pt x="877491" y="3468688"/>
                </a:lnTo>
                <a:lnTo>
                  <a:pt x="844947" y="3446066"/>
                </a:lnTo>
                <a:lnTo>
                  <a:pt x="813197" y="3422650"/>
                </a:lnTo>
                <a:lnTo>
                  <a:pt x="781844" y="3398838"/>
                </a:lnTo>
                <a:lnTo>
                  <a:pt x="750888" y="3374231"/>
                </a:lnTo>
                <a:lnTo>
                  <a:pt x="720328" y="3349625"/>
                </a:lnTo>
                <a:lnTo>
                  <a:pt x="690166" y="3324225"/>
                </a:lnTo>
                <a:lnTo>
                  <a:pt x="660400" y="3298031"/>
                </a:lnTo>
                <a:lnTo>
                  <a:pt x="630635" y="3271838"/>
                </a:lnTo>
                <a:lnTo>
                  <a:pt x="602060" y="3244850"/>
                </a:lnTo>
                <a:lnTo>
                  <a:pt x="573881" y="3217466"/>
                </a:lnTo>
                <a:lnTo>
                  <a:pt x="545703" y="3189685"/>
                </a:lnTo>
                <a:lnTo>
                  <a:pt x="518319" y="3161506"/>
                </a:lnTo>
                <a:lnTo>
                  <a:pt x="491331" y="3132931"/>
                </a:lnTo>
                <a:lnTo>
                  <a:pt x="464741" y="3103563"/>
                </a:lnTo>
                <a:lnTo>
                  <a:pt x="438944" y="3074194"/>
                </a:lnTo>
                <a:lnTo>
                  <a:pt x="413147" y="3043635"/>
                </a:lnTo>
                <a:lnTo>
                  <a:pt x="388144" y="3013472"/>
                </a:lnTo>
                <a:lnTo>
                  <a:pt x="363538" y="2982516"/>
                </a:lnTo>
                <a:lnTo>
                  <a:pt x="339725" y="2951163"/>
                </a:lnTo>
                <a:lnTo>
                  <a:pt x="315913" y="2919413"/>
                </a:lnTo>
                <a:lnTo>
                  <a:pt x="292894" y="2887266"/>
                </a:lnTo>
                <a:lnTo>
                  <a:pt x="270669" y="2854325"/>
                </a:lnTo>
                <a:lnTo>
                  <a:pt x="248841" y="2821781"/>
                </a:lnTo>
                <a:lnTo>
                  <a:pt x="227410" y="2788444"/>
                </a:lnTo>
                <a:lnTo>
                  <a:pt x="206375" y="2754710"/>
                </a:lnTo>
                <a:lnTo>
                  <a:pt x="186135" y="2720578"/>
                </a:lnTo>
                <a:lnTo>
                  <a:pt x="166688" y="2685653"/>
                </a:lnTo>
                <a:lnTo>
                  <a:pt x="147638" y="2651125"/>
                </a:lnTo>
                <a:lnTo>
                  <a:pt x="128985" y="2615803"/>
                </a:lnTo>
                <a:lnTo>
                  <a:pt x="114697" y="2589213"/>
                </a:lnTo>
                <a:lnTo>
                  <a:pt x="101600" y="2561828"/>
                </a:lnTo>
                <a:lnTo>
                  <a:pt x="89694" y="2534841"/>
                </a:lnTo>
                <a:lnTo>
                  <a:pt x="78185" y="2507060"/>
                </a:lnTo>
                <a:lnTo>
                  <a:pt x="67072" y="2479278"/>
                </a:lnTo>
                <a:lnTo>
                  <a:pt x="57547" y="2451100"/>
                </a:lnTo>
                <a:lnTo>
                  <a:pt x="47625" y="2422922"/>
                </a:lnTo>
                <a:lnTo>
                  <a:pt x="39688" y="2394347"/>
                </a:lnTo>
                <a:lnTo>
                  <a:pt x="32147" y="2365375"/>
                </a:lnTo>
                <a:lnTo>
                  <a:pt x="25797" y="2336800"/>
                </a:lnTo>
                <a:lnTo>
                  <a:pt x="19447" y="2308225"/>
                </a:lnTo>
                <a:lnTo>
                  <a:pt x="14685" y="2278856"/>
                </a:lnTo>
                <a:lnTo>
                  <a:pt x="9922" y="2250281"/>
                </a:lnTo>
                <a:lnTo>
                  <a:pt x="6350" y="2220913"/>
                </a:lnTo>
                <a:lnTo>
                  <a:pt x="3572" y="2191941"/>
                </a:lnTo>
                <a:lnTo>
                  <a:pt x="1588" y="2162175"/>
                </a:lnTo>
                <a:lnTo>
                  <a:pt x="397" y="2132806"/>
                </a:lnTo>
                <a:lnTo>
                  <a:pt x="0" y="2103835"/>
                </a:lnTo>
                <a:lnTo>
                  <a:pt x="0" y="2074466"/>
                </a:lnTo>
                <a:lnTo>
                  <a:pt x="1588" y="2044700"/>
                </a:lnTo>
                <a:lnTo>
                  <a:pt x="3175" y="2015728"/>
                </a:lnTo>
                <a:lnTo>
                  <a:pt x="5556" y="1986360"/>
                </a:lnTo>
                <a:lnTo>
                  <a:pt x="9128" y="1957388"/>
                </a:lnTo>
                <a:lnTo>
                  <a:pt x="13097" y="1928019"/>
                </a:lnTo>
                <a:lnTo>
                  <a:pt x="18256" y="1898650"/>
                </a:lnTo>
                <a:lnTo>
                  <a:pt x="23813" y="1870075"/>
                </a:lnTo>
                <a:lnTo>
                  <a:pt x="29766" y="1841500"/>
                </a:lnTo>
                <a:lnTo>
                  <a:pt x="36910" y="1812528"/>
                </a:lnTo>
                <a:lnTo>
                  <a:pt x="44847" y="1783953"/>
                </a:lnTo>
                <a:lnTo>
                  <a:pt x="53181" y="1755775"/>
                </a:lnTo>
                <a:lnTo>
                  <a:pt x="62310" y="1727597"/>
                </a:lnTo>
                <a:lnTo>
                  <a:pt x="72628" y="1699419"/>
                </a:lnTo>
                <a:lnTo>
                  <a:pt x="83741" y="1671638"/>
                </a:lnTo>
                <a:lnTo>
                  <a:pt x="94456" y="1644650"/>
                </a:lnTo>
                <a:lnTo>
                  <a:pt x="106760" y="1617266"/>
                </a:lnTo>
                <a:lnTo>
                  <a:pt x="119856" y="1590278"/>
                </a:lnTo>
                <a:lnTo>
                  <a:pt x="133350" y="1563291"/>
                </a:lnTo>
                <a:lnTo>
                  <a:pt x="148035" y="1537097"/>
                </a:lnTo>
                <a:lnTo>
                  <a:pt x="162719" y="1510903"/>
                </a:lnTo>
                <a:lnTo>
                  <a:pt x="178594" y="1485503"/>
                </a:lnTo>
                <a:lnTo>
                  <a:pt x="194866" y="1460103"/>
                </a:lnTo>
                <a:lnTo>
                  <a:pt x="211931" y="1435100"/>
                </a:lnTo>
                <a:lnTo>
                  <a:pt x="230188" y="1410494"/>
                </a:lnTo>
                <a:lnTo>
                  <a:pt x="248047" y="1386285"/>
                </a:lnTo>
                <a:lnTo>
                  <a:pt x="267891" y="1362472"/>
                </a:lnTo>
                <a:lnTo>
                  <a:pt x="287338" y="1339056"/>
                </a:lnTo>
                <a:lnTo>
                  <a:pt x="307975" y="1316038"/>
                </a:lnTo>
                <a:lnTo>
                  <a:pt x="329010" y="1293416"/>
                </a:lnTo>
                <a:lnTo>
                  <a:pt x="351235" y="1271588"/>
                </a:lnTo>
                <a:lnTo>
                  <a:pt x="373856" y="1249760"/>
                </a:lnTo>
                <a:lnTo>
                  <a:pt x="397272" y="1229122"/>
                </a:lnTo>
                <a:lnTo>
                  <a:pt x="421481" y="1208485"/>
                </a:lnTo>
                <a:lnTo>
                  <a:pt x="445294" y="1188641"/>
                </a:lnTo>
                <a:lnTo>
                  <a:pt x="471091" y="1169194"/>
                </a:lnTo>
                <a:lnTo>
                  <a:pt x="496888" y="1150541"/>
                </a:lnTo>
                <a:lnTo>
                  <a:pt x="523478" y="1132285"/>
                </a:lnTo>
                <a:lnTo>
                  <a:pt x="550466" y="1114822"/>
                </a:lnTo>
                <a:lnTo>
                  <a:pt x="578644" y="1097756"/>
                </a:lnTo>
                <a:lnTo>
                  <a:pt x="606822" y="1081088"/>
                </a:lnTo>
                <a:lnTo>
                  <a:pt x="636191" y="1065610"/>
                </a:lnTo>
                <a:lnTo>
                  <a:pt x="666353" y="1050528"/>
                </a:lnTo>
                <a:lnTo>
                  <a:pt x="696516" y="1036241"/>
                </a:lnTo>
                <a:lnTo>
                  <a:pt x="727869" y="1022747"/>
                </a:lnTo>
                <a:lnTo>
                  <a:pt x="759619" y="1009650"/>
                </a:lnTo>
                <a:lnTo>
                  <a:pt x="3618310" y="26591"/>
                </a:lnTo>
                <a:lnTo>
                  <a:pt x="3633390" y="22225"/>
                </a:lnTo>
                <a:lnTo>
                  <a:pt x="3648472" y="17463"/>
                </a:lnTo>
                <a:lnTo>
                  <a:pt x="3663553" y="13494"/>
                </a:lnTo>
                <a:lnTo>
                  <a:pt x="3678634" y="10716"/>
                </a:lnTo>
                <a:lnTo>
                  <a:pt x="3693319" y="7541"/>
                </a:lnTo>
                <a:lnTo>
                  <a:pt x="3708003" y="5159"/>
                </a:lnTo>
                <a:lnTo>
                  <a:pt x="3722290" y="3175"/>
                </a:lnTo>
                <a:lnTo>
                  <a:pt x="3736578" y="1588"/>
                </a:lnTo>
                <a:lnTo>
                  <a:pt x="3750866" y="397"/>
                </a:lnTo>
                <a:close/>
              </a:path>
            </a:pathLst>
          </a:custGeom>
          <a:solidFill>
            <a:schemeClr val="bg1">
              <a:lumMod val="85000"/>
            </a:schemeClr>
          </a:solidFill>
        </p:spPr>
        <p:txBody>
          <a:bodyPr wrap="square" anchor="ctr">
            <a:noAutofit/>
          </a:bodyPr>
          <a:lstStyle>
            <a:lvl1pPr marL="0" indent="0" algn="ctr">
              <a:buNone/>
              <a:defRPr/>
            </a:lvl1pPr>
          </a:lstStyle>
          <a:p>
            <a:r>
              <a:rPr lang="en-GB" dirty="0"/>
              <a:t>Insert your photo</a:t>
            </a:r>
          </a:p>
        </p:txBody>
      </p:sp>
    </p:spTree>
    <p:extLst>
      <p:ext uri="{BB962C8B-B14F-4D97-AF65-F5344CB8AC3E}">
        <p14:creationId xmlns:p14="http://schemas.microsoft.com/office/powerpoint/2010/main" val="429400882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hape 2">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4"/>
            <a:ext cx="5617534" cy="3987186"/>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92608" y="779416"/>
            <a:ext cx="11228613" cy="420734"/>
          </a:xfrm>
          <a:prstGeom prst="rect">
            <a:avLst/>
          </a:prstGeom>
        </p:spPr>
        <p:txBody>
          <a:bodyPr>
            <a:noAutofit/>
          </a:bodyPr>
          <a:lstStyle>
            <a:lvl1pPr marL="0" indent="0">
              <a:lnSpc>
                <a:spcPct val="100000"/>
              </a:lnSpc>
              <a:buNone/>
              <a:defRPr sz="16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8" name="Marcador de posición de imagen 28"/>
          <p:cNvSpPr>
            <a:spLocks noGrp="1"/>
          </p:cNvSpPr>
          <p:nvPr>
            <p:ph type="pic" sz="quarter" idx="16" hasCustomPrompt="1"/>
          </p:nvPr>
        </p:nvSpPr>
        <p:spPr>
          <a:xfrm>
            <a:off x="6632254" y="1903298"/>
            <a:ext cx="4479647" cy="3982295"/>
          </a:xfrm>
          <a:custGeom>
            <a:avLst/>
            <a:gdLst>
              <a:gd name="connsiteX0" fmla="*/ 1708960 w 6589713"/>
              <a:gd name="connsiteY0" fmla="*/ 853 h 5805701"/>
              <a:gd name="connsiteX1" fmla="*/ 2304022 w 6589713"/>
              <a:gd name="connsiteY1" fmla="*/ 142353 h 5805701"/>
              <a:gd name="connsiteX2" fmla="*/ 3133681 w 6589713"/>
              <a:gd name="connsiteY2" fmla="*/ 876002 h 5805701"/>
              <a:gd name="connsiteX3" fmla="*/ 6410042 w 6589713"/>
              <a:gd name="connsiteY3" fmla="*/ 4771203 h 5805701"/>
              <a:gd name="connsiteX4" fmla="*/ 6589713 w 6589713"/>
              <a:gd name="connsiteY4" fmla="*/ 5198725 h 5805701"/>
              <a:gd name="connsiteX5" fmla="*/ 5982001 w 6589713"/>
              <a:gd name="connsiteY5" fmla="*/ 5805701 h 5805701"/>
              <a:gd name="connsiteX6" fmla="*/ 935348 w 6589713"/>
              <a:gd name="connsiteY6" fmla="*/ 5805701 h 5805701"/>
              <a:gd name="connsiteX7" fmla="*/ 0 w 6589713"/>
              <a:gd name="connsiteY7" fmla="*/ 4866208 h 5805701"/>
              <a:gd name="connsiteX8" fmla="*/ 0 w 6589713"/>
              <a:gd name="connsiteY8" fmla="*/ 1641319 h 5805701"/>
              <a:gd name="connsiteX9" fmla="*/ 480885 w 6589713"/>
              <a:gd name="connsiteY9" fmla="*/ 480148 h 5805701"/>
              <a:gd name="connsiteX10" fmla="*/ 1708960 w 6589713"/>
              <a:gd name="connsiteY10" fmla="*/ 853 h 5805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9713" h="5805701">
                <a:moveTo>
                  <a:pt x="1708960" y="853"/>
                </a:moveTo>
                <a:cubicBezTo>
                  <a:pt x="1913055" y="7515"/>
                  <a:pt x="2115763" y="53286"/>
                  <a:pt x="2304022" y="142353"/>
                </a:cubicBezTo>
                <a:cubicBezTo>
                  <a:pt x="2663364" y="311250"/>
                  <a:pt x="2890596" y="596265"/>
                  <a:pt x="3133681" y="876002"/>
                </a:cubicBezTo>
                <a:cubicBezTo>
                  <a:pt x="3133681" y="876002"/>
                  <a:pt x="3133681" y="876002"/>
                  <a:pt x="6410042" y="4771203"/>
                </a:cubicBezTo>
                <a:cubicBezTo>
                  <a:pt x="6505162" y="4887320"/>
                  <a:pt x="6589713" y="5035106"/>
                  <a:pt x="6589713" y="5198725"/>
                </a:cubicBezTo>
                <a:cubicBezTo>
                  <a:pt x="6589713" y="5531243"/>
                  <a:pt x="6320206" y="5805701"/>
                  <a:pt x="5982001" y="5805701"/>
                </a:cubicBezTo>
                <a:lnTo>
                  <a:pt x="935348" y="5805701"/>
                </a:lnTo>
                <a:cubicBezTo>
                  <a:pt x="417472" y="5805701"/>
                  <a:pt x="0" y="5383457"/>
                  <a:pt x="0" y="4866208"/>
                </a:cubicBezTo>
                <a:cubicBezTo>
                  <a:pt x="0" y="4628696"/>
                  <a:pt x="0" y="1641319"/>
                  <a:pt x="0" y="1641319"/>
                </a:cubicBezTo>
                <a:cubicBezTo>
                  <a:pt x="0" y="1219075"/>
                  <a:pt x="158534" y="802109"/>
                  <a:pt x="480885" y="480148"/>
                </a:cubicBezTo>
                <a:cubicBezTo>
                  <a:pt x="804228" y="160826"/>
                  <a:pt x="1259950" y="-13803"/>
                  <a:pt x="1708960" y="853"/>
                </a:cubicBezTo>
                <a:close/>
              </a:path>
            </a:pathLst>
          </a:custGeom>
          <a:solidFill>
            <a:schemeClr val="bg1">
              <a:lumMod val="85000"/>
            </a:schemeClr>
          </a:solidFill>
        </p:spPr>
        <p:txBody>
          <a:bodyPr wrap="square" anchor="ctr">
            <a:noAutofit/>
          </a:bodyPr>
          <a:lstStyle>
            <a:lvl1pPr marL="0" indent="0" algn="ctr">
              <a:buNone/>
              <a:defRPr/>
            </a:lvl1pPr>
          </a:lstStyle>
          <a:p>
            <a:r>
              <a:rPr lang="en-GB" noProof="0" dirty="0"/>
              <a:t>     </a:t>
            </a:r>
            <a:br>
              <a:rPr lang="en-GB" noProof="0" dirty="0"/>
            </a:br>
            <a:br>
              <a:rPr lang="en-GB" noProof="0" dirty="0"/>
            </a:br>
            <a:r>
              <a:rPr lang="en-GB" noProof="0" dirty="0"/>
              <a:t> Insert your picture here</a:t>
            </a:r>
          </a:p>
        </p:txBody>
      </p:sp>
    </p:spTree>
    <p:extLst>
      <p:ext uri="{BB962C8B-B14F-4D97-AF65-F5344CB8AC3E}">
        <p14:creationId xmlns:p14="http://schemas.microsoft.com/office/powerpoint/2010/main" val="40110247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hape 3">
    <p:spTree>
      <p:nvGrpSpPr>
        <p:cNvPr id="1" name=""/>
        <p:cNvGrpSpPr/>
        <p:nvPr/>
      </p:nvGrpSpPr>
      <p:grpSpPr>
        <a:xfrm>
          <a:off x="0" y="0"/>
          <a:ext cx="0" cy="0"/>
          <a:chOff x="0" y="0"/>
          <a:chExt cx="0" cy="0"/>
        </a:xfrm>
      </p:grpSpPr>
      <p:sp>
        <p:nvSpPr>
          <p:cNvPr id="7" name="Marcador de texto 2"/>
          <p:cNvSpPr>
            <a:spLocks noGrp="1"/>
          </p:cNvSpPr>
          <p:nvPr>
            <p:ph type="body" sz="quarter" idx="18" hasCustomPrompt="1"/>
          </p:nvPr>
        </p:nvSpPr>
        <p:spPr>
          <a:xfrm>
            <a:off x="292613" y="1480163"/>
            <a:ext cx="5617534" cy="4828567"/>
          </a:xfrm>
          <a:prstGeom prst="rect">
            <a:avLst/>
          </a:prstGeom>
        </p:spPr>
        <p:txBody>
          <a:bodyPr>
            <a:normAutofit/>
          </a:bodyPr>
          <a:lstStyle>
            <a:lvl1pPr marL="130960" indent="-130960">
              <a:lnSpc>
                <a:spcPct val="100000"/>
              </a:lnSpc>
              <a:buClr>
                <a:schemeClr val="accent2"/>
              </a:buClr>
              <a:defRPr sz="2400">
                <a:solidFill>
                  <a:srgbClr val="323232"/>
                </a:solidFill>
              </a:defRPr>
            </a:lvl1pPr>
            <a:lvl2pPr>
              <a:lnSpc>
                <a:spcPct val="100000"/>
              </a:lnSpc>
              <a:buClr>
                <a:schemeClr val="accent2"/>
              </a:buClr>
              <a:defRPr sz="2000">
                <a:solidFill>
                  <a:srgbClr val="323232"/>
                </a:solidFill>
              </a:defRPr>
            </a:lvl2pPr>
            <a:lvl3pPr>
              <a:lnSpc>
                <a:spcPct val="100000"/>
              </a:lnSpc>
              <a:buClr>
                <a:schemeClr val="accent2"/>
              </a:buClr>
              <a:defRPr sz="1800">
                <a:solidFill>
                  <a:srgbClr val="323232"/>
                </a:solidFill>
              </a:defRPr>
            </a:lvl3pPr>
            <a:lvl4pPr>
              <a:lnSpc>
                <a:spcPct val="100000"/>
              </a:lnSpc>
              <a:buClr>
                <a:schemeClr val="accent2"/>
              </a:buClr>
              <a:defRPr sz="1600">
                <a:solidFill>
                  <a:srgbClr val="323232"/>
                </a:solidFill>
              </a:defRPr>
            </a:lvl4pPr>
            <a:lvl5pPr>
              <a:lnSpc>
                <a:spcPct val="100000"/>
              </a:lnSpc>
              <a:buClr>
                <a:schemeClr val="accent2"/>
              </a:buClr>
              <a:defRPr sz="1400">
                <a:solidFill>
                  <a:srgbClr val="323232"/>
                </a:solidFill>
              </a:defRPr>
            </a:lvl5pPr>
          </a:lstStyle>
          <a:p>
            <a:pPr lvl="0"/>
            <a:r>
              <a:rPr lang="en-GB" noProof="0" dirty="0"/>
              <a:t>Bullet level 1</a:t>
            </a:r>
          </a:p>
          <a:p>
            <a:pPr lvl="1"/>
            <a:r>
              <a:rPr lang="en-GB" noProof="0" dirty="0"/>
              <a:t>Bullet level 2</a:t>
            </a:r>
          </a:p>
          <a:p>
            <a:pPr lvl="2"/>
            <a:r>
              <a:rPr lang="en-GB" noProof="0" dirty="0"/>
              <a:t>Bullet level 3	</a:t>
            </a:r>
          </a:p>
          <a:p>
            <a:pPr lvl="3"/>
            <a:r>
              <a:rPr lang="en-GB" noProof="0" dirty="0"/>
              <a:t>Bullet level 4</a:t>
            </a:r>
          </a:p>
          <a:p>
            <a:pPr lvl="4"/>
            <a:r>
              <a:rPr lang="en-GB" noProof="0" dirty="0"/>
              <a:t>Bullet level 5</a:t>
            </a:r>
          </a:p>
        </p:txBody>
      </p:sp>
      <p:sp>
        <p:nvSpPr>
          <p:cNvPr id="14" name="Marcador de número de diapositiva 32"/>
          <p:cNvSpPr>
            <a:spLocks noGrp="1"/>
          </p:cNvSpPr>
          <p:nvPr>
            <p:ph type="sldNum" sz="quarter" idx="4"/>
          </p:nvPr>
        </p:nvSpPr>
        <p:spPr>
          <a:xfrm>
            <a:off x="11776959" y="6519616"/>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9" name="Footer Placeholder 4"/>
          <p:cNvSpPr>
            <a:spLocks noGrp="1"/>
          </p:cNvSpPr>
          <p:nvPr>
            <p:ph type="ftr" sz="quarter" idx="3"/>
          </p:nvPr>
        </p:nvSpPr>
        <p:spPr>
          <a:xfrm rot="16200000">
            <a:off x="10404202" y="4652436"/>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Title 1"/>
          <p:cNvSpPr>
            <a:spLocks noGrp="1"/>
          </p:cNvSpPr>
          <p:nvPr>
            <p:ph type="title" hasCustomPrompt="1"/>
          </p:nvPr>
        </p:nvSpPr>
        <p:spPr>
          <a:xfrm>
            <a:off x="268224" y="296869"/>
            <a:ext cx="11253216" cy="482549"/>
          </a:xfrm>
        </p:spPr>
        <p:txBody>
          <a:bodyPr anchor="t">
            <a:noAutofit/>
          </a:bodyPr>
          <a:lstStyle>
            <a:lvl1pPr>
              <a:defRPr sz="2800">
                <a:solidFill>
                  <a:schemeClr val="tx2"/>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292608" y="779416"/>
            <a:ext cx="11228613" cy="404633"/>
          </a:xfrm>
          <a:prstGeom prst="rect">
            <a:avLst/>
          </a:prstGeom>
        </p:spPr>
        <p:txBody>
          <a:bodyPr>
            <a:noAutofit/>
          </a:bodyPr>
          <a:lstStyle>
            <a:lvl1pPr marL="0" indent="0">
              <a:lnSpc>
                <a:spcPct val="100000"/>
              </a:lnSpc>
              <a:buNone/>
              <a:defRPr sz="160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2" name="Picture Placeholder 11"/>
          <p:cNvSpPr>
            <a:spLocks noGrp="1"/>
          </p:cNvSpPr>
          <p:nvPr>
            <p:ph type="pic" sz="quarter" idx="19" hasCustomPrompt="1"/>
          </p:nvPr>
        </p:nvSpPr>
        <p:spPr>
          <a:xfrm>
            <a:off x="6722269" y="1939925"/>
            <a:ext cx="4443412" cy="3992562"/>
          </a:xfrm>
          <a:custGeom>
            <a:avLst/>
            <a:gdLst>
              <a:gd name="connsiteX0" fmla="*/ 3649988 w 4443412"/>
              <a:gd name="connsiteY0" fmla="*/ 0 h 3992562"/>
              <a:gd name="connsiteX1" fmla="*/ 3667849 w 4443412"/>
              <a:gd name="connsiteY1" fmla="*/ 0 h 3992562"/>
              <a:gd name="connsiteX2" fmla="*/ 3685710 w 4443412"/>
              <a:gd name="connsiteY2" fmla="*/ 397 h 3992562"/>
              <a:gd name="connsiteX3" fmla="*/ 3703174 w 4443412"/>
              <a:gd name="connsiteY3" fmla="*/ 1588 h 3992562"/>
              <a:gd name="connsiteX4" fmla="*/ 3720638 w 4443412"/>
              <a:gd name="connsiteY4" fmla="*/ 2381 h 3992562"/>
              <a:gd name="connsiteX5" fmla="*/ 3737705 w 4443412"/>
              <a:gd name="connsiteY5" fmla="*/ 4366 h 3992562"/>
              <a:gd name="connsiteX6" fmla="*/ 3755169 w 4443412"/>
              <a:gd name="connsiteY6" fmla="*/ 7144 h 3992562"/>
              <a:gd name="connsiteX7" fmla="*/ 3771839 w 4443412"/>
              <a:gd name="connsiteY7" fmla="*/ 9525 h 3992562"/>
              <a:gd name="connsiteX8" fmla="*/ 3788510 w 4443412"/>
              <a:gd name="connsiteY8" fmla="*/ 12303 h 3992562"/>
              <a:gd name="connsiteX9" fmla="*/ 3805180 w 4443412"/>
              <a:gd name="connsiteY9" fmla="*/ 16669 h 3992562"/>
              <a:gd name="connsiteX10" fmla="*/ 3821057 w 4443412"/>
              <a:gd name="connsiteY10" fmla="*/ 20638 h 3992562"/>
              <a:gd name="connsiteX11" fmla="*/ 3836933 w 4443412"/>
              <a:gd name="connsiteY11" fmla="*/ 25003 h 3992562"/>
              <a:gd name="connsiteX12" fmla="*/ 3853206 w 4443412"/>
              <a:gd name="connsiteY12" fmla="*/ 29369 h 3992562"/>
              <a:gd name="connsiteX13" fmla="*/ 3869083 w 4443412"/>
              <a:gd name="connsiteY13" fmla="*/ 34925 h 3992562"/>
              <a:gd name="connsiteX14" fmla="*/ 3884165 w 4443412"/>
              <a:gd name="connsiteY14" fmla="*/ 40481 h 3992562"/>
              <a:gd name="connsiteX15" fmla="*/ 3899645 w 4443412"/>
              <a:gd name="connsiteY15" fmla="*/ 46434 h 3992562"/>
              <a:gd name="connsiteX16" fmla="*/ 3914331 w 4443412"/>
              <a:gd name="connsiteY16" fmla="*/ 52784 h 3992562"/>
              <a:gd name="connsiteX17" fmla="*/ 3929016 w 4443412"/>
              <a:gd name="connsiteY17" fmla="*/ 59928 h 3992562"/>
              <a:gd name="connsiteX18" fmla="*/ 3943305 w 4443412"/>
              <a:gd name="connsiteY18" fmla="*/ 67072 h 3992562"/>
              <a:gd name="connsiteX19" fmla="*/ 3957991 w 4443412"/>
              <a:gd name="connsiteY19" fmla="*/ 74613 h 3992562"/>
              <a:gd name="connsiteX20" fmla="*/ 3971883 w 4443412"/>
              <a:gd name="connsiteY20" fmla="*/ 82550 h 3992562"/>
              <a:gd name="connsiteX21" fmla="*/ 3985774 w 4443412"/>
              <a:gd name="connsiteY21" fmla="*/ 90885 h 3992562"/>
              <a:gd name="connsiteX22" fmla="*/ 3999269 w 4443412"/>
              <a:gd name="connsiteY22" fmla="*/ 100013 h 3992562"/>
              <a:gd name="connsiteX23" fmla="*/ 4012764 w 4443412"/>
              <a:gd name="connsiteY23" fmla="*/ 108744 h 3992562"/>
              <a:gd name="connsiteX24" fmla="*/ 4025862 w 4443412"/>
              <a:gd name="connsiteY24" fmla="*/ 118269 h 3992562"/>
              <a:gd name="connsiteX25" fmla="*/ 4038167 w 4443412"/>
              <a:gd name="connsiteY25" fmla="*/ 127794 h 3992562"/>
              <a:gd name="connsiteX26" fmla="*/ 4050867 w 4443412"/>
              <a:gd name="connsiteY26" fmla="*/ 137716 h 3992562"/>
              <a:gd name="connsiteX27" fmla="*/ 4063172 w 4443412"/>
              <a:gd name="connsiteY27" fmla="*/ 148431 h 3992562"/>
              <a:gd name="connsiteX28" fmla="*/ 4075476 w 4443412"/>
              <a:gd name="connsiteY28" fmla="*/ 159147 h 3992562"/>
              <a:gd name="connsiteX29" fmla="*/ 4087383 w 4443412"/>
              <a:gd name="connsiteY29" fmla="*/ 170259 h 3992562"/>
              <a:gd name="connsiteX30" fmla="*/ 4098894 w 4443412"/>
              <a:gd name="connsiteY30" fmla="*/ 181769 h 3992562"/>
              <a:gd name="connsiteX31" fmla="*/ 4109610 w 4443412"/>
              <a:gd name="connsiteY31" fmla="*/ 193278 h 3992562"/>
              <a:gd name="connsiteX32" fmla="*/ 4120724 w 4443412"/>
              <a:gd name="connsiteY32" fmla="*/ 205184 h 3992562"/>
              <a:gd name="connsiteX33" fmla="*/ 4131043 w 4443412"/>
              <a:gd name="connsiteY33" fmla="*/ 217884 h 3992562"/>
              <a:gd name="connsiteX34" fmla="*/ 4141760 w 4443412"/>
              <a:gd name="connsiteY34" fmla="*/ 230188 h 3992562"/>
              <a:gd name="connsiteX35" fmla="*/ 4151683 w 4443412"/>
              <a:gd name="connsiteY35" fmla="*/ 243284 h 3992562"/>
              <a:gd name="connsiteX36" fmla="*/ 4161605 w 4443412"/>
              <a:gd name="connsiteY36" fmla="*/ 256381 h 3992562"/>
              <a:gd name="connsiteX37" fmla="*/ 4171131 w 4443412"/>
              <a:gd name="connsiteY37" fmla="*/ 269875 h 3992562"/>
              <a:gd name="connsiteX38" fmla="*/ 4180261 w 4443412"/>
              <a:gd name="connsiteY38" fmla="*/ 283766 h 3992562"/>
              <a:gd name="connsiteX39" fmla="*/ 4188993 w 4443412"/>
              <a:gd name="connsiteY39" fmla="*/ 297656 h 3992562"/>
              <a:gd name="connsiteX40" fmla="*/ 4197725 w 4443412"/>
              <a:gd name="connsiteY40" fmla="*/ 312341 h 3992562"/>
              <a:gd name="connsiteX41" fmla="*/ 4206059 w 4443412"/>
              <a:gd name="connsiteY41" fmla="*/ 326628 h 3992562"/>
              <a:gd name="connsiteX42" fmla="*/ 4213998 w 4443412"/>
              <a:gd name="connsiteY42" fmla="*/ 341313 h 3992562"/>
              <a:gd name="connsiteX43" fmla="*/ 4221539 w 4443412"/>
              <a:gd name="connsiteY43" fmla="*/ 355997 h 3992562"/>
              <a:gd name="connsiteX44" fmla="*/ 4229081 w 4443412"/>
              <a:gd name="connsiteY44" fmla="*/ 371475 h 3992562"/>
              <a:gd name="connsiteX45" fmla="*/ 4236225 w 4443412"/>
              <a:gd name="connsiteY45" fmla="*/ 386953 h 3992562"/>
              <a:gd name="connsiteX46" fmla="*/ 4242575 w 4443412"/>
              <a:gd name="connsiteY46" fmla="*/ 403225 h 3992562"/>
              <a:gd name="connsiteX47" fmla="*/ 4248926 w 4443412"/>
              <a:gd name="connsiteY47" fmla="*/ 419100 h 3992562"/>
              <a:gd name="connsiteX48" fmla="*/ 4254879 w 4443412"/>
              <a:gd name="connsiteY48" fmla="*/ 434975 h 3992562"/>
              <a:gd name="connsiteX49" fmla="*/ 4260437 w 4443412"/>
              <a:gd name="connsiteY49" fmla="*/ 451644 h 3992562"/>
              <a:gd name="connsiteX50" fmla="*/ 4265993 w 4443412"/>
              <a:gd name="connsiteY50" fmla="*/ 468709 h 3992562"/>
              <a:gd name="connsiteX51" fmla="*/ 4271153 w 4443412"/>
              <a:gd name="connsiteY51" fmla="*/ 484981 h 3992562"/>
              <a:gd name="connsiteX52" fmla="*/ 4275916 w 4443412"/>
              <a:gd name="connsiteY52" fmla="*/ 502444 h 3992562"/>
              <a:gd name="connsiteX53" fmla="*/ 4279885 w 4443412"/>
              <a:gd name="connsiteY53" fmla="*/ 519509 h 3992562"/>
              <a:gd name="connsiteX54" fmla="*/ 4283854 w 4443412"/>
              <a:gd name="connsiteY54" fmla="*/ 536972 h 3992562"/>
              <a:gd name="connsiteX55" fmla="*/ 4287823 w 4443412"/>
              <a:gd name="connsiteY55" fmla="*/ 554434 h 3992562"/>
              <a:gd name="connsiteX56" fmla="*/ 4290999 w 4443412"/>
              <a:gd name="connsiteY56" fmla="*/ 572294 h 3992562"/>
              <a:gd name="connsiteX57" fmla="*/ 4294173 w 4443412"/>
              <a:gd name="connsiteY57" fmla="*/ 590550 h 3992562"/>
              <a:gd name="connsiteX58" fmla="*/ 4296555 w 4443412"/>
              <a:gd name="connsiteY58" fmla="*/ 608806 h 3992562"/>
              <a:gd name="connsiteX59" fmla="*/ 4298539 w 4443412"/>
              <a:gd name="connsiteY59" fmla="*/ 627063 h 3992562"/>
              <a:gd name="connsiteX60" fmla="*/ 4300525 w 4443412"/>
              <a:gd name="connsiteY60" fmla="*/ 645319 h 3992562"/>
              <a:gd name="connsiteX61" fmla="*/ 4439840 w 4443412"/>
              <a:gd name="connsiteY61" fmla="*/ 2872581 h 3992562"/>
              <a:gd name="connsiteX62" fmla="*/ 4441825 w 4443412"/>
              <a:gd name="connsiteY62" fmla="*/ 2916634 h 3992562"/>
              <a:gd name="connsiteX63" fmla="*/ 4442618 w 4443412"/>
              <a:gd name="connsiteY63" fmla="*/ 2959100 h 3992562"/>
              <a:gd name="connsiteX64" fmla="*/ 4443412 w 4443412"/>
              <a:gd name="connsiteY64" fmla="*/ 3000375 h 3992562"/>
              <a:gd name="connsiteX65" fmla="*/ 4443412 w 4443412"/>
              <a:gd name="connsiteY65" fmla="*/ 3041650 h 3992562"/>
              <a:gd name="connsiteX66" fmla="*/ 4442618 w 4443412"/>
              <a:gd name="connsiteY66" fmla="*/ 3081337 h 3992562"/>
              <a:gd name="connsiteX67" fmla="*/ 4440633 w 4443412"/>
              <a:gd name="connsiteY67" fmla="*/ 3121025 h 3992562"/>
              <a:gd name="connsiteX68" fmla="*/ 4439443 w 4443412"/>
              <a:gd name="connsiteY68" fmla="*/ 3140472 h 3992562"/>
              <a:gd name="connsiteX69" fmla="*/ 4437855 w 4443412"/>
              <a:gd name="connsiteY69" fmla="*/ 3159918 h 3992562"/>
              <a:gd name="connsiteX70" fmla="*/ 4435871 w 4443412"/>
              <a:gd name="connsiteY70" fmla="*/ 3179365 h 3992562"/>
              <a:gd name="connsiteX71" fmla="*/ 4433489 w 4443412"/>
              <a:gd name="connsiteY71" fmla="*/ 3198812 h 3992562"/>
              <a:gd name="connsiteX72" fmla="*/ 4430711 w 4443412"/>
              <a:gd name="connsiteY72" fmla="*/ 3218259 h 3992562"/>
              <a:gd name="connsiteX73" fmla="*/ 4427933 w 4443412"/>
              <a:gd name="connsiteY73" fmla="*/ 3237309 h 3992562"/>
              <a:gd name="connsiteX74" fmla="*/ 4424757 w 4443412"/>
              <a:gd name="connsiteY74" fmla="*/ 3256756 h 3992562"/>
              <a:gd name="connsiteX75" fmla="*/ 4420788 w 4443412"/>
              <a:gd name="connsiteY75" fmla="*/ 3276203 h 3992562"/>
              <a:gd name="connsiteX76" fmla="*/ 4416819 w 4443412"/>
              <a:gd name="connsiteY76" fmla="*/ 3295253 h 3992562"/>
              <a:gd name="connsiteX77" fmla="*/ 4412453 w 4443412"/>
              <a:gd name="connsiteY77" fmla="*/ 3314700 h 3992562"/>
              <a:gd name="connsiteX78" fmla="*/ 4407293 w 4443412"/>
              <a:gd name="connsiteY78" fmla="*/ 3334147 h 3992562"/>
              <a:gd name="connsiteX79" fmla="*/ 4401737 w 4443412"/>
              <a:gd name="connsiteY79" fmla="*/ 3353593 h 3992562"/>
              <a:gd name="connsiteX80" fmla="*/ 4395783 w 4443412"/>
              <a:gd name="connsiteY80" fmla="*/ 3373040 h 3992562"/>
              <a:gd name="connsiteX81" fmla="*/ 4389432 w 4443412"/>
              <a:gd name="connsiteY81" fmla="*/ 3392487 h 3992562"/>
              <a:gd name="connsiteX82" fmla="*/ 4382288 w 4443412"/>
              <a:gd name="connsiteY82" fmla="*/ 3412331 h 3992562"/>
              <a:gd name="connsiteX83" fmla="*/ 4374747 w 4443412"/>
              <a:gd name="connsiteY83" fmla="*/ 3432175 h 3992562"/>
              <a:gd name="connsiteX84" fmla="*/ 4366809 w 4443412"/>
              <a:gd name="connsiteY84" fmla="*/ 3452018 h 3992562"/>
              <a:gd name="connsiteX85" fmla="*/ 4358473 w 4443412"/>
              <a:gd name="connsiteY85" fmla="*/ 3472259 h 3992562"/>
              <a:gd name="connsiteX86" fmla="*/ 4349344 w 4443412"/>
              <a:gd name="connsiteY86" fmla="*/ 3492500 h 3992562"/>
              <a:gd name="connsiteX87" fmla="*/ 4339819 w 4443412"/>
              <a:gd name="connsiteY87" fmla="*/ 3513137 h 3992562"/>
              <a:gd name="connsiteX88" fmla="*/ 4329499 w 4443412"/>
              <a:gd name="connsiteY88" fmla="*/ 3534172 h 3992562"/>
              <a:gd name="connsiteX89" fmla="*/ 4318385 w 4443412"/>
              <a:gd name="connsiteY89" fmla="*/ 3554809 h 3992562"/>
              <a:gd name="connsiteX90" fmla="*/ 4306875 w 4443412"/>
              <a:gd name="connsiteY90" fmla="*/ 3575447 h 3992562"/>
              <a:gd name="connsiteX91" fmla="*/ 4294967 w 4443412"/>
              <a:gd name="connsiteY91" fmla="*/ 3595290 h 3992562"/>
              <a:gd name="connsiteX92" fmla="*/ 4283060 w 4443412"/>
              <a:gd name="connsiteY92" fmla="*/ 3615531 h 3992562"/>
              <a:gd name="connsiteX93" fmla="*/ 4269962 w 4443412"/>
              <a:gd name="connsiteY93" fmla="*/ 3634978 h 3992562"/>
              <a:gd name="connsiteX94" fmla="*/ 4256864 w 4443412"/>
              <a:gd name="connsiteY94" fmla="*/ 3654028 h 3992562"/>
              <a:gd name="connsiteX95" fmla="*/ 4242972 w 4443412"/>
              <a:gd name="connsiteY95" fmla="*/ 3672284 h 3992562"/>
              <a:gd name="connsiteX96" fmla="*/ 4229081 w 4443412"/>
              <a:gd name="connsiteY96" fmla="*/ 3690937 h 3992562"/>
              <a:gd name="connsiteX97" fmla="*/ 4214791 w 4443412"/>
              <a:gd name="connsiteY97" fmla="*/ 3708797 h 3992562"/>
              <a:gd name="connsiteX98" fmla="*/ 4199709 w 4443412"/>
              <a:gd name="connsiteY98" fmla="*/ 3726259 h 3992562"/>
              <a:gd name="connsiteX99" fmla="*/ 4184627 w 4443412"/>
              <a:gd name="connsiteY99" fmla="*/ 3743325 h 3992562"/>
              <a:gd name="connsiteX100" fmla="*/ 4168750 w 4443412"/>
              <a:gd name="connsiteY100" fmla="*/ 3760390 h 3992562"/>
              <a:gd name="connsiteX101" fmla="*/ 4152873 w 4443412"/>
              <a:gd name="connsiteY101" fmla="*/ 3776265 h 3992562"/>
              <a:gd name="connsiteX102" fmla="*/ 4136203 w 4443412"/>
              <a:gd name="connsiteY102" fmla="*/ 3792140 h 3992562"/>
              <a:gd name="connsiteX103" fmla="*/ 4119136 w 4443412"/>
              <a:gd name="connsiteY103" fmla="*/ 3807222 h 3992562"/>
              <a:gd name="connsiteX104" fmla="*/ 4101672 w 4443412"/>
              <a:gd name="connsiteY104" fmla="*/ 3822303 h 3992562"/>
              <a:gd name="connsiteX105" fmla="*/ 4083811 w 4443412"/>
              <a:gd name="connsiteY105" fmla="*/ 3836193 h 3992562"/>
              <a:gd name="connsiteX106" fmla="*/ 4065950 w 4443412"/>
              <a:gd name="connsiteY106" fmla="*/ 3850084 h 3992562"/>
              <a:gd name="connsiteX107" fmla="*/ 4047295 w 4443412"/>
              <a:gd name="connsiteY107" fmla="*/ 3863181 h 3992562"/>
              <a:gd name="connsiteX108" fmla="*/ 4028244 w 4443412"/>
              <a:gd name="connsiteY108" fmla="*/ 3875484 h 3992562"/>
              <a:gd name="connsiteX109" fmla="*/ 4008795 w 4443412"/>
              <a:gd name="connsiteY109" fmla="*/ 3888184 h 3992562"/>
              <a:gd name="connsiteX110" fmla="*/ 3989347 w 4443412"/>
              <a:gd name="connsiteY110" fmla="*/ 3899693 h 3992562"/>
              <a:gd name="connsiteX111" fmla="*/ 3969501 w 4443412"/>
              <a:gd name="connsiteY111" fmla="*/ 3910012 h 3992562"/>
              <a:gd name="connsiteX112" fmla="*/ 3948862 w 4443412"/>
              <a:gd name="connsiteY112" fmla="*/ 3920728 h 3992562"/>
              <a:gd name="connsiteX113" fmla="*/ 3927825 w 4443412"/>
              <a:gd name="connsiteY113" fmla="*/ 3930253 h 3992562"/>
              <a:gd name="connsiteX114" fmla="*/ 3907186 w 4443412"/>
              <a:gd name="connsiteY114" fmla="*/ 3938984 h 3992562"/>
              <a:gd name="connsiteX115" fmla="*/ 3885356 w 4443412"/>
              <a:gd name="connsiteY115" fmla="*/ 3947715 h 3992562"/>
              <a:gd name="connsiteX116" fmla="*/ 3863526 w 4443412"/>
              <a:gd name="connsiteY116" fmla="*/ 3955256 h 3992562"/>
              <a:gd name="connsiteX117" fmla="*/ 3840902 w 4443412"/>
              <a:gd name="connsiteY117" fmla="*/ 3962400 h 3992562"/>
              <a:gd name="connsiteX118" fmla="*/ 3818675 w 4443412"/>
              <a:gd name="connsiteY118" fmla="*/ 3968750 h 3992562"/>
              <a:gd name="connsiteX119" fmla="*/ 3795654 w 4443412"/>
              <a:gd name="connsiteY119" fmla="*/ 3973909 h 3992562"/>
              <a:gd name="connsiteX120" fmla="*/ 3768664 w 4443412"/>
              <a:gd name="connsiteY120" fmla="*/ 3980259 h 3992562"/>
              <a:gd name="connsiteX121" fmla="*/ 3741277 w 4443412"/>
              <a:gd name="connsiteY121" fmla="*/ 3984625 h 3992562"/>
              <a:gd name="connsiteX122" fmla="*/ 3714287 w 4443412"/>
              <a:gd name="connsiteY122" fmla="*/ 3988197 h 3992562"/>
              <a:gd name="connsiteX123" fmla="*/ 3686901 w 4443412"/>
              <a:gd name="connsiteY123" fmla="*/ 3990578 h 3992562"/>
              <a:gd name="connsiteX124" fmla="*/ 3659117 w 4443412"/>
              <a:gd name="connsiteY124" fmla="*/ 3992165 h 3992562"/>
              <a:gd name="connsiteX125" fmla="*/ 3631730 w 4443412"/>
              <a:gd name="connsiteY125" fmla="*/ 3992562 h 3992562"/>
              <a:gd name="connsiteX126" fmla="*/ 3604343 w 4443412"/>
              <a:gd name="connsiteY126" fmla="*/ 3992562 h 3992562"/>
              <a:gd name="connsiteX127" fmla="*/ 3576560 w 4443412"/>
              <a:gd name="connsiteY127" fmla="*/ 3990975 h 3992562"/>
              <a:gd name="connsiteX128" fmla="*/ 3548379 w 4443412"/>
              <a:gd name="connsiteY128" fmla="*/ 3988990 h 3992562"/>
              <a:gd name="connsiteX129" fmla="*/ 3520595 w 4443412"/>
              <a:gd name="connsiteY129" fmla="*/ 3986609 h 3992562"/>
              <a:gd name="connsiteX130" fmla="*/ 3492415 w 4443412"/>
              <a:gd name="connsiteY130" fmla="*/ 3982640 h 3992562"/>
              <a:gd name="connsiteX131" fmla="*/ 3464631 w 4443412"/>
              <a:gd name="connsiteY131" fmla="*/ 3978672 h 3992562"/>
              <a:gd name="connsiteX132" fmla="*/ 3436053 w 4443412"/>
              <a:gd name="connsiteY132" fmla="*/ 3973115 h 3992562"/>
              <a:gd name="connsiteX133" fmla="*/ 3407476 w 4443412"/>
              <a:gd name="connsiteY133" fmla="*/ 3967559 h 3992562"/>
              <a:gd name="connsiteX134" fmla="*/ 3379295 w 4443412"/>
              <a:gd name="connsiteY134" fmla="*/ 3961209 h 3992562"/>
              <a:gd name="connsiteX135" fmla="*/ 3350321 w 4443412"/>
              <a:gd name="connsiteY135" fmla="*/ 3954065 h 3992562"/>
              <a:gd name="connsiteX136" fmla="*/ 3321346 w 4443412"/>
              <a:gd name="connsiteY136" fmla="*/ 3946128 h 3992562"/>
              <a:gd name="connsiteX137" fmla="*/ 3291975 w 4443412"/>
              <a:gd name="connsiteY137" fmla="*/ 3938190 h 3992562"/>
              <a:gd name="connsiteX138" fmla="*/ 3263001 w 4443412"/>
              <a:gd name="connsiteY138" fmla="*/ 3929062 h 3992562"/>
              <a:gd name="connsiteX139" fmla="*/ 3233232 w 4443412"/>
              <a:gd name="connsiteY139" fmla="*/ 3919537 h 3992562"/>
              <a:gd name="connsiteX140" fmla="*/ 3203464 w 4443412"/>
              <a:gd name="connsiteY140" fmla="*/ 3910012 h 3992562"/>
              <a:gd name="connsiteX141" fmla="*/ 3173299 w 4443412"/>
              <a:gd name="connsiteY141" fmla="*/ 3899693 h 3992562"/>
              <a:gd name="connsiteX142" fmla="*/ 3112571 w 4443412"/>
              <a:gd name="connsiteY142" fmla="*/ 3878262 h 3992562"/>
              <a:gd name="connsiteX143" fmla="*/ 3051050 w 4443412"/>
              <a:gd name="connsiteY143" fmla="*/ 3855243 h 3992562"/>
              <a:gd name="connsiteX144" fmla="*/ 2988735 w 4443412"/>
              <a:gd name="connsiteY144" fmla="*/ 3831034 h 3992562"/>
              <a:gd name="connsiteX145" fmla="*/ 2860533 w 4443412"/>
              <a:gd name="connsiteY145" fmla="*/ 3780631 h 3992562"/>
              <a:gd name="connsiteX146" fmla="*/ 818429 w 4443412"/>
              <a:gd name="connsiteY146" fmla="*/ 2887662 h 3992562"/>
              <a:gd name="connsiteX147" fmla="*/ 753733 w 4443412"/>
              <a:gd name="connsiteY147" fmla="*/ 2858294 h 3992562"/>
              <a:gd name="connsiteX148" fmla="*/ 686655 w 4443412"/>
              <a:gd name="connsiteY148" fmla="*/ 2828131 h 3992562"/>
              <a:gd name="connsiteX149" fmla="*/ 617593 w 4443412"/>
              <a:gd name="connsiteY149" fmla="*/ 2797175 h 3992562"/>
              <a:gd name="connsiteX150" fmla="*/ 582665 w 4443412"/>
              <a:gd name="connsiteY150" fmla="*/ 2781300 h 3992562"/>
              <a:gd name="connsiteX151" fmla="*/ 548133 w 4443412"/>
              <a:gd name="connsiteY151" fmla="*/ 2765425 h 3992562"/>
              <a:gd name="connsiteX152" fmla="*/ 513205 w 4443412"/>
              <a:gd name="connsiteY152" fmla="*/ 2748359 h 3992562"/>
              <a:gd name="connsiteX153" fmla="*/ 479071 w 4443412"/>
              <a:gd name="connsiteY153" fmla="*/ 2730897 h 3992562"/>
              <a:gd name="connsiteX154" fmla="*/ 444937 w 4443412"/>
              <a:gd name="connsiteY154" fmla="*/ 2712640 h 3992562"/>
              <a:gd name="connsiteX155" fmla="*/ 410803 w 4443412"/>
              <a:gd name="connsiteY155" fmla="*/ 2694384 h 3992562"/>
              <a:gd name="connsiteX156" fmla="*/ 377859 w 4443412"/>
              <a:gd name="connsiteY156" fmla="*/ 2675334 h 3992562"/>
              <a:gd name="connsiteX157" fmla="*/ 345709 w 4443412"/>
              <a:gd name="connsiteY157" fmla="*/ 2655490 h 3992562"/>
              <a:gd name="connsiteX158" fmla="*/ 313559 w 4443412"/>
              <a:gd name="connsiteY158" fmla="*/ 2634853 h 3992562"/>
              <a:gd name="connsiteX159" fmla="*/ 298080 w 4443412"/>
              <a:gd name="connsiteY159" fmla="*/ 2623740 h 3992562"/>
              <a:gd name="connsiteX160" fmla="*/ 282600 w 4443412"/>
              <a:gd name="connsiteY160" fmla="*/ 2613422 h 3992562"/>
              <a:gd name="connsiteX161" fmla="*/ 267518 w 4443412"/>
              <a:gd name="connsiteY161" fmla="*/ 2602309 h 3992562"/>
              <a:gd name="connsiteX162" fmla="*/ 252832 w 4443412"/>
              <a:gd name="connsiteY162" fmla="*/ 2590800 h 3992562"/>
              <a:gd name="connsiteX163" fmla="*/ 238146 w 4443412"/>
              <a:gd name="connsiteY163" fmla="*/ 2579290 h 3992562"/>
              <a:gd name="connsiteX164" fmla="*/ 223858 w 4443412"/>
              <a:gd name="connsiteY164" fmla="*/ 2567781 h 3992562"/>
              <a:gd name="connsiteX165" fmla="*/ 209569 w 4443412"/>
              <a:gd name="connsiteY165" fmla="*/ 2555875 h 3992562"/>
              <a:gd name="connsiteX166" fmla="*/ 196074 w 4443412"/>
              <a:gd name="connsiteY166" fmla="*/ 2543572 h 3992562"/>
              <a:gd name="connsiteX167" fmla="*/ 182579 w 4443412"/>
              <a:gd name="connsiteY167" fmla="*/ 2530872 h 3992562"/>
              <a:gd name="connsiteX168" fmla="*/ 169878 w 4443412"/>
              <a:gd name="connsiteY168" fmla="*/ 2518569 h 3992562"/>
              <a:gd name="connsiteX169" fmla="*/ 157177 w 4443412"/>
              <a:gd name="connsiteY169" fmla="*/ 2505472 h 3992562"/>
              <a:gd name="connsiteX170" fmla="*/ 144873 w 4443412"/>
              <a:gd name="connsiteY170" fmla="*/ 2491978 h 3992562"/>
              <a:gd name="connsiteX171" fmla="*/ 133362 w 4443412"/>
              <a:gd name="connsiteY171" fmla="*/ 2478484 h 3992562"/>
              <a:gd name="connsiteX172" fmla="*/ 121852 w 4443412"/>
              <a:gd name="connsiteY172" fmla="*/ 2464594 h 3992562"/>
              <a:gd name="connsiteX173" fmla="*/ 110738 w 4443412"/>
              <a:gd name="connsiteY173" fmla="*/ 2450703 h 3992562"/>
              <a:gd name="connsiteX174" fmla="*/ 100419 w 4443412"/>
              <a:gd name="connsiteY174" fmla="*/ 2436019 h 3992562"/>
              <a:gd name="connsiteX175" fmla="*/ 89702 w 4443412"/>
              <a:gd name="connsiteY175" fmla="*/ 2421731 h 3992562"/>
              <a:gd name="connsiteX176" fmla="*/ 80573 w 4443412"/>
              <a:gd name="connsiteY176" fmla="*/ 2406650 h 3992562"/>
              <a:gd name="connsiteX177" fmla="*/ 71047 w 4443412"/>
              <a:gd name="connsiteY177" fmla="*/ 2391172 h 3992562"/>
              <a:gd name="connsiteX178" fmla="*/ 62315 w 4443412"/>
              <a:gd name="connsiteY178" fmla="*/ 2375297 h 3992562"/>
              <a:gd name="connsiteX179" fmla="*/ 54377 w 4443412"/>
              <a:gd name="connsiteY179" fmla="*/ 2359025 h 3992562"/>
              <a:gd name="connsiteX180" fmla="*/ 46439 w 4443412"/>
              <a:gd name="connsiteY180" fmla="*/ 2343150 h 3992562"/>
              <a:gd name="connsiteX181" fmla="*/ 39294 w 4443412"/>
              <a:gd name="connsiteY181" fmla="*/ 2326084 h 3992562"/>
              <a:gd name="connsiteX182" fmla="*/ 32944 w 4443412"/>
              <a:gd name="connsiteY182" fmla="*/ 2309415 h 3992562"/>
              <a:gd name="connsiteX183" fmla="*/ 26990 w 4443412"/>
              <a:gd name="connsiteY183" fmla="*/ 2292350 h 3992562"/>
              <a:gd name="connsiteX184" fmla="*/ 21433 w 4443412"/>
              <a:gd name="connsiteY184" fmla="*/ 2274094 h 3992562"/>
              <a:gd name="connsiteX185" fmla="*/ 16670 w 4443412"/>
              <a:gd name="connsiteY185" fmla="*/ 2256234 h 3992562"/>
              <a:gd name="connsiteX186" fmla="*/ 11908 w 4443412"/>
              <a:gd name="connsiteY186" fmla="*/ 2237978 h 3992562"/>
              <a:gd name="connsiteX187" fmla="*/ 8335 w 4443412"/>
              <a:gd name="connsiteY187" fmla="*/ 2218928 h 3992562"/>
              <a:gd name="connsiteX188" fmla="*/ 5557 w 4443412"/>
              <a:gd name="connsiteY188" fmla="*/ 2199878 h 3992562"/>
              <a:gd name="connsiteX189" fmla="*/ 3176 w 4443412"/>
              <a:gd name="connsiteY189" fmla="*/ 2180034 h 3992562"/>
              <a:gd name="connsiteX190" fmla="*/ 1588 w 4443412"/>
              <a:gd name="connsiteY190" fmla="*/ 2159794 h 3992562"/>
              <a:gd name="connsiteX191" fmla="*/ 397 w 4443412"/>
              <a:gd name="connsiteY191" fmla="*/ 2139553 h 3992562"/>
              <a:gd name="connsiteX192" fmla="*/ 0 w 4443412"/>
              <a:gd name="connsiteY192" fmla="*/ 2118915 h 3992562"/>
              <a:gd name="connsiteX193" fmla="*/ 0 w 4443412"/>
              <a:gd name="connsiteY193" fmla="*/ 1397794 h 3992562"/>
              <a:gd name="connsiteX194" fmla="*/ 0 w 4443412"/>
              <a:gd name="connsiteY194" fmla="*/ 1352153 h 3992562"/>
              <a:gd name="connsiteX195" fmla="*/ 397 w 4443412"/>
              <a:gd name="connsiteY195" fmla="*/ 1307703 h 3992562"/>
              <a:gd name="connsiteX196" fmla="*/ 1985 w 4443412"/>
              <a:gd name="connsiteY196" fmla="*/ 1263253 h 3992562"/>
              <a:gd name="connsiteX197" fmla="*/ 3572 w 4443412"/>
              <a:gd name="connsiteY197" fmla="*/ 1219200 h 3992562"/>
              <a:gd name="connsiteX198" fmla="*/ 6351 w 4443412"/>
              <a:gd name="connsiteY198" fmla="*/ 1176338 h 3992562"/>
              <a:gd name="connsiteX199" fmla="*/ 8335 w 4443412"/>
              <a:gd name="connsiteY199" fmla="*/ 1154509 h 3992562"/>
              <a:gd name="connsiteX200" fmla="*/ 10320 w 4443412"/>
              <a:gd name="connsiteY200" fmla="*/ 1133475 h 3992562"/>
              <a:gd name="connsiteX201" fmla="*/ 13098 w 4443412"/>
              <a:gd name="connsiteY201" fmla="*/ 1112044 h 3992562"/>
              <a:gd name="connsiteX202" fmla="*/ 15877 w 4443412"/>
              <a:gd name="connsiteY202" fmla="*/ 1091009 h 3992562"/>
              <a:gd name="connsiteX203" fmla="*/ 19052 w 4443412"/>
              <a:gd name="connsiteY203" fmla="*/ 1069975 h 3992562"/>
              <a:gd name="connsiteX204" fmla="*/ 23021 w 4443412"/>
              <a:gd name="connsiteY204" fmla="*/ 1048941 h 3992562"/>
              <a:gd name="connsiteX205" fmla="*/ 26990 w 4443412"/>
              <a:gd name="connsiteY205" fmla="*/ 1027906 h 3992562"/>
              <a:gd name="connsiteX206" fmla="*/ 31356 w 4443412"/>
              <a:gd name="connsiteY206" fmla="*/ 1007666 h 3992562"/>
              <a:gd name="connsiteX207" fmla="*/ 36516 w 4443412"/>
              <a:gd name="connsiteY207" fmla="*/ 986631 h 3992562"/>
              <a:gd name="connsiteX208" fmla="*/ 42073 w 4443412"/>
              <a:gd name="connsiteY208" fmla="*/ 965994 h 3992562"/>
              <a:gd name="connsiteX209" fmla="*/ 48026 w 4443412"/>
              <a:gd name="connsiteY209" fmla="*/ 945753 h 3992562"/>
              <a:gd name="connsiteX210" fmla="*/ 54377 w 4443412"/>
              <a:gd name="connsiteY210" fmla="*/ 925513 h 3992562"/>
              <a:gd name="connsiteX211" fmla="*/ 61918 w 4443412"/>
              <a:gd name="connsiteY211" fmla="*/ 905272 h 3992562"/>
              <a:gd name="connsiteX212" fmla="*/ 69856 w 4443412"/>
              <a:gd name="connsiteY212" fmla="*/ 885031 h 3992562"/>
              <a:gd name="connsiteX213" fmla="*/ 77795 w 4443412"/>
              <a:gd name="connsiteY213" fmla="*/ 865188 h 3992562"/>
              <a:gd name="connsiteX214" fmla="*/ 87321 w 4443412"/>
              <a:gd name="connsiteY214" fmla="*/ 845344 h 3992562"/>
              <a:gd name="connsiteX215" fmla="*/ 96846 w 4443412"/>
              <a:gd name="connsiteY215" fmla="*/ 825500 h 3992562"/>
              <a:gd name="connsiteX216" fmla="*/ 107166 w 4443412"/>
              <a:gd name="connsiteY216" fmla="*/ 805656 h 3992562"/>
              <a:gd name="connsiteX217" fmla="*/ 118676 w 4443412"/>
              <a:gd name="connsiteY217" fmla="*/ 786209 h 3992562"/>
              <a:gd name="connsiteX218" fmla="*/ 130981 w 4443412"/>
              <a:gd name="connsiteY218" fmla="*/ 766763 h 3992562"/>
              <a:gd name="connsiteX219" fmla="*/ 143285 w 4443412"/>
              <a:gd name="connsiteY219" fmla="*/ 747713 h 3992562"/>
              <a:gd name="connsiteX220" fmla="*/ 156780 w 4443412"/>
              <a:gd name="connsiteY220" fmla="*/ 728266 h 3992562"/>
              <a:gd name="connsiteX221" fmla="*/ 166703 w 4443412"/>
              <a:gd name="connsiteY221" fmla="*/ 715169 h 3992562"/>
              <a:gd name="connsiteX222" fmla="*/ 176625 w 4443412"/>
              <a:gd name="connsiteY222" fmla="*/ 702469 h 3992562"/>
              <a:gd name="connsiteX223" fmla="*/ 187342 w 4443412"/>
              <a:gd name="connsiteY223" fmla="*/ 689769 h 3992562"/>
              <a:gd name="connsiteX224" fmla="*/ 197265 w 4443412"/>
              <a:gd name="connsiteY224" fmla="*/ 677863 h 3992562"/>
              <a:gd name="connsiteX225" fmla="*/ 208378 w 4443412"/>
              <a:gd name="connsiteY225" fmla="*/ 666353 h 3992562"/>
              <a:gd name="connsiteX226" fmla="*/ 219095 w 4443412"/>
              <a:gd name="connsiteY226" fmla="*/ 654844 h 3992562"/>
              <a:gd name="connsiteX227" fmla="*/ 230208 w 4443412"/>
              <a:gd name="connsiteY227" fmla="*/ 643731 h 3992562"/>
              <a:gd name="connsiteX228" fmla="*/ 241322 w 4443412"/>
              <a:gd name="connsiteY228" fmla="*/ 633016 h 3992562"/>
              <a:gd name="connsiteX229" fmla="*/ 252832 w 4443412"/>
              <a:gd name="connsiteY229" fmla="*/ 622697 h 3992562"/>
              <a:gd name="connsiteX230" fmla="*/ 264343 w 4443412"/>
              <a:gd name="connsiteY230" fmla="*/ 612378 h 3992562"/>
              <a:gd name="connsiteX231" fmla="*/ 276250 w 4443412"/>
              <a:gd name="connsiteY231" fmla="*/ 602853 h 3992562"/>
              <a:gd name="connsiteX232" fmla="*/ 288157 w 4443412"/>
              <a:gd name="connsiteY232" fmla="*/ 593328 h 3992562"/>
              <a:gd name="connsiteX233" fmla="*/ 300065 w 4443412"/>
              <a:gd name="connsiteY233" fmla="*/ 583803 h 3992562"/>
              <a:gd name="connsiteX234" fmla="*/ 312766 w 4443412"/>
              <a:gd name="connsiteY234" fmla="*/ 575072 h 3992562"/>
              <a:gd name="connsiteX235" fmla="*/ 325070 w 4443412"/>
              <a:gd name="connsiteY235" fmla="*/ 566341 h 3992562"/>
              <a:gd name="connsiteX236" fmla="*/ 337374 w 4443412"/>
              <a:gd name="connsiteY236" fmla="*/ 558006 h 3992562"/>
              <a:gd name="connsiteX237" fmla="*/ 350472 w 4443412"/>
              <a:gd name="connsiteY237" fmla="*/ 550069 h 3992562"/>
              <a:gd name="connsiteX238" fmla="*/ 363570 w 4443412"/>
              <a:gd name="connsiteY238" fmla="*/ 542131 h 3992562"/>
              <a:gd name="connsiteX239" fmla="*/ 390163 w 4443412"/>
              <a:gd name="connsiteY239" fmla="*/ 527050 h 3992562"/>
              <a:gd name="connsiteX240" fmla="*/ 417153 w 4443412"/>
              <a:gd name="connsiteY240" fmla="*/ 513159 h 3992562"/>
              <a:gd name="connsiteX241" fmla="*/ 444540 w 4443412"/>
              <a:gd name="connsiteY241" fmla="*/ 499666 h 3992562"/>
              <a:gd name="connsiteX242" fmla="*/ 472324 w 4443412"/>
              <a:gd name="connsiteY242" fmla="*/ 487363 h 3992562"/>
              <a:gd name="connsiteX243" fmla="*/ 500504 w 4443412"/>
              <a:gd name="connsiteY243" fmla="*/ 475853 h 3992562"/>
              <a:gd name="connsiteX244" fmla="*/ 529479 w 4443412"/>
              <a:gd name="connsiteY244" fmla="*/ 465534 h 3992562"/>
              <a:gd name="connsiteX245" fmla="*/ 558850 w 4443412"/>
              <a:gd name="connsiteY245" fmla="*/ 455613 h 3992562"/>
              <a:gd name="connsiteX246" fmla="*/ 588221 w 4443412"/>
              <a:gd name="connsiteY246" fmla="*/ 446088 h 3992562"/>
              <a:gd name="connsiteX247" fmla="*/ 618387 w 4443412"/>
              <a:gd name="connsiteY247" fmla="*/ 437753 h 3992562"/>
              <a:gd name="connsiteX248" fmla="*/ 648155 w 4443412"/>
              <a:gd name="connsiteY248" fmla="*/ 429022 h 3992562"/>
              <a:gd name="connsiteX249" fmla="*/ 678717 w 4443412"/>
              <a:gd name="connsiteY249" fmla="*/ 421481 h 3992562"/>
              <a:gd name="connsiteX250" fmla="*/ 709279 w 4443412"/>
              <a:gd name="connsiteY250" fmla="*/ 414734 h 3992562"/>
              <a:gd name="connsiteX251" fmla="*/ 740238 w 4443412"/>
              <a:gd name="connsiteY251" fmla="*/ 407988 h 3992562"/>
              <a:gd name="connsiteX252" fmla="*/ 771197 w 4443412"/>
              <a:gd name="connsiteY252" fmla="*/ 401638 h 3992562"/>
              <a:gd name="connsiteX253" fmla="*/ 802156 w 4443412"/>
              <a:gd name="connsiteY253" fmla="*/ 395684 h 3992562"/>
              <a:gd name="connsiteX254" fmla="*/ 864471 w 4443412"/>
              <a:gd name="connsiteY254" fmla="*/ 384572 h 3992562"/>
              <a:gd name="connsiteX255" fmla="*/ 926786 w 4443412"/>
              <a:gd name="connsiteY255" fmla="*/ 374650 h 3992562"/>
              <a:gd name="connsiteX256" fmla="*/ 1050622 w 4443412"/>
              <a:gd name="connsiteY256" fmla="*/ 354806 h 3992562"/>
              <a:gd name="connsiteX257" fmla="*/ 3575766 w 4443412"/>
              <a:gd name="connsiteY257" fmla="*/ 5160 h 3992562"/>
              <a:gd name="connsiteX258" fmla="*/ 3594817 w 4443412"/>
              <a:gd name="connsiteY258" fmla="*/ 3175 h 3992562"/>
              <a:gd name="connsiteX259" fmla="*/ 3613472 w 4443412"/>
              <a:gd name="connsiteY259" fmla="*/ 1588 h 3992562"/>
              <a:gd name="connsiteX260" fmla="*/ 3631333 w 4443412"/>
              <a:gd name="connsiteY260" fmla="*/ 397 h 39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Lst>
            <a:rect l="l" t="t" r="r" b="b"/>
            <a:pathLst>
              <a:path w="4443412" h="3992562">
                <a:moveTo>
                  <a:pt x="3649988" y="0"/>
                </a:moveTo>
                <a:lnTo>
                  <a:pt x="3667849" y="0"/>
                </a:lnTo>
                <a:lnTo>
                  <a:pt x="3685710" y="397"/>
                </a:lnTo>
                <a:lnTo>
                  <a:pt x="3703174" y="1588"/>
                </a:lnTo>
                <a:lnTo>
                  <a:pt x="3720638" y="2381"/>
                </a:lnTo>
                <a:lnTo>
                  <a:pt x="3737705" y="4366"/>
                </a:lnTo>
                <a:lnTo>
                  <a:pt x="3755169" y="7144"/>
                </a:lnTo>
                <a:lnTo>
                  <a:pt x="3771839" y="9525"/>
                </a:lnTo>
                <a:lnTo>
                  <a:pt x="3788510" y="12303"/>
                </a:lnTo>
                <a:lnTo>
                  <a:pt x="3805180" y="16669"/>
                </a:lnTo>
                <a:lnTo>
                  <a:pt x="3821057" y="20638"/>
                </a:lnTo>
                <a:lnTo>
                  <a:pt x="3836933" y="25003"/>
                </a:lnTo>
                <a:lnTo>
                  <a:pt x="3853206" y="29369"/>
                </a:lnTo>
                <a:lnTo>
                  <a:pt x="3869083" y="34925"/>
                </a:lnTo>
                <a:lnTo>
                  <a:pt x="3884165" y="40481"/>
                </a:lnTo>
                <a:lnTo>
                  <a:pt x="3899645" y="46434"/>
                </a:lnTo>
                <a:lnTo>
                  <a:pt x="3914331" y="52784"/>
                </a:lnTo>
                <a:lnTo>
                  <a:pt x="3929016" y="59928"/>
                </a:lnTo>
                <a:lnTo>
                  <a:pt x="3943305" y="67072"/>
                </a:lnTo>
                <a:lnTo>
                  <a:pt x="3957991" y="74613"/>
                </a:lnTo>
                <a:lnTo>
                  <a:pt x="3971883" y="82550"/>
                </a:lnTo>
                <a:lnTo>
                  <a:pt x="3985774" y="90885"/>
                </a:lnTo>
                <a:lnTo>
                  <a:pt x="3999269" y="100013"/>
                </a:lnTo>
                <a:lnTo>
                  <a:pt x="4012764" y="108744"/>
                </a:lnTo>
                <a:lnTo>
                  <a:pt x="4025862" y="118269"/>
                </a:lnTo>
                <a:lnTo>
                  <a:pt x="4038167" y="127794"/>
                </a:lnTo>
                <a:lnTo>
                  <a:pt x="4050867" y="137716"/>
                </a:lnTo>
                <a:lnTo>
                  <a:pt x="4063172" y="148431"/>
                </a:lnTo>
                <a:lnTo>
                  <a:pt x="4075476" y="159147"/>
                </a:lnTo>
                <a:lnTo>
                  <a:pt x="4087383" y="170259"/>
                </a:lnTo>
                <a:lnTo>
                  <a:pt x="4098894" y="181769"/>
                </a:lnTo>
                <a:lnTo>
                  <a:pt x="4109610" y="193278"/>
                </a:lnTo>
                <a:lnTo>
                  <a:pt x="4120724" y="205184"/>
                </a:lnTo>
                <a:lnTo>
                  <a:pt x="4131043" y="217884"/>
                </a:lnTo>
                <a:lnTo>
                  <a:pt x="4141760" y="230188"/>
                </a:lnTo>
                <a:lnTo>
                  <a:pt x="4151683" y="243284"/>
                </a:lnTo>
                <a:lnTo>
                  <a:pt x="4161605" y="256381"/>
                </a:lnTo>
                <a:lnTo>
                  <a:pt x="4171131" y="269875"/>
                </a:lnTo>
                <a:lnTo>
                  <a:pt x="4180261" y="283766"/>
                </a:lnTo>
                <a:lnTo>
                  <a:pt x="4188993" y="297656"/>
                </a:lnTo>
                <a:lnTo>
                  <a:pt x="4197725" y="312341"/>
                </a:lnTo>
                <a:lnTo>
                  <a:pt x="4206059" y="326628"/>
                </a:lnTo>
                <a:lnTo>
                  <a:pt x="4213998" y="341313"/>
                </a:lnTo>
                <a:lnTo>
                  <a:pt x="4221539" y="355997"/>
                </a:lnTo>
                <a:lnTo>
                  <a:pt x="4229081" y="371475"/>
                </a:lnTo>
                <a:lnTo>
                  <a:pt x="4236225" y="386953"/>
                </a:lnTo>
                <a:lnTo>
                  <a:pt x="4242575" y="403225"/>
                </a:lnTo>
                <a:lnTo>
                  <a:pt x="4248926" y="419100"/>
                </a:lnTo>
                <a:lnTo>
                  <a:pt x="4254879" y="434975"/>
                </a:lnTo>
                <a:lnTo>
                  <a:pt x="4260437" y="451644"/>
                </a:lnTo>
                <a:lnTo>
                  <a:pt x="4265993" y="468709"/>
                </a:lnTo>
                <a:lnTo>
                  <a:pt x="4271153" y="484981"/>
                </a:lnTo>
                <a:lnTo>
                  <a:pt x="4275916" y="502444"/>
                </a:lnTo>
                <a:lnTo>
                  <a:pt x="4279885" y="519509"/>
                </a:lnTo>
                <a:lnTo>
                  <a:pt x="4283854" y="536972"/>
                </a:lnTo>
                <a:lnTo>
                  <a:pt x="4287823" y="554434"/>
                </a:lnTo>
                <a:lnTo>
                  <a:pt x="4290999" y="572294"/>
                </a:lnTo>
                <a:lnTo>
                  <a:pt x="4294173" y="590550"/>
                </a:lnTo>
                <a:lnTo>
                  <a:pt x="4296555" y="608806"/>
                </a:lnTo>
                <a:lnTo>
                  <a:pt x="4298539" y="627063"/>
                </a:lnTo>
                <a:lnTo>
                  <a:pt x="4300525" y="645319"/>
                </a:lnTo>
                <a:lnTo>
                  <a:pt x="4439840" y="2872581"/>
                </a:lnTo>
                <a:lnTo>
                  <a:pt x="4441825" y="2916634"/>
                </a:lnTo>
                <a:lnTo>
                  <a:pt x="4442618" y="2959100"/>
                </a:lnTo>
                <a:lnTo>
                  <a:pt x="4443412" y="3000375"/>
                </a:lnTo>
                <a:lnTo>
                  <a:pt x="4443412" y="3041650"/>
                </a:lnTo>
                <a:lnTo>
                  <a:pt x="4442618" y="3081337"/>
                </a:lnTo>
                <a:lnTo>
                  <a:pt x="4440633" y="3121025"/>
                </a:lnTo>
                <a:lnTo>
                  <a:pt x="4439443" y="3140472"/>
                </a:lnTo>
                <a:lnTo>
                  <a:pt x="4437855" y="3159918"/>
                </a:lnTo>
                <a:lnTo>
                  <a:pt x="4435871" y="3179365"/>
                </a:lnTo>
                <a:lnTo>
                  <a:pt x="4433489" y="3198812"/>
                </a:lnTo>
                <a:lnTo>
                  <a:pt x="4430711" y="3218259"/>
                </a:lnTo>
                <a:lnTo>
                  <a:pt x="4427933" y="3237309"/>
                </a:lnTo>
                <a:lnTo>
                  <a:pt x="4424757" y="3256756"/>
                </a:lnTo>
                <a:lnTo>
                  <a:pt x="4420788" y="3276203"/>
                </a:lnTo>
                <a:lnTo>
                  <a:pt x="4416819" y="3295253"/>
                </a:lnTo>
                <a:lnTo>
                  <a:pt x="4412453" y="3314700"/>
                </a:lnTo>
                <a:lnTo>
                  <a:pt x="4407293" y="3334147"/>
                </a:lnTo>
                <a:lnTo>
                  <a:pt x="4401737" y="3353593"/>
                </a:lnTo>
                <a:lnTo>
                  <a:pt x="4395783" y="3373040"/>
                </a:lnTo>
                <a:lnTo>
                  <a:pt x="4389432" y="3392487"/>
                </a:lnTo>
                <a:lnTo>
                  <a:pt x="4382288" y="3412331"/>
                </a:lnTo>
                <a:lnTo>
                  <a:pt x="4374747" y="3432175"/>
                </a:lnTo>
                <a:lnTo>
                  <a:pt x="4366809" y="3452018"/>
                </a:lnTo>
                <a:lnTo>
                  <a:pt x="4358473" y="3472259"/>
                </a:lnTo>
                <a:lnTo>
                  <a:pt x="4349344" y="3492500"/>
                </a:lnTo>
                <a:lnTo>
                  <a:pt x="4339819" y="3513137"/>
                </a:lnTo>
                <a:lnTo>
                  <a:pt x="4329499" y="3534172"/>
                </a:lnTo>
                <a:lnTo>
                  <a:pt x="4318385" y="3554809"/>
                </a:lnTo>
                <a:lnTo>
                  <a:pt x="4306875" y="3575447"/>
                </a:lnTo>
                <a:lnTo>
                  <a:pt x="4294967" y="3595290"/>
                </a:lnTo>
                <a:lnTo>
                  <a:pt x="4283060" y="3615531"/>
                </a:lnTo>
                <a:lnTo>
                  <a:pt x="4269962" y="3634978"/>
                </a:lnTo>
                <a:lnTo>
                  <a:pt x="4256864" y="3654028"/>
                </a:lnTo>
                <a:lnTo>
                  <a:pt x="4242972" y="3672284"/>
                </a:lnTo>
                <a:lnTo>
                  <a:pt x="4229081" y="3690937"/>
                </a:lnTo>
                <a:lnTo>
                  <a:pt x="4214791" y="3708797"/>
                </a:lnTo>
                <a:lnTo>
                  <a:pt x="4199709" y="3726259"/>
                </a:lnTo>
                <a:lnTo>
                  <a:pt x="4184627" y="3743325"/>
                </a:lnTo>
                <a:lnTo>
                  <a:pt x="4168750" y="3760390"/>
                </a:lnTo>
                <a:lnTo>
                  <a:pt x="4152873" y="3776265"/>
                </a:lnTo>
                <a:lnTo>
                  <a:pt x="4136203" y="3792140"/>
                </a:lnTo>
                <a:lnTo>
                  <a:pt x="4119136" y="3807222"/>
                </a:lnTo>
                <a:lnTo>
                  <a:pt x="4101672" y="3822303"/>
                </a:lnTo>
                <a:lnTo>
                  <a:pt x="4083811" y="3836193"/>
                </a:lnTo>
                <a:lnTo>
                  <a:pt x="4065950" y="3850084"/>
                </a:lnTo>
                <a:lnTo>
                  <a:pt x="4047295" y="3863181"/>
                </a:lnTo>
                <a:lnTo>
                  <a:pt x="4028244" y="3875484"/>
                </a:lnTo>
                <a:lnTo>
                  <a:pt x="4008795" y="3888184"/>
                </a:lnTo>
                <a:lnTo>
                  <a:pt x="3989347" y="3899693"/>
                </a:lnTo>
                <a:lnTo>
                  <a:pt x="3969501" y="3910012"/>
                </a:lnTo>
                <a:lnTo>
                  <a:pt x="3948862" y="3920728"/>
                </a:lnTo>
                <a:lnTo>
                  <a:pt x="3927825" y="3930253"/>
                </a:lnTo>
                <a:lnTo>
                  <a:pt x="3907186" y="3938984"/>
                </a:lnTo>
                <a:lnTo>
                  <a:pt x="3885356" y="3947715"/>
                </a:lnTo>
                <a:lnTo>
                  <a:pt x="3863526" y="3955256"/>
                </a:lnTo>
                <a:lnTo>
                  <a:pt x="3840902" y="3962400"/>
                </a:lnTo>
                <a:lnTo>
                  <a:pt x="3818675" y="3968750"/>
                </a:lnTo>
                <a:lnTo>
                  <a:pt x="3795654" y="3973909"/>
                </a:lnTo>
                <a:lnTo>
                  <a:pt x="3768664" y="3980259"/>
                </a:lnTo>
                <a:lnTo>
                  <a:pt x="3741277" y="3984625"/>
                </a:lnTo>
                <a:lnTo>
                  <a:pt x="3714287" y="3988197"/>
                </a:lnTo>
                <a:lnTo>
                  <a:pt x="3686901" y="3990578"/>
                </a:lnTo>
                <a:lnTo>
                  <a:pt x="3659117" y="3992165"/>
                </a:lnTo>
                <a:lnTo>
                  <a:pt x="3631730" y="3992562"/>
                </a:lnTo>
                <a:lnTo>
                  <a:pt x="3604343" y="3992562"/>
                </a:lnTo>
                <a:lnTo>
                  <a:pt x="3576560" y="3990975"/>
                </a:lnTo>
                <a:lnTo>
                  <a:pt x="3548379" y="3988990"/>
                </a:lnTo>
                <a:lnTo>
                  <a:pt x="3520595" y="3986609"/>
                </a:lnTo>
                <a:lnTo>
                  <a:pt x="3492415" y="3982640"/>
                </a:lnTo>
                <a:lnTo>
                  <a:pt x="3464631" y="3978672"/>
                </a:lnTo>
                <a:lnTo>
                  <a:pt x="3436053" y="3973115"/>
                </a:lnTo>
                <a:lnTo>
                  <a:pt x="3407476" y="3967559"/>
                </a:lnTo>
                <a:lnTo>
                  <a:pt x="3379295" y="3961209"/>
                </a:lnTo>
                <a:lnTo>
                  <a:pt x="3350321" y="3954065"/>
                </a:lnTo>
                <a:lnTo>
                  <a:pt x="3321346" y="3946128"/>
                </a:lnTo>
                <a:lnTo>
                  <a:pt x="3291975" y="3938190"/>
                </a:lnTo>
                <a:lnTo>
                  <a:pt x="3263001" y="3929062"/>
                </a:lnTo>
                <a:lnTo>
                  <a:pt x="3233232" y="3919537"/>
                </a:lnTo>
                <a:lnTo>
                  <a:pt x="3203464" y="3910012"/>
                </a:lnTo>
                <a:lnTo>
                  <a:pt x="3173299" y="3899693"/>
                </a:lnTo>
                <a:lnTo>
                  <a:pt x="3112571" y="3878262"/>
                </a:lnTo>
                <a:lnTo>
                  <a:pt x="3051050" y="3855243"/>
                </a:lnTo>
                <a:lnTo>
                  <a:pt x="2988735" y="3831034"/>
                </a:lnTo>
                <a:lnTo>
                  <a:pt x="2860533" y="3780631"/>
                </a:lnTo>
                <a:lnTo>
                  <a:pt x="818429" y="2887662"/>
                </a:lnTo>
                <a:lnTo>
                  <a:pt x="753733" y="2858294"/>
                </a:lnTo>
                <a:lnTo>
                  <a:pt x="686655" y="2828131"/>
                </a:lnTo>
                <a:lnTo>
                  <a:pt x="617593" y="2797175"/>
                </a:lnTo>
                <a:lnTo>
                  <a:pt x="582665" y="2781300"/>
                </a:lnTo>
                <a:lnTo>
                  <a:pt x="548133" y="2765425"/>
                </a:lnTo>
                <a:lnTo>
                  <a:pt x="513205" y="2748359"/>
                </a:lnTo>
                <a:lnTo>
                  <a:pt x="479071" y="2730897"/>
                </a:lnTo>
                <a:lnTo>
                  <a:pt x="444937" y="2712640"/>
                </a:lnTo>
                <a:lnTo>
                  <a:pt x="410803" y="2694384"/>
                </a:lnTo>
                <a:lnTo>
                  <a:pt x="377859" y="2675334"/>
                </a:lnTo>
                <a:lnTo>
                  <a:pt x="345709" y="2655490"/>
                </a:lnTo>
                <a:lnTo>
                  <a:pt x="313559" y="2634853"/>
                </a:lnTo>
                <a:lnTo>
                  <a:pt x="298080" y="2623740"/>
                </a:lnTo>
                <a:lnTo>
                  <a:pt x="282600" y="2613422"/>
                </a:lnTo>
                <a:lnTo>
                  <a:pt x="267518" y="2602309"/>
                </a:lnTo>
                <a:lnTo>
                  <a:pt x="252832" y="2590800"/>
                </a:lnTo>
                <a:lnTo>
                  <a:pt x="238146" y="2579290"/>
                </a:lnTo>
                <a:lnTo>
                  <a:pt x="223858" y="2567781"/>
                </a:lnTo>
                <a:lnTo>
                  <a:pt x="209569" y="2555875"/>
                </a:lnTo>
                <a:lnTo>
                  <a:pt x="196074" y="2543572"/>
                </a:lnTo>
                <a:lnTo>
                  <a:pt x="182579" y="2530872"/>
                </a:lnTo>
                <a:lnTo>
                  <a:pt x="169878" y="2518569"/>
                </a:lnTo>
                <a:lnTo>
                  <a:pt x="157177" y="2505472"/>
                </a:lnTo>
                <a:lnTo>
                  <a:pt x="144873" y="2491978"/>
                </a:lnTo>
                <a:lnTo>
                  <a:pt x="133362" y="2478484"/>
                </a:lnTo>
                <a:lnTo>
                  <a:pt x="121852" y="2464594"/>
                </a:lnTo>
                <a:lnTo>
                  <a:pt x="110738" y="2450703"/>
                </a:lnTo>
                <a:lnTo>
                  <a:pt x="100419" y="2436019"/>
                </a:lnTo>
                <a:lnTo>
                  <a:pt x="89702" y="2421731"/>
                </a:lnTo>
                <a:lnTo>
                  <a:pt x="80573" y="2406650"/>
                </a:lnTo>
                <a:lnTo>
                  <a:pt x="71047" y="2391172"/>
                </a:lnTo>
                <a:lnTo>
                  <a:pt x="62315" y="2375297"/>
                </a:lnTo>
                <a:lnTo>
                  <a:pt x="54377" y="2359025"/>
                </a:lnTo>
                <a:lnTo>
                  <a:pt x="46439" y="2343150"/>
                </a:lnTo>
                <a:lnTo>
                  <a:pt x="39294" y="2326084"/>
                </a:lnTo>
                <a:lnTo>
                  <a:pt x="32944" y="2309415"/>
                </a:lnTo>
                <a:lnTo>
                  <a:pt x="26990" y="2292350"/>
                </a:lnTo>
                <a:lnTo>
                  <a:pt x="21433" y="2274094"/>
                </a:lnTo>
                <a:lnTo>
                  <a:pt x="16670" y="2256234"/>
                </a:lnTo>
                <a:lnTo>
                  <a:pt x="11908" y="2237978"/>
                </a:lnTo>
                <a:lnTo>
                  <a:pt x="8335" y="2218928"/>
                </a:lnTo>
                <a:lnTo>
                  <a:pt x="5557" y="2199878"/>
                </a:lnTo>
                <a:lnTo>
                  <a:pt x="3176" y="2180034"/>
                </a:lnTo>
                <a:lnTo>
                  <a:pt x="1588" y="2159794"/>
                </a:lnTo>
                <a:lnTo>
                  <a:pt x="397" y="2139553"/>
                </a:lnTo>
                <a:lnTo>
                  <a:pt x="0" y="2118915"/>
                </a:lnTo>
                <a:lnTo>
                  <a:pt x="0" y="1397794"/>
                </a:lnTo>
                <a:lnTo>
                  <a:pt x="0" y="1352153"/>
                </a:lnTo>
                <a:lnTo>
                  <a:pt x="397" y="1307703"/>
                </a:lnTo>
                <a:lnTo>
                  <a:pt x="1985" y="1263253"/>
                </a:lnTo>
                <a:lnTo>
                  <a:pt x="3572" y="1219200"/>
                </a:lnTo>
                <a:lnTo>
                  <a:pt x="6351" y="1176338"/>
                </a:lnTo>
                <a:lnTo>
                  <a:pt x="8335" y="1154509"/>
                </a:lnTo>
                <a:lnTo>
                  <a:pt x="10320" y="1133475"/>
                </a:lnTo>
                <a:lnTo>
                  <a:pt x="13098" y="1112044"/>
                </a:lnTo>
                <a:lnTo>
                  <a:pt x="15877" y="1091009"/>
                </a:lnTo>
                <a:lnTo>
                  <a:pt x="19052" y="1069975"/>
                </a:lnTo>
                <a:lnTo>
                  <a:pt x="23021" y="1048941"/>
                </a:lnTo>
                <a:lnTo>
                  <a:pt x="26990" y="1027906"/>
                </a:lnTo>
                <a:lnTo>
                  <a:pt x="31356" y="1007666"/>
                </a:lnTo>
                <a:lnTo>
                  <a:pt x="36516" y="986631"/>
                </a:lnTo>
                <a:lnTo>
                  <a:pt x="42073" y="965994"/>
                </a:lnTo>
                <a:lnTo>
                  <a:pt x="48026" y="945753"/>
                </a:lnTo>
                <a:lnTo>
                  <a:pt x="54377" y="925513"/>
                </a:lnTo>
                <a:lnTo>
                  <a:pt x="61918" y="905272"/>
                </a:lnTo>
                <a:lnTo>
                  <a:pt x="69856" y="885031"/>
                </a:lnTo>
                <a:lnTo>
                  <a:pt x="77795" y="865188"/>
                </a:lnTo>
                <a:lnTo>
                  <a:pt x="87321" y="845344"/>
                </a:lnTo>
                <a:lnTo>
                  <a:pt x="96846" y="825500"/>
                </a:lnTo>
                <a:lnTo>
                  <a:pt x="107166" y="805656"/>
                </a:lnTo>
                <a:lnTo>
                  <a:pt x="118676" y="786209"/>
                </a:lnTo>
                <a:lnTo>
                  <a:pt x="130981" y="766763"/>
                </a:lnTo>
                <a:lnTo>
                  <a:pt x="143285" y="747713"/>
                </a:lnTo>
                <a:lnTo>
                  <a:pt x="156780" y="728266"/>
                </a:lnTo>
                <a:lnTo>
                  <a:pt x="166703" y="715169"/>
                </a:lnTo>
                <a:lnTo>
                  <a:pt x="176625" y="702469"/>
                </a:lnTo>
                <a:lnTo>
                  <a:pt x="187342" y="689769"/>
                </a:lnTo>
                <a:lnTo>
                  <a:pt x="197265" y="677863"/>
                </a:lnTo>
                <a:lnTo>
                  <a:pt x="208378" y="666353"/>
                </a:lnTo>
                <a:lnTo>
                  <a:pt x="219095" y="654844"/>
                </a:lnTo>
                <a:lnTo>
                  <a:pt x="230208" y="643731"/>
                </a:lnTo>
                <a:lnTo>
                  <a:pt x="241322" y="633016"/>
                </a:lnTo>
                <a:lnTo>
                  <a:pt x="252832" y="622697"/>
                </a:lnTo>
                <a:lnTo>
                  <a:pt x="264343" y="612378"/>
                </a:lnTo>
                <a:lnTo>
                  <a:pt x="276250" y="602853"/>
                </a:lnTo>
                <a:lnTo>
                  <a:pt x="288157" y="593328"/>
                </a:lnTo>
                <a:lnTo>
                  <a:pt x="300065" y="583803"/>
                </a:lnTo>
                <a:lnTo>
                  <a:pt x="312766" y="575072"/>
                </a:lnTo>
                <a:lnTo>
                  <a:pt x="325070" y="566341"/>
                </a:lnTo>
                <a:lnTo>
                  <a:pt x="337374" y="558006"/>
                </a:lnTo>
                <a:lnTo>
                  <a:pt x="350472" y="550069"/>
                </a:lnTo>
                <a:lnTo>
                  <a:pt x="363570" y="542131"/>
                </a:lnTo>
                <a:lnTo>
                  <a:pt x="390163" y="527050"/>
                </a:lnTo>
                <a:lnTo>
                  <a:pt x="417153" y="513159"/>
                </a:lnTo>
                <a:lnTo>
                  <a:pt x="444540" y="499666"/>
                </a:lnTo>
                <a:lnTo>
                  <a:pt x="472324" y="487363"/>
                </a:lnTo>
                <a:lnTo>
                  <a:pt x="500504" y="475853"/>
                </a:lnTo>
                <a:lnTo>
                  <a:pt x="529479" y="465534"/>
                </a:lnTo>
                <a:lnTo>
                  <a:pt x="558850" y="455613"/>
                </a:lnTo>
                <a:lnTo>
                  <a:pt x="588221" y="446088"/>
                </a:lnTo>
                <a:lnTo>
                  <a:pt x="618387" y="437753"/>
                </a:lnTo>
                <a:lnTo>
                  <a:pt x="648155" y="429022"/>
                </a:lnTo>
                <a:lnTo>
                  <a:pt x="678717" y="421481"/>
                </a:lnTo>
                <a:lnTo>
                  <a:pt x="709279" y="414734"/>
                </a:lnTo>
                <a:lnTo>
                  <a:pt x="740238" y="407988"/>
                </a:lnTo>
                <a:lnTo>
                  <a:pt x="771197" y="401638"/>
                </a:lnTo>
                <a:lnTo>
                  <a:pt x="802156" y="395684"/>
                </a:lnTo>
                <a:lnTo>
                  <a:pt x="864471" y="384572"/>
                </a:lnTo>
                <a:lnTo>
                  <a:pt x="926786" y="374650"/>
                </a:lnTo>
                <a:lnTo>
                  <a:pt x="1050622" y="354806"/>
                </a:lnTo>
                <a:lnTo>
                  <a:pt x="3575766" y="5160"/>
                </a:lnTo>
                <a:lnTo>
                  <a:pt x="3594817" y="3175"/>
                </a:lnTo>
                <a:lnTo>
                  <a:pt x="3613472" y="1588"/>
                </a:lnTo>
                <a:lnTo>
                  <a:pt x="3631333" y="397"/>
                </a:lnTo>
                <a:close/>
              </a:path>
            </a:pathLst>
          </a:custGeom>
          <a:solidFill>
            <a:schemeClr val="bg1">
              <a:lumMod val="85000"/>
            </a:schemeClr>
          </a:solidFill>
        </p:spPr>
        <p:txBody>
          <a:bodyPr wrap="square" anchor="ctr">
            <a:noAutofit/>
          </a:bodyPr>
          <a:lstStyle>
            <a:lvl1pPr marL="0" indent="0" algn="ctr">
              <a:buNone/>
              <a:defRPr baseline="0"/>
            </a:lvl1pPr>
          </a:lstStyle>
          <a:p>
            <a:r>
              <a:rPr lang="en-GB" dirty="0"/>
              <a:t>Insert your photo</a:t>
            </a:r>
          </a:p>
        </p:txBody>
      </p:sp>
    </p:spTree>
    <p:extLst>
      <p:ext uri="{BB962C8B-B14F-4D97-AF65-F5344CB8AC3E}">
        <p14:creationId xmlns:p14="http://schemas.microsoft.com/office/powerpoint/2010/main" val="33840136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2"/>
        </a:solidFill>
        <a:effectLst/>
      </p:bgPr>
    </p:bg>
    <p:spTree>
      <p:nvGrpSpPr>
        <p:cNvPr id="1" name=""/>
        <p:cNvGrpSpPr/>
        <p:nvPr/>
      </p:nvGrpSpPr>
      <p:grpSpPr>
        <a:xfrm>
          <a:off x="0" y="0"/>
          <a:ext cx="0" cy="0"/>
          <a:chOff x="0" y="0"/>
          <a:chExt cx="0" cy="0"/>
        </a:xfrm>
      </p:grpSpPr>
      <p:sp>
        <p:nvSpPr>
          <p:cNvPr id="2" name="Rectángulo 1"/>
          <p:cNvSpPr/>
          <p:nvPr userDrawn="1"/>
        </p:nvSpPr>
        <p:spPr>
          <a:xfrm>
            <a:off x="0" y="0"/>
            <a:ext cx="12192000" cy="6858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 name="CuadroTexto 2"/>
          <p:cNvSpPr txBox="1"/>
          <p:nvPr userDrawn="1"/>
        </p:nvSpPr>
        <p:spPr>
          <a:xfrm>
            <a:off x="-221371" y="652449"/>
            <a:ext cx="184731" cy="300082"/>
          </a:xfrm>
          <a:prstGeom prst="rect">
            <a:avLst/>
          </a:prstGeom>
          <a:noFill/>
        </p:spPr>
        <p:txBody>
          <a:bodyPr wrap="none" rtlCol="0">
            <a:spAutoFit/>
          </a:bodyPr>
          <a:lstStyle/>
          <a:p>
            <a:endParaRPr lang="es-ES" sz="1350" dirty="0">
              <a:solidFill>
                <a:srgbClr val="005EB8"/>
              </a:solidFill>
            </a:endParaRPr>
          </a:p>
        </p:txBody>
      </p:sp>
      <p:cxnSp>
        <p:nvCxnSpPr>
          <p:cNvPr id="31" name="Straight Connector 11"/>
          <p:cNvCxnSpPr/>
          <p:nvPr userDrawn="1"/>
        </p:nvCxnSpPr>
        <p:spPr>
          <a:xfrm>
            <a:off x="1928477" y="6283948"/>
            <a:ext cx="0" cy="4308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dirty="0">
                <a:solidFill>
                  <a:srgbClr val="FFFFFF">
                    <a:lumMod val="85000"/>
                  </a:srgbClr>
                </a:solidFill>
              </a:rPr>
              <a:t>© Amadeus IT Group and its affiliates and subsidiaries</a:t>
            </a:r>
          </a:p>
        </p:txBody>
      </p:sp>
      <p:sp>
        <p:nvSpPr>
          <p:cNvPr id="4" name="AutoShape 3"/>
          <p:cNvSpPr>
            <a:spLocks noChangeAspect="1" noChangeArrowheads="1" noTextEdit="1"/>
          </p:cNvSpPr>
          <p:nvPr userDrawn="1"/>
        </p:nvSpPr>
        <p:spPr bwMode="auto">
          <a:xfrm>
            <a:off x="2259404" y="6348849"/>
            <a:ext cx="4582583"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56" name="Text Placeholder 23"/>
          <p:cNvSpPr>
            <a:spLocks noGrp="1"/>
          </p:cNvSpPr>
          <p:nvPr>
            <p:ph type="body" sz="quarter" idx="39" hasCustomPrompt="1"/>
          </p:nvPr>
        </p:nvSpPr>
        <p:spPr>
          <a:xfrm>
            <a:off x="2496866" y="6318158"/>
            <a:ext cx="1602489" cy="178471"/>
          </a:xfrm>
          <a:prstGeom prst="rect">
            <a:avLst/>
          </a:prstGeom>
        </p:spPr>
        <p:txBody>
          <a:bodyPr>
            <a:noAutofit/>
          </a:bodyPr>
          <a:lstStyle>
            <a:lvl1pPr marL="0" indent="0" algn="l">
              <a:lnSpc>
                <a:spcPct val="100000"/>
              </a:lnSpc>
              <a:buNone/>
              <a:defRPr lang="en-GB" sz="900" i="1"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You can follow us on:</a:t>
            </a:r>
            <a:br>
              <a:rPr lang="en-GB" noProof="0" dirty="0"/>
            </a:br>
            <a:endParaRPr lang="en-GB" noProof="0" dirty="0"/>
          </a:p>
        </p:txBody>
      </p:sp>
      <p:sp>
        <p:nvSpPr>
          <p:cNvPr id="57" name="Text Placeholder 23"/>
          <p:cNvSpPr>
            <a:spLocks noGrp="1"/>
          </p:cNvSpPr>
          <p:nvPr>
            <p:ph type="body" sz="quarter" idx="40" hasCustomPrompt="1"/>
          </p:nvPr>
        </p:nvSpPr>
        <p:spPr>
          <a:xfrm>
            <a:off x="2052626" y="6519209"/>
            <a:ext cx="2154941" cy="226801"/>
          </a:xfrm>
          <a:prstGeom prst="rect">
            <a:avLst/>
          </a:prstGeom>
        </p:spPr>
        <p:txBody>
          <a:bodyPr anchor="b">
            <a:noAutofit/>
          </a:bodyPr>
          <a:lstStyle>
            <a:lvl1pPr marL="0" indent="0" algn="l">
              <a:lnSpc>
                <a:spcPct val="100000"/>
              </a:lnSpc>
              <a:buNone/>
              <a:defRPr lang="en-GB" sz="1600" i="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err="1"/>
              <a:t>AmadeusITgroup</a:t>
            </a:r>
            <a:endParaRPr lang="en-GB" noProof="0" dirty="0"/>
          </a:p>
        </p:txBody>
      </p:sp>
      <p:sp>
        <p:nvSpPr>
          <p:cNvPr id="58" name="Text Placeholder 23"/>
          <p:cNvSpPr>
            <a:spLocks noGrp="1"/>
          </p:cNvSpPr>
          <p:nvPr>
            <p:ph type="body" sz="quarter" idx="38" hasCustomPrompt="1"/>
          </p:nvPr>
        </p:nvSpPr>
        <p:spPr>
          <a:xfrm>
            <a:off x="376389" y="6298613"/>
            <a:ext cx="1764284" cy="390246"/>
          </a:xfrm>
          <a:prstGeom prst="rect">
            <a:avLst/>
          </a:prstGeom>
        </p:spPr>
        <p:txBody>
          <a:bodyPr>
            <a:noAutofit/>
          </a:bodyPr>
          <a:lstStyle>
            <a:lvl1pPr marL="0" indent="0" algn="l">
              <a:lnSpc>
                <a:spcPct val="100000"/>
              </a:lnSpc>
              <a:buNone/>
              <a:defRPr lang="en-GB" sz="1100" kern="1200" noProof="0" dirty="0" smtClean="0">
                <a:solidFill>
                  <a:schemeClr val="bg1"/>
                </a:solidFill>
                <a:latin typeface="+mj-lt"/>
                <a:ea typeface="+mn-ea"/>
                <a:cs typeface="+mn-cs"/>
              </a:defRPr>
            </a:lvl1pPr>
            <a:lvl2pPr marL="342875" indent="0">
              <a:buNone/>
              <a:defRPr sz="1200">
                <a:solidFill>
                  <a:srgbClr val="454545"/>
                </a:solidFill>
                <a:latin typeface="+mj-lt"/>
              </a:defRPr>
            </a:lvl2pPr>
            <a:lvl3pPr marL="685749" indent="0">
              <a:buNone/>
              <a:defRPr sz="1050">
                <a:solidFill>
                  <a:srgbClr val="454545"/>
                </a:solidFill>
                <a:latin typeface="+mj-lt"/>
              </a:defRPr>
            </a:lvl3pPr>
            <a:lvl4pPr marL="1028624" indent="0">
              <a:buNone/>
              <a:defRPr sz="900">
                <a:solidFill>
                  <a:srgbClr val="454545"/>
                </a:solidFill>
                <a:latin typeface="+mj-lt"/>
              </a:defRPr>
            </a:lvl4pPr>
            <a:lvl5pPr marL="1371498" indent="0">
              <a:buNone/>
              <a:defRPr sz="900">
                <a:solidFill>
                  <a:srgbClr val="454545"/>
                </a:solidFill>
                <a:latin typeface="+mj-lt"/>
              </a:defRPr>
            </a:lvl5pPr>
          </a:lstStyle>
          <a:p>
            <a:pPr lvl="0"/>
            <a:r>
              <a:rPr lang="en-GB" noProof="0" dirty="0"/>
              <a:t>amadeus.com</a:t>
            </a:r>
            <a:br>
              <a:rPr lang="en-GB" noProof="0" dirty="0"/>
            </a:br>
            <a:r>
              <a:rPr lang="en-GB" noProof="0" dirty="0"/>
              <a:t>amadeus.com/blog</a:t>
            </a:r>
          </a:p>
        </p:txBody>
      </p:sp>
      <p:sp>
        <p:nvSpPr>
          <p:cNvPr id="19"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0" name="Freeform 5"/>
          <p:cNvSpPr>
            <a:spLocks/>
          </p:cNvSpPr>
          <p:nvPr userDrawn="1"/>
        </p:nvSpPr>
        <p:spPr bwMode="auto">
          <a:xfrm>
            <a:off x="5840080" y="6402824"/>
            <a:ext cx="246084" cy="244475"/>
          </a:xfrm>
          <a:custGeom>
            <a:avLst/>
            <a:gdLst>
              <a:gd name="T0" fmla="*/ 0 w 92"/>
              <a:gd name="T1" fmla="*/ 0 h 92"/>
              <a:gd name="T2" fmla="*/ 0 w 92"/>
              <a:gd name="T3" fmla="*/ 92 h 92"/>
              <a:gd name="T4" fmla="*/ 36 w 92"/>
              <a:gd name="T5" fmla="*/ 92 h 92"/>
              <a:gd name="T6" fmla="*/ 36 w 92"/>
              <a:gd name="T7" fmla="*/ 92 h 92"/>
              <a:gd name="T8" fmla="*/ 36 w 92"/>
              <a:gd name="T9" fmla="*/ 84 h 92"/>
              <a:gd name="T10" fmla="*/ 20 w 92"/>
              <a:gd name="T11" fmla="*/ 77 h 92"/>
              <a:gd name="T12" fmla="*/ 15 w 92"/>
              <a:gd name="T13" fmla="*/ 70 h 92"/>
              <a:gd name="T14" fmla="*/ 15 w 92"/>
              <a:gd name="T15" fmla="*/ 67 h 92"/>
              <a:gd name="T16" fmla="*/ 22 w 92"/>
              <a:gd name="T17" fmla="*/ 72 h 92"/>
              <a:gd name="T18" fmla="*/ 36 w 92"/>
              <a:gd name="T19" fmla="*/ 76 h 92"/>
              <a:gd name="T20" fmla="*/ 39 w 92"/>
              <a:gd name="T21" fmla="*/ 70 h 92"/>
              <a:gd name="T22" fmla="*/ 18 w 92"/>
              <a:gd name="T23" fmla="*/ 46 h 92"/>
              <a:gd name="T24" fmla="*/ 23 w 92"/>
              <a:gd name="T25" fmla="*/ 33 h 92"/>
              <a:gd name="T26" fmla="*/ 23 w 92"/>
              <a:gd name="T27" fmla="*/ 20 h 92"/>
              <a:gd name="T28" fmla="*/ 36 w 92"/>
              <a:gd name="T29" fmla="*/ 25 h 92"/>
              <a:gd name="T30" fmla="*/ 48 w 92"/>
              <a:gd name="T31" fmla="*/ 24 h 92"/>
              <a:gd name="T32" fmla="*/ 60 w 92"/>
              <a:gd name="T33" fmla="*/ 25 h 92"/>
              <a:gd name="T34" fmla="*/ 73 w 92"/>
              <a:gd name="T35" fmla="*/ 20 h 92"/>
              <a:gd name="T36" fmla="*/ 74 w 92"/>
              <a:gd name="T37" fmla="*/ 33 h 92"/>
              <a:gd name="T38" fmla="*/ 79 w 92"/>
              <a:gd name="T39" fmla="*/ 46 h 92"/>
              <a:gd name="T40" fmla="*/ 57 w 92"/>
              <a:gd name="T41" fmla="*/ 70 h 92"/>
              <a:gd name="T42" fmla="*/ 60 w 92"/>
              <a:gd name="T43" fmla="*/ 79 h 92"/>
              <a:gd name="T44" fmla="*/ 60 w 92"/>
              <a:gd name="T45" fmla="*/ 92 h 92"/>
              <a:gd name="T46" fmla="*/ 60 w 92"/>
              <a:gd name="T47" fmla="*/ 92 h 92"/>
              <a:gd name="T48" fmla="*/ 92 w 92"/>
              <a:gd name="T49" fmla="*/ 92 h 92"/>
              <a:gd name="T50" fmla="*/ 92 w 92"/>
              <a:gd name="T51" fmla="*/ 0 h 92"/>
              <a:gd name="T52" fmla="*/ 0 w 92"/>
              <a:gd name="T5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 h="92">
                <a:moveTo>
                  <a:pt x="0" y="0"/>
                </a:moveTo>
                <a:cubicBezTo>
                  <a:pt x="0" y="92"/>
                  <a:pt x="0" y="92"/>
                  <a:pt x="0" y="92"/>
                </a:cubicBezTo>
                <a:cubicBezTo>
                  <a:pt x="36" y="92"/>
                  <a:pt x="36" y="92"/>
                  <a:pt x="36" y="92"/>
                </a:cubicBezTo>
                <a:cubicBezTo>
                  <a:pt x="36" y="92"/>
                  <a:pt x="36" y="92"/>
                  <a:pt x="36" y="92"/>
                </a:cubicBezTo>
                <a:cubicBezTo>
                  <a:pt x="36" y="91"/>
                  <a:pt x="36" y="88"/>
                  <a:pt x="36" y="84"/>
                </a:cubicBezTo>
                <a:cubicBezTo>
                  <a:pt x="23" y="86"/>
                  <a:pt x="20" y="77"/>
                  <a:pt x="20" y="77"/>
                </a:cubicBezTo>
                <a:cubicBezTo>
                  <a:pt x="18" y="72"/>
                  <a:pt x="15" y="70"/>
                  <a:pt x="15" y="70"/>
                </a:cubicBezTo>
                <a:cubicBezTo>
                  <a:pt x="10" y="67"/>
                  <a:pt x="15" y="67"/>
                  <a:pt x="15" y="67"/>
                </a:cubicBezTo>
                <a:cubicBezTo>
                  <a:pt x="20" y="67"/>
                  <a:pt x="22" y="72"/>
                  <a:pt x="22" y="72"/>
                </a:cubicBezTo>
                <a:cubicBezTo>
                  <a:pt x="27" y="79"/>
                  <a:pt x="34" y="77"/>
                  <a:pt x="36" y="76"/>
                </a:cubicBezTo>
                <a:cubicBezTo>
                  <a:pt x="37" y="73"/>
                  <a:pt x="38" y="71"/>
                  <a:pt x="39" y="70"/>
                </a:cubicBezTo>
                <a:cubicBezTo>
                  <a:pt x="29" y="68"/>
                  <a:pt x="18" y="64"/>
                  <a:pt x="18" y="46"/>
                </a:cubicBezTo>
                <a:cubicBezTo>
                  <a:pt x="18" y="41"/>
                  <a:pt x="19" y="36"/>
                  <a:pt x="23" y="33"/>
                </a:cubicBezTo>
                <a:cubicBezTo>
                  <a:pt x="22" y="32"/>
                  <a:pt x="20" y="27"/>
                  <a:pt x="23" y="20"/>
                </a:cubicBezTo>
                <a:cubicBezTo>
                  <a:pt x="23" y="20"/>
                  <a:pt x="27" y="19"/>
                  <a:pt x="36" y="25"/>
                </a:cubicBezTo>
                <a:cubicBezTo>
                  <a:pt x="40" y="24"/>
                  <a:pt x="44" y="24"/>
                  <a:pt x="48" y="24"/>
                </a:cubicBezTo>
                <a:cubicBezTo>
                  <a:pt x="52" y="24"/>
                  <a:pt x="56" y="24"/>
                  <a:pt x="60" y="25"/>
                </a:cubicBezTo>
                <a:cubicBezTo>
                  <a:pt x="69" y="19"/>
                  <a:pt x="73" y="20"/>
                  <a:pt x="73" y="20"/>
                </a:cubicBezTo>
                <a:cubicBezTo>
                  <a:pt x="76" y="27"/>
                  <a:pt x="74" y="32"/>
                  <a:pt x="74" y="33"/>
                </a:cubicBezTo>
                <a:cubicBezTo>
                  <a:pt x="77" y="36"/>
                  <a:pt x="79" y="41"/>
                  <a:pt x="79" y="46"/>
                </a:cubicBezTo>
                <a:cubicBezTo>
                  <a:pt x="79" y="64"/>
                  <a:pt x="68" y="68"/>
                  <a:pt x="57" y="70"/>
                </a:cubicBezTo>
                <a:cubicBezTo>
                  <a:pt x="59" y="71"/>
                  <a:pt x="60" y="74"/>
                  <a:pt x="60" y="79"/>
                </a:cubicBezTo>
                <a:cubicBezTo>
                  <a:pt x="60" y="85"/>
                  <a:pt x="60" y="90"/>
                  <a:pt x="60" y="92"/>
                </a:cubicBezTo>
                <a:cubicBezTo>
                  <a:pt x="60" y="92"/>
                  <a:pt x="60" y="92"/>
                  <a:pt x="60" y="92"/>
                </a:cubicBezTo>
                <a:cubicBezTo>
                  <a:pt x="92" y="92"/>
                  <a:pt x="92" y="92"/>
                  <a:pt x="92" y="92"/>
                </a:cubicBezTo>
                <a:cubicBezTo>
                  <a:pt x="92" y="0"/>
                  <a:pt x="92" y="0"/>
                  <a:pt x="92"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21" name="Freeform 5"/>
          <p:cNvSpPr>
            <a:spLocks noEditPoints="1"/>
          </p:cNvSpPr>
          <p:nvPr userDrawn="1"/>
        </p:nvSpPr>
        <p:spPr bwMode="auto">
          <a:xfrm>
            <a:off x="3753896" y="6402824"/>
            <a:ext cx="234950" cy="244475"/>
          </a:xfrm>
          <a:custGeom>
            <a:avLst/>
            <a:gdLst>
              <a:gd name="T0" fmla="*/ 9 w 54"/>
              <a:gd name="T1" fmla="*/ 54 h 54"/>
              <a:gd name="T2" fmla="*/ 25 w 54"/>
              <a:gd name="T3" fmla="*/ 54 h 54"/>
              <a:gd name="T4" fmla="*/ 25 w 54"/>
              <a:gd name="T5" fmla="*/ 53 h 54"/>
              <a:gd name="T6" fmla="*/ 25 w 54"/>
              <a:gd name="T7" fmla="*/ 51 h 54"/>
              <a:gd name="T8" fmla="*/ 19 w 54"/>
              <a:gd name="T9" fmla="*/ 45 h 54"/>
              <a:gd name="T10" fmla="*/ 17 w 54"/>
              <a:gd name="T11" fmla="*/ 44 h 54"/>
              <a:gd name="T12" fmla="*/ 13 w 54"/>
              <a:gd name="T13" fmla="*/ 43 h 54"/>
              <a:gd name="T14" fmla="*/ 13 w 54"/>
              <a:gd name="T15" fmla="*/ 43 h 54"/>
              <a:gd name="T16" fmla="*/ 1 w 54"/>
              <a:gd name="T17" fmla="*/ 48 h 54"/>
              <a:gd name="T18" fmla="*/ 1 w 54"/>
              <a:gd name="T19" fmla="*/ 54 h 54"/>
              <a:gd name="T20" fmla="*/ 9 w 54"/>
              <a:gd name="T21" fmla="*/ 54 h 54"/>
              <a:gd name="T22" fmla="*/ 32 w 54"/>
              <a:gd name="T23" fmla="*/ 54 h 54"/>
              <a:gd name="T24" fmla="*/ 46 w 54"/>
              <a:gd name="T25" fmla="*/ 54 h 54"/>
              <a:gd name="T26" fmla="*/ 54 w 54"/>
              <a:gd name="T27" fmla="*/ 54 h 54"/>
              <a:gd name="T28" fmla="*/ 54 w 54"/>
              <a:gd name="T29" fmla="*/ 45 h 54"/>
              <a:gd name="T30" fmla="*/ 54 w 54"/>
              <a:gd name="T31" fmla="*/ 18 h 54"/>
              <a:gd name="T32" fmla="*/ 46 w 54"/>
              <a:gd name="T33" fmla="*/ 18 h 54"/>
              <a:gd name="T34" fmla="*/ 46 w 54"/>
              <a:gd name="T35" fmla="*/ 27 h 54"/>
              <a:gd name="T36" fmla="*/ 41 w 54"/>
              <a:gd name="T37" fmla="*/ 27 h 54"/>
              <a:gd name="T38" fmla="*/ 41 w 54"/>
              <a:gd name="T39" fmla="*/ 18 h 54"/>
              <a:gd name="T40" fmla="*/ 33 w 54"/>
              <a:gd name="T41" fmla="*/ 18 h 54"/>
              <a:gd name="T42" fmla="*/ 33 w 54"/>
              <a:gd name="T43" fmla="*/ 13 h 54"/>
              <a:gd name="T44" fmla="*/ 41 w 54"/>
              <a:gd name="T45" fmla="*/ 13 h 54"/>
              <a:gd name="T46" fmla="*/ 41 w 54"/>
              <a:gd name="T47" fmla="*/ 5 h 54"/>
              <a:gd name="T48" fmla="*/ 46 w 54"/>
              <a:gd name="T49" fmla="*/ 5 h 54"/>
              <a:gd name="T50" fmla="*/ 46 w 54"/>
              <a:gd name="T51" fmla="*/ 13 h 54"/>
              <a:gd name="T52" fmla="*/ 54 w 54"/>
              <a:gd name="T53" fmla="*/ 13 h 54"/>
              <a:gd name="T54" fmla="*/ 54 w 54"/>
              <a:gd name="T55" fmla="*/ 9 h 54"/>
              <a:gd name="T56" fmla="*/ 54 w 54"/>
              <a:gd name="T57" fmla="*/ 0 h 54"/>
              <a:gd name="T58" fmla="*/ 46 w 54"/>
              <a:gd name="T59" fmla="*/ 0 h 54"/>
              <a:gd name="T60" fmla="*/ 9 w 54"/>
              <a:gd name="T61" fmla="*/ 0 h 54"/>
              <a:gd name="T62" fmla="*/ 0 w 54"/>
              <a:gd name="T63" fmla="*/ 0 h 54"/>
              <a:gd name="T64" fmla="*/ 0 w 54"/>
              <a:gd name="T65" fmla="*/ 9 h 54"/>
              <a:gd name="T66" fmla="*/ 0 w 54"/>
              <a:gd name="T67" fmla="*/ 9 h 54"/>
              <a:gd name="T68" fmla="*/ 14 w 54"/>
              <a:gd name="T69" fmla="*/ 4 h 54"/>
              <a:gd name="T70" fmla="*/ 33 w 54"/>
              <a:gd name="T71" fmla="*/ 4 h 54"/>
              <a:gd name="T72" fmla="*/ 28 w 54"/>
              <a:gd name="T73" fmla="*/ 9 h 54"/>
              <a:gd name="T74" fmla="*/ 24 w 54"/>
              <a:gd name="T75" fmla="*/ 9 h 54"/>
              <a:gd name="T76" fmla="*/ 29 w 54"/>
              <a:gd name="T77" fmla="*/ 19 h 54"/>
              <a:gd name="T78" fmla="*/ 23 w 54"/>
              <a:gd name="T79" fmla="*/ 29 h 54"/>
              <a:gd name="T80" fmla="*/ 20 w 54"/>
              <a:gd name="T81" fmla="*/ 34 h 54"/>
              <a:gd name="T82" fmla="*/ 24 w 54"/>
              <a:gd name="T83" fmla="*/ 39 h 54"/>
              <a:gd name="T84" fmla="*/ 25 w 54"/>
              <a:gd name="T85" fmla="*/ 39 h 54"/>
              <a:gd name="T86" fmla="*/ 32 w 54"/>
              <a:gd name="T87" fmla="*/ 52 h 54"/>
              <a:gd name="T88" fmla="*/ 32 w 54"/>
              <a:gd name="T89" fmla="*/ 54 h 54"/>
              <a:gd name="T90" fmla="*/ 0 w 54"/>
              <a:gd name="T91" fmla="*/ 29 h 54"/>
              <a:gd name="T92" fmla="*/ 0 w 54"/>
              <a:gd name="T93" fmla="*/ 42 h 54"/>
              <a:gd name="T94" fmla="*/ 10 w 54"/>
              <a:gd name="T95" fmla="*/ 40 h 54"/>
              <a:gd name="T96" fmla="*/ 12 w 54"/>
              <a:gd name="T97" fmla="*/ 40 h 54"/>
              <a:gd name="T98" fmla="*/ 13 w 54"/>
              <a:gd name="T99" fmla="*/ 40 h 54"/>
              <a:gd name="T100" fmla="*/ 11 w 54"/>
              <a:gd name="T101" fmla="*/ 36 h 54"/>
              <a:gd name="T102" fmla="*/ 11 w 54"/>
              <a:gd name="T103" fmla="*/ 33 h 54"/>
              <a:gd name="T104" fmla="*/ 10 w 54"/>
              <a:gd name="T105" fmla="*/ 33 h 54"/>
              <a:gd name="T106" fmla="*/ 0 w 54"/>
              <a:gd name="T107" fmla="*/ 29 h 54"/>
              <a:gd name="T108" fmla="*/ 11 w 54"/>
              <a:gd name="T109" fmla="*/ 8 h 54"/>
              <a:gd name="T110" fmla="*/ 6 w 54"/>
              <a:gd name="T111" fmla="*/ 10 h 54"/>
              <a:gd name="T112" fmla="*/ 4 w 54"/>
              <a:gd name="T113" fmla="*/ 18 h 54"/>
              <a:gd name="T114" fmla="*/ 14 w 54"/>
              <a:gd name="T115" fmla="*/ 29 h 54"/>
              <a:gd name="T116" fmla="*/ 14 w 54"/>
              <a:gd name="T117" fmla="*/ 29 h 54"/>
              <a:gd name="T118" fmla="*/ 19 w 54"/>
              <a:gd name="T119" fmla="*/ 27 h 54"/>
              <a:gd name="T120" fmla="*/ 20 w 54"/>
              <a:gd name="T121" fmla="*/ 19 h 54"/>
              <a:gd name="T122" fmla="*/ 11 w 54"/>
              <a:gd name="T123"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 h="54">
                <a:moveTo>
                  <a:pt x="9" y="54"/>
                </a:moveTo>
                <a:cubicBezTo>
                  <a:pt x="25" y="54"/>
                  <a:pt x="25" y="54"/>
                  <a:pt x="25" y="54"/>
                </a:cubicBezTo>
                <a:cubicBezTo>
                  <a:pt x="25" y="54"/>
                  <a:pt x="25" y="53"/>
                  <a:pt x="25" y="53"/>
                </a:cubicBezTo>
                <a:cubicBezTo>
                  <a:pt x="25" y="52"/>
                  <a:pt x="25" y="51"/>
                  <a:pt x="25" y="51"/>
                </a:cubicBezTo>
                <a:cubicBezTo>
                  <a:pt x="25" y="48"/>
                  <a:pt x="22" y="47"/>
                  <a:pt x="19" y="45"/>
                </a:cubicBezTo>
                <a:cubicBezTo>
                  <a:pt x="17" y="44"/>
                  <a:pt x="17" y="44"/>
                  <a:pt x="17" y="44"/>
                </a:cubicBezTo>
                <a:cubicBezTo>
                  <a:pt x="16" y="43"/>
                  <a:pt x="14" y="43"/>
                  <a:pt x="13" y="43"/>
                </a:cubicBezTo>
                <a:cubicBezTo>
                  <a:pt x="13" y="43"/>
                  <a:pt x="13" y="43"/>
                  <a:pt x="13" y="43"/>
                </a:cubicBezTo>
                <a:cubicBezTo>
                  <a:pt x="8" y="43"/>
                  <a:pt x="3" y="45"/>
                  <a:pt x="1" y="48"/>
                </a:cubicBezTo>
                <a:cubicBezTo>
                  <a:pt x="1" y="54"/>
                  <a:pt x="1" y="54"/>
                  <a:pt x="1" y="54"/>
                </a:cubicBezTo>
                <a:lnTo>
                  <a:pt x="9" y="54"/>
                </a:lnTo>
                <a:close/>
                <a:moveTo>
                  <a:pt x="32" y="54"/>
                </a:moveTo>
                <a:cubicBezTo>
                  <a:pt x="46" y="54"/>
                  <a:pt x="46" y="54"/>
                  <a:pt x="46" y="54"/>
                </a:cubicBezTo>
                <a:cubicBezTo>
                  <a:pt x="54" y="54"/>
                  <a:pt x="54" y="54"/>
                  <a:pt x="54" y="54"/>
                </a:cubicBezTo>
                <a:cubicBezTo>
                  <a:pt x="54" y="45"/>
                  <a:pt x="54" y="45"/>
                  <a:pt x="54" y="45"/>
                </a:cubicBezTo>
                <a:cubicBezTo>
                  <a:pt x="54" y="18"/>
                  <a:pt x="54" y="18"/>
                  <a:pt x="54" y="18"/>
                </a:cubicBezTo>
                <a:cubicBezTo>
                  <a:pt x="46" y="18"/>
                  <a:pt x="46" y="18"/>
                  <a:pt x="46" y="18"/>
                </a:cubicBezTo>
                <a:cubicBezTo>
                  <a:pt x="46" y="27"/>
                  <a:pt x="46" y="27"/>
                  <a:pt x="46" y="27"/>
                </a:cubicBezTo>
                <a:cubicBezTo>
                  <a:pt x="41" y="27"/>
                  <a:pt x="41" y="27"/>
                  <a:pt x="41" y="27"/>
                </a:cubicBezTo>
                <a:cubicBezTo>
                  <a:pt x="41" y="18"/>
                  <a:pt x="41" y="18"/>
                  <a:pt x="41" y="18"/>
                </a:cubicBezTo>
                <a:cubicBezTo>
                  <a:pt x="33" y="18"/>
                  <a:pt x="33" y="18"/>
                  <a:pt x="33" y="18"/>
                </a:cubicBezTo>
                <a:cubicBezTo>
                  <a:pt x="33" y="13"/>
                  <a:pt x="33" y="13"/>
                  <a:pt x="33" y="13"/>
                </a:cubicBezTo>
                <a:cubicBezTo>
                  <a:pt x="41" y="13"/>
                  <a:pt x="41" y="13"/>
                  <a:pt x="41" y="13"/>
                </a:cubicBezTo>
                <a:cubicBezTo>
                  <a:pt x="41" y="5"/>
                  <a:pt x="41" y="5"/>
                  <a:pt x="41" y="5"/>
                </a:cubicBezTo>
                <a:cubicBezTo>
                  <a:pt x="46" y="5"/>
                  <a:pt x="46" y="5"/>
                  <a:pt x="46" y="5"/>
                </a:cubicBezTo>
                <a:cubicBezTo>
                  <a:pt x="46" y="13"/>
                  <a:pt x="46" y="13"/>
                  <a:pt x="46" y="13"/>
                </a:cubicBezTo>
                <a:cubicBezTo>
                  <a:pt x="54" y="13"/>
                  <a:pt x="54" y="13"/>
                  <a:pt x="54" y="13"/>
                </a:cubicBezTo>
                <a:cubicBezTo>
                  <a:pt x="54" y="9"/>
                  <a:pt x="54" y="9"/>
                  <a:pt x="54" y="9"/>
                </a:cubicBezTo>
                <a:cubicBezTo>
                  <a:pt x="54" y="0"/>
                  <a:pt x="54" y="0"/>
                  <a:pt x="54" y="0"/>
                </a:cubicBezTo>
                <a:cubicBezTo>
                  <a:pt x="46" y="0"/>
                  <a:pt x="46" y="0"/>
                  <a:pt x="46" y="0"/>
                </a:cubicBezTo>
                <a:cubicBezTo>
                  <a:pt x="9" y="0"/>
                  <a:pt x="9" y="0"/>
                  <a:pt x="9" y="0"/>
                </a:cubicBezTo>
                <a:cubicBezTo>
                  <a:pt x="0" y="0"/>
                  <a:pt x="0" y="0"/>
                  <a:pt x="0" y="0"/>
                </a:cubicBezTo>
                <a:cubicBezTo>
                  <a:pt x="0" y="9"/>
                  <a:pt x="0" y="9"/>
                  <a:pt x="0" y="9"/>
                </a:cubicBezTo>
                <a:cubicBezTo>
                  <a:pt x="0" y="9"/>
                  <a:pt x="0" y="9"/>
                  <a:pt x="0" y="9"/>
                </a:cubicBezTo>
                <a:cubicBezTo>
                  <a:pt x="4" y="6"/>
                  <a:pt x="8" y="4"/>
                  <a:pt x="14" y="4"/>
                </a:cubicBezTo>
                <a:cubicBezTo>
                  <a:pt x="33" y="4"/>
                  <a:pt x="33" y="4"/>
                  <a:pt x="33" y="4"/>
                </a:cubicBezTo>
                <a:cubicBezTo>
                  <a:pt x="28" y="9"/>
                  <a:pt x="28" y="9"/>
                  <a:pt x="28" y="9"/>
                </a:cubicBezTo>
                <a:cubicBezTo>
                  <a:pt x="24" y="9"/>
                  <a:pt x="24" y="9"/>
                  <a:pt x="24" y="9"/>
                </a:cubicBezTo>
                <a:cubicBezTo>
                  <a:pt x="27" y="11"/>
                  <a:pt x="29" y="15"/>
                  <a:pt x="29" y="19"/>
                </a:cubicBezTo>
                <a:cubicBezTo>
                  <a:pt x="29" y="23"/>
                  <a:pt x="27" y="26"/>
                  <a:pt x="23" y="29"/>
                </a:cubicBezTo>
                <a:cubicBezTo>
                  <a:pt x="20" y="31"/>
                  <a:pt x="20" y="32"/>
                  <a:pt x="20" y="34"/>
                </a:cubicBezTo>
                <a:cubicBezTo>
                  <a:pt x="20" y="35"/>
                  <a:pt x="23" y="38"/>
                  <a:pt x="24" y="39"/>
                </a:cubicBezTo>
                <a:cubicBezTo>
                  <a:pt x="25" y="39"/>
                  <a:pt x="25" y="39"/>
                  <a:pt x="25" y="39"/>
                </a:cubicBezTo>
                <a:cubicBezTo>
                  <a:pt x="31" y="44"/>
                  <a:pt x="32" y="47"/>
                  <a:pt x="32" y="52"/>
                </a:cubicBezTo>
                <a:cubicBezTo>
                  <a:pt x="32" y="53"/>
                  <a:pt x="32" y="53"/>
                  <a:pt x="32" y="54"/>
                </a:cubicBezTo>
                <a:moveTo>
                  <a:pt x="0" y="29"/>
                </a:moveTo>
                <a:cubicBezTo>
                  <a:pt x="0" y="42"/>
                  <a:pt x="0" y="42"/>
                  <a:pt x="0" y="42"/>
                </a:cubicBezTo>
                <a:cubicBezTo>
                  <a:pt x="3" y="41"/>
                  <a:pt x="7" y="40"/>
                  <a:pt x="10" y="40"/>
                </a:cubicBezTo>
                <a:cubicBezTo>
                  <a:pt x="12" y="40"/>
                  <a:pt x="12" y="40"/>
                  <a:pt x="12" y="40"/>
                </a:cubicBezTo>
                <a:cubicBezTo>
                  <a:pt x="13" y="40"/>
                  <a:pt x="13" y="40"/>
                  <a:pt x="13" y="40"/>
                </a:cubicBezTo>
                <a:cubicBezTo>
                  <a:pt x="12" y="39"/>
                  <a:pt x="11" y="38"/>
                  <a:pt x="11" y="36"/>
                </a:cubicBezTo>
                <a:cubicBezTo>
                  <a:pt x="11" y="35"/>
                  <a:pt x="11" y="34"/>
                  <a:pt x="11" y="33"/>
                </a:cubicBezTo>
                <a:cubicBezTo>
                  <a:pt x="10" y="33"/>
                  <a:pt x="10" y="33"/>
                  <a:pt x="10" y="33"/>
                </a:cubicBezTo>
                <a:cubicBezTo>
                  <a:pt x="6" y="33"/>
                  <a:pt x="3" y="31"/>
                  <a:pt x="0" y="29"/>
                </a:cubicBezTo>
                <a:moveTo>
                  <a:pt x="11" y="8"/>
                </a:moveTo>
                <a:cubicBezTo>
                  <a:pt x="9" y="8"/>
                  <a:pt x="7" y="9"/>
                  <a:pt x="6" y="10"/>
                </a:cubicBezTo>
                <a:cubicBezTo>
                  <a:pt x="4" y="12"/>
                  <a:pt x="3" y="15"/>
                  <a:pt x="4" y="18"/>
                </a:cubicBezTo>
                <a:cubicBezTo>
                  <a:pt x="5" y="24"/>
                  <a:pt x="9" y="29"/>
                  <a:pt x="14" y="29"/>
                </a:cubicBezTo>
                <a:cubicBezTo>
                  <a:pt x="14" y="29"/>
                  <a:pt x="14" y="29"/>
                  <a:pt x="14" y="29"/>
                </a:cubicBezTo>
                <a:cubicBezTo>
                  <a:pt x="16" y="29"/>
                  <a:pt x="18" y="28"/>
                  <a:pt x="19" y="27"/>
                </a:cubicBezTo>
                <a:cubicBezTo>
                  <a:pt x="20" y="25"/>
                  <a:pt x="21" y="23"/>
                  <a:pt x="20" y="19"/>
                </a:cubicBezTo>
                <a:cubicBezTo>
                  <a:pt x="20" y="13"/>
                  <a:pt x="15" y="8"/>
                  <a:pt x="1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2" name="Freeform 6"/>
          <p:cNvSpPr>
            <a:spLocks/>
          </p:cNvSpPr>
          <p:nvPr userDrawn="1"/>
        </p:nvSpPr>
        <p:spPr bwMode="auto">
          <a:xfrm>
            <a:off x="4655596" y="6402824"/>
            <a:ext cx="234950" cy="244475"/>
          </a:xfrm>
          <a:custGeom>
            <a:avLst/>
            <a:gdLst>
              <a:gd name="T0" fmla="*/ 0 w 54"/>
              <a:gd name="T1" fmla="*/ 0 h 54"/>
              <a:gd name="T2" fmla="*/ 0 w 54"/>
              <a:gd name="T3" fmla="*/ 54 h 54"/>
              <a:gd name="T4" fmla="*/ 27 w 54"/>
              <a:gd name="T5" fmla="*/ 54 h 54"/>
              <a:gd name="T6" fmla="*/ 27 w 54"/>
              <a:gd name="T7" fmla="*/ 34 h 54"/>
              <a:gd name="T8" fmla="*/ 20 w 54"/>
              <a:gd name="T9" fmla="*/ 34 h 54"/>
              <a:gd name="T10" fmla="*/ 20 w 54"/>
              <a:gd name="T11" fmla="*/ 26 h 54"/>
              <a:gd name="T12" fmla="*/ 27 w 54"/>
              <a:gd name="T13" fmla="*/ 26 h 54"/>
              <a:gd name="T14" fmla="*/ 27 w 54"/>
              <a:gd name="T15" fmla="*/ 21 h 54"/>
              <a:gd name="T16" fmla="*/ 37 w 54"/>
              <a:gd name="T17" fmla="*/ 10 h 54"/>
              <a:gd name="T18" fmla="*/ 44 w 54"/>
              <a:gd name="T19" fmla="*/ 10 h 54"/>
              <a:gd name="T20" fmla="*/ 44 w 54"/>
              <a:gd name="T21" fmla="*/ 19 h 54"/>
              <a:gd name="T22" fmla="*/ 37 w 54"/>
              <a:gd name="T23" fmla="*/ 19 h 54"/>
              <a:gd name="T24" fmla="*/ 35 w 54"/>
              <a:gd name="T25" fmla="*/ 21 h 54"/>
              <a:gd name="T26" fmla="*/ 35 w 54"/>
              <a:gd name="T27" fmla="*/ 26 h 54"/>
              <a:gd name="T28" fmla="*/ 44 w 54"/>
              <a:gd name="T29" fmla="*/ 26 h 54"/>
              <a:gd name="T30" fmla="*/ 44 w 54"/>
              <a:gd name="T31" fmla="*/ 34 h 54"/>
              <a:gd name="T32" fmla="*/ 35 w 54"/>
              <a:gd name="T33" fmla="*/ 34 h 54"/>
              <a:gd name="T34" fmla="*/ 35 w 54"/>
              <a:gd name="T35" fmla="*/ 54 h 54"/>
              <a:gd name="T36" fmla="*/ 54 w 54"/>
              <a:gd name="T37" fmla="*/ 54 h 54"/>
              <a:gd name="T38" fmla="*/ 54 w 54"/>
              <a:gd name="T39" fmla="*/ 0 h 54"/>
              <a:gd name="T40" fmla="*/ 0 w 5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0"/>
                </a:moveTo>
                <a:cubicBezTo>
                  <a:pt x="0" y="54"/>
                  <a:pt x="0" y="54"/>
                  <a:pt x="0" y="54"/>
                </a:cubicBezTo>
                <a:cubicBezTo>
                  <a:pt x="27" y="54"/>
                  <a:pt x="27" y="54"/>
                  <a:pt x="27" y="54"/>
                </a:cubicBezTo>
                <a:cubicBezTo>
                  <a:pt x="27" y="34"/>
                  <a:pt x="27" y="34"/>
                  <a:pt x="27" y="34"/>
                </a:cubicBezTo>
                <a:cubicBezTo>
                  <a:pt x="20" y="34"/>
                  <a:pt x="20" y="34"/>
                  <a:pt x="20" y="34"/>
                </a:cubicBezTo>
                <a:cubicBezTo>
                  <a:pt x="20" y="26"/>
                  <a:pt x="20" y="26"/>
                  <a:pt x="20" y="26"/>
                </a:cubicBezTo>
                <a:cubicBezTo>
                  <a:pt x="27" y="26"/>
                  <a:pt x="27" y="26"/>
                  <a:pt x="27" y="26"/>
                </a:cubicBezTo>
                <a:cubicBezTo>
                  <a:pt x="27" y="21"/>
                  <a:pt x="27" y="21"/>
                  <a:pt x="27" y="21"/>
                </a:cubicBezTo>
                <a:cubicBezTo>
                  <a:pt x="27" y="15"/>
                  <a:pt x="31" y="10"/>
                  <a:pt x="37" y="10"/>
                </a:cubicBezTo>
                <a:cubicBezTo>
                  <a:pt x="44" y="10"/>
                  <a:pt x="44" y="10"/>
                  <a:pt x="44" y="10"/>
                </a:cubicBezTo>
                <a:cubicBezTo>
                  <a:pt x="44" y="19"/>
                  <a:pt x="44" y="19"/>
                  <a:pt x="44" y="19"/>
                </a:cubicBezTo>
                <a:cubicBezTo>
                  <a:pt x="37" y="19"/>
                  <a:pt x="37" y="19"/>
                  <a:pt x="37" y="19"/>
                </a:cubicBezTo>
                <a:cubicBezTo>
                  <a:pt x="36" y="19"/>
                  <a:pt x="35" y="20"/>
                  <a:pt x="35" y="21"/>
                </a:cubicBezTo>
                <a:cubicBezTo>
                  <a:pt x="35" y="26"/>
                  <a:pt x="35" y="26"/>
                  <a:pt x="35" y="26"/>
                </a:cubicBezTo>
                <a:cubicBezTo>
                  <a:pt x="44" y="26"/>
                  <a:pt x="44" y="26"/>
                  <a:pt x="44" y="26"/>
                </a:cubicBezTo>
                <a:cubicBezTo>
                  <a:pt x="44" y="34"/>
                  <a:pt x="44" y="34"/>
                  <a:pt x="44" y="34"/>
                </a:cubicBezTo>
                <a:cubicBezTo>
                  <a:pt x="35" y="34"/>
                  <a:pt x="35" y="34"/>
                  <a:pt x="35" y="34"/>
                </a:cubicBezTo>
                <a:cubicBezTo>
                  <a:pt x="35" y="54"/>
                  <a:pt x="35" y="54"/>
                  <a:pt x="35" y="54"/>
                </a:cubicBezTo>
                <a:cubicBezTo>
                  <a:pt x="54" y="54"/>
                  <a:pt x="54" y="54"/>
                  <a:pt x="54" y="54"/>
                </a:cubicBezTo>
                <a:cubicBezTo>
                  <a:pt x="54" y="0"/>
                  <a:pt x="54" y="0"/>
                  <a:pt x="5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3" name="Freeform 7"/>
          <p:cNvSpPr>
            <a:spLocks noEditPoints="1"/>
          </p:cNvSpPr>
          <p:nvPr userDrawn="1"/>
        </p:nvSpPr>
        <p:spPr bwMode="auto">
          <a:xfrm>
            <a:off x="4950871" y="6402824"/>
            <a:ext cx="236537"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8 w 54"/>
              <a:gd name="T11" fmla="*/ 36 h 54"/>
              <a:gd name="T12" fmla="*/ 37 w 54"/>
              <a:gd name="T13" fmla="*/ 36 h 54"/>
              <a:gd name="T14" fmla="*/ 41 w 54"/>
              <a:gd name="T15" fmla="*/ 40 h 54"/>
              <a:gd name="T16" fmla="*/ 37 w 54"/>
              <a:gd name="T17" fmla="*/ 44 h 54"/>
              <a:gd name="T18" fmla="*/ 27 w 54"/>
              <a:gd name="T19" fmla="*/ 44 h 54"/>
              <a:gd name="T20" fmla="*/ 14 w 54"/>
              <a:gd name="T21" fmla="*/ 30 h 54"/>
              <a:gd name="T22" fmla="*/ 14 w 54"/>
              <a:gd name="T23" fmla="*/ 15 h 54"/>
              <a:gd name="T24" fmla="*/ 18 w 54"/>
              <a:gd name="T25" fmla="*/ 11 h 54"/>
              <a:gd name="T26" fmla="*/ 22 w 54"/>
              <a:gd name="T27" fmla="*/ 15 h 54"/>
              <a:gd name="T28" fmla="*/ 22 w 54"/>
              <a:gd name="T29" fmla="*/ 19 h 54"/>
              <a:gd name="T30" fmla="*/ 37 w 54"/>
              <a:gd name="T31" fmla="*/ 19 h 54"/>
              <a:gd name="T32" fmla="*/ 41 w 54"/>
              <a:gd name="T33" fmla="*/ 23 h 54"/>
              <a:gd name="T34" fmla="*/ 37 w 54"/>
              <a:gd name="T35" fmla="*/ 28 h 54"/>
              <a:gd name="T36" fmla="*/ 22 w 54"/>
              <a:gd name="T37" fmla="*/ 28 h 54"/>
              <a:gd name="T38" fmla="*/ 22 w 54"/>
              <a:gd name="T39" fmla="*/ 30 h 54"/>
              <a:gd name="T40" fmla="*/ 28 w 54"/>
              <a:gd name="T41" fmla="*/ 3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8" y="36"/>
                </a:moveTo>
                <a:cubicBezTo>
                  <a:pt x="37" y="36"/>
                  <a:pt x="37" y="36"/>
                  <a:pt x="37" y="36"/>
                </a:cubicBezTo>
                <a:cubicBezTo>
                  <a:pt x="39" y="36"/>
                  <a:pt x="41" y="38"/>
                  <a:pt x="41" y="40"/>
                </a:cubicBezTo>
                <a:cubicBezTo>
                  <a:pt x="41" y="43"/>
                  <a:pt x="39" y="44"/>
                  <a:pt x="37" y="44"/>
                </a:cubicBezTo>
                <a:cubicBezTo>
                  <a:pt x="27" y="44"/>
                  <a:pt x="27" y="44"/>
                  <a:pt x="27" y="44"/>
                </a:cubicBezTo>
                <a:cubicBezTo>
                  <a:pt x="20" y="44"/>
                  <a:pt x="14" y="38"/>
                  <a:pt x="14" y="30"/>
                </a:cubicBezTo>
                <a:cubicBezTo>
                  <a:pt x="14" y="15"/>
                  <a:pt x="14" y="15"/>
                  <a:pt x="14" y="15"/>
                </a:cubicBezTo>
                <a:cubicBezTo>
                  <a:pt x="14" y="12"/>
                  <a:pt x="16" y="11"/>
                  <a:pt x="18" y="11"/>
                </a:cubicBezTo>
                <a:cubicBezTo>
                  <a:pt x="20" y="11"/>
                  <a:pt x="22" y="12"/>
                  <a:pt x="22" y="15"/>
                </a:cubicBezTo>
                <a:cubicBezTo>
                  <a:pt x="22" y="19"/>
                  <a:pt x="22" y="19"/>
                  <a:pt x="22" y="19"/>
                </a:cubicBezTo>
                <a:cubicBezTo>
                  <a:pt x="37" y="19"/>
                  <a:pt x="37" y="19"/>
                  <a:pt x="37" y="19"/>
                </a:cubicBezTo>
                <a:cubicBezTo>
                  <a:pt x="39" y="19"/>
                  <a:pt x="41" y="21"/>
                  <a:pt x="41" y="23"/>
                </a:cubicBezTo>
                <a:cubicBezTo>
                  <a:pt x="41" y="26"/>
                  <a:pt x="39" y="28"/>
                  <a:pt x="37" y="28"/>
                </a:cubicBezTo>
                <a:cubicBezTo>
                  <a:pt x="22" y="28"/>
                  <a:pt x="22" y="28"/>
                  <a:pt x="22" y="28"/>
                </a:cubicBezTo>
                <a:cubicBezTo>
                  <a:pt x="22" y="30"/>
                  <a:pt x="22" y="30"/>
                  <a:pt x="22" y="30"/>
                </a:cubicBezTo>
                <a:cubicBezTo>
                  <a:pt x="22" y="33"/>
                  <a:pt x="25" y="36"/>
                  <a:pt x="28" y="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4" name="Freeform 8"/>
          <p:cNvSpPr>
            <a:spLocks noEditPoints="1"/>
          </p:cNvSpPr>
          <p:nvPr userDrawn="1"/>
        </p:nvSpPr>
        <p:spPr bwMode="auto">
          <a:xfrm>
            <a:off x="40539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20 w 54"/>
              <a:gd name="T11" fmla="*/ 44 h 54"/>
              <a:gd name="T12" fmla="*/ 14 w 54"/>
              <a:gd name="T13" fmla="*/ 44 h 54"/>
              <a:gd name="T14" fmla="*/ 14 w 54"/>
              <a:gd name="T15" fmla="*/ 20 h 54"/>
              <a:gd name="T16" fmla="*/ 20 w 54"/>
              <a:gd name="T17" fmla="*/ 20 h 54"/>
              <a:gd name="T18" fmla="*/ 20 w 54"/>
              <a:gd name="T19" fmla="*/ 44 h 54"/>
              <a:gd name="T20" fmla="*/ 17 w 54"/>
              <a:gd name="T21" fmla="*/ 18 h 54"/>
              <a:gd name="T22" fmla="*/ 13 w 54"/>
              <a:gd name="T23" fmla="*/ 14 h 54"/>
              <a:gd name="T24" fmla="*/ 17 w 54"/>
              <a:gd name="T25" fmla="*/ 9 h 54"/>
              <a:gd name="T26" fmla="*/ 21 w 54"/>
              <a:gd name="T27" fmla="*/ 14 h 54"/>
              <a:gd name="T28" fmla="*/ 17 w 54"/>
              <a:gd name="T29" fmla="*/ 18 h 54"/>
              <a:gd name="T30" fmla="*/ 44 w 54"/>
              <a:gd name="T31" fmla="*/ 44 h 54"/>
              <a:gd name="T32" fmla="*/ 37 w 54"/>
              <a:gd name="T33" fmla="*/ 44 h 54"/>
              <a:gd name="T34" fmla="*/ 37 w 54"/>
              <a:gd name="T35" fmla="*/ 30 h 54"/>
              <a:gd name="T36" fmla="*/ 36 w 54"/>
              <a:gd name="T37" fmla="*/ 28 h 54"/>
              <a:gd name="T38" fmla="*/ 33 w 54"/>
              <a:gd name="T39" fmla="*/ 28 h 54"/>
              <a:gd name="T40" fmla="*/ 31 w 54"/>
              <a:gd name="T41" fmla="*/ 29 h 54"/>
              <a:gd name="T42" fmla="*/ 31 w 54"/>
              <a:gd name="T43" fmla="*/ 44 h 54"/>
              <a:gd name="T44" fmla="*/ 24 w 54"/>
              <a:gd name="T45" fmla="*/ 44 h 54"/>
              <a:gd name="T46" fmla="*/ 24 w 54"/>
              <a:gd name="T47" fmla="*/ 20 h 54"/>
              <a:gd name="T48" fmla="*/ 31 w 54"/>
              <a:gd name="T49" fmla="*/ 20 h 54"/>
              <a:gd name="T50" fmla="*/ 31 w 54"/>
              <a:gd name="T51" fmla="*/ 21 h 54"/>
              <a:gd name="T52" fmla="*/ 40 w 54"/>
              <a:gd name="T53" fmla="*/ 22 h 54"/>
              <a:gd name="T54" fmla="*/ 44 w 54"/>
              <a:gd name="T55" fmla="*/ 30 h 54"/>
              <a:gd name="T56" fmla="*/ 44 w 54"/>
              <a:gd name="T57"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20" y="44"/>
                </a:moveTo>
                <a:cubicBezTo>
                  <a:pt x="14" y="44"/>
                  <a:pt x="14" y="44"/>
                  <a:pt x="14" y="44"/>
                </a:cubicBezTo>
                <a:cubicBezTo>
                  <a:pt x="14" y="20"/>
                  <a:pt x="14" y="20"/>
                  <a:pt x="14" y="20"/>
                </a:cubicBezTo>
                <a:cubicBezTo>
                  <a:pt x="20" y="20"/>
                  <a:pt x="20" y="20"/>
                  <a:pt x="20" y="20"/>
                </a:cubicBezTo>
                <a:lnTo>
                  <a:pt x="20" y="44"/>
                </a:lnTo>
                <a:close/>
                <a:moveTo>
                  <a:pt x="17" y="18"/>
                </a:moveTo>
                <a:cubicBezTo>
                  <a:pt x="15" y="18"/>
                  <a:pt x="13" y="16"/>
                  <a:pt x="13" y="14"/>
                </a:cubicBezTo>
                <a:cubicBezTo>
                  <a:pt x="13" y="11"/>
                  <a:pt x="15" y="9"/>
                  <a:pt x="17" y="9"/>
                </a:cubicBezTo>
                <a:cubicBezTo>
                  <a:pt x="19" y="9"/>
                  <a:pt x="21" y="11"/>
                  <a:pt x="21" y="14"/>
                </a:cubicBezTo>
                <a:cubicBezTo>
                  <a:pt x="21" y="16"/>
                  <a:pt x="19" y="18"/>
                  <a:pt x="17" y="18"/>
                </a:cubicBezTo>
                <a:moveTo>
                  <a:pt x="44" y="44"/>
                </a:moveTo>
                <a:cubicBezTo>
                  <a:pt x="37" y="44"/>
                  <a:pt x="37" y="44"/>
                  <a:pt x="37" y="44"/>
                </a:cubicBezTo>
                <a:cubicBezTo>
                  <a:pt x="37" y="30"/>
                  <a:pt x="37" y="30"/>
                  <a:pt x="37" y="30"/>
                </a:cubicBezTo>
                <a:cubicBezTo>
                  <a:pt x="37" y="29"/>
                  <a:pt x="37" y="28"/>
                  <a:pt x="36" y="28"/>
                </a:cubicBezTo>
                <a:cubicBezTo>
                  <a:pt x="36" y="27"/>
                  <a:pt x="34" y="27"/>
                  <a:pt x="33" y="28"/>
                </a:cubicBezTo>
                <a:cubicBezTo>
                  <a:pt x="31" y="29"/>
                  <a:pt x="31" y="29"/>
                  <a:pt x="31" y="29"/>
                </a:cubicBezTo>
                <a:cubicBezTo>
                  <a:pt x="31" y="44"/>
                  <a:pt x="31" y="44"/>
                  <a:pt x="31" y="44"/>
                </a:cubicBezTo>
                <a:cubicBezTo>
                  <a:pt x="24" y="44"/>
                  <a:pt x="24" y="44"/>
                  <a:pt x="24" y="44"/>
                </a:cubicBezTo>
                <a:cubicBezTo>
                  <a:pt x="24" y="20"/>
                  <a:pt x="24" y="20"/>
                  <a:pt x="24" y="20"/>
                </a:cubicBezTo>
                <a:cubicBezTo>
                  <a:pt x="31" y="20"/>
                  <a:pt x="31" y="20"/>
                  <a:pt x="31" y="20"/>
                </a:cubicBezTo>
                <a:cubicBezTo>
                  <a:pt x="31" y="21"/>
                  <a:pt x="31" y="21"/>
                  <a:pt x="31" y="21"/>
                </a:cubicBezTo>
                <a:cubicBezTo>
                  <a:pt x="33" y="20"/>
                  <a:pt x="37" y="20"/>
                  <a:pt x="40" y="22"/>
                </a:cubicBezTo>
                <a:cubicBezTo>
                  <a:pt x="42" y="23"/>
                  <a:pt x="44" y="27"/>
                  <a:pt x="44" y="30"/>
                </a:cubicBezTo>
                <a:lnTo>
                  <a:pt x="4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5" name="Freeform 9"/>
          <p:cNvSpPr>
            <a:spLocks noEditPoints="1"/>
          </p:cNvSpPr>
          <p:nvPr userDrawn="1"/>
        </p:nvSpPr>
        <p:spPr bwMode="auto">
          <a:xfrm>
            <a:off x="5552534"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38 w 54"/>
              <a:gd name="T11" fmla="*/ 35 h 54"/>
              <a:gd name="T12" fmla="*/ 26 w 54"/>
              <a:gd name="T13" fmla="*/ 36 h 54"/>
              <a:gd name="T14" fmla="*/ 24 w 54"/>
              <a:gd name="T15" fmla="*/ 35 h 54"/>
              <a:gd name="T16" fmla="*/ 20 w 54"/>
              <a:gd name="T17" fmla="*/ 47 h 54"/>
              <a:gd name="T18" fmla="*/ 18 w 54"/>
              <a:gd name="T19" fmla="*/ 47 h 54"/>
              <a:gd name="T20" fmla="*/ 18 w 54"/>
              <a:gd name="T21" fmla="*/ 47 h 54"/>
              <a:gd name="T22" fmla="*/ 18 w 54"/>
              <a:gd name="T23" fmla="*/ 41 h 54"/>
              <a:gd name="T24" fmla="*/ 21 w 54"/>
              <a:gd name="T25" fmla="*/ 27 h 54"/>
              <a:gd name="T26" fmla="*/ 20 w 54"/>
              <a:gd name="T27" fmla="*/ 22 h 54"/>
              <a:gd name="T28" fmla="*/ 28 w 54"/>
              <a:gd name="T29" fmla="*/ 19 h 54"/>
              <a:gd name="T30" fmla="*/ 27 w 54"/>
              <a:gd name="T31" fmla="*/ 33 h 54"/>
              <a:gd name="T32" fmla="*/ 31 w 54"/>
              <a:gd name="T33" fmla="*/ 34 h 54"/>
              <a:gd name="T34" fmla="*/ 33 w 54"/>
              <a:gd name="T35" fmla="*/ 13 h 54"/>
              <a:gd name="T36" fmla="*/ 16 w 54"/>
              <a:gd name="T37" fmla="*/ 24 h 54"/>
              <a:gd name="T38" fmla="*/ 17 w 54"/>
              <a:gd name="T39" fmla="*/ 32 h 54"/>
              <a:gd name="T40" fmla="*/ 11 w 54"/>
              <a:gd name="T41" fmla="*/ 23 h 54"/>
              <a:gd name="T42" fmla="*/ 30 w 54"/>
              <a:gd name="T43" fmla="*/ 8 h 54"/>
              <a:gd name="T44" fmla="*/ 43 w 54"/>
              <a:gd name="T45" fmla="*/ 20 h 54"/>
              <a:gd name="T46" fmla="*/ 38 w 54"/>
              <a:gd name="T4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38" y="35"/>
                </a:moveTo>
                <a:cubicBezTo>
                  <a:pt x="35" y="37"/>
                  <a:pt x="29" y="39"/>
                  <a:pt x="26" y="36"/>
                </a:cubicBezTo>
                <a:cubicBezTo>
                  <a:pt x="25" y="36"/>
                  <a:pt x="25" y="35"/>
                  <a:pt x="24" y="35"/>
                </a:cubicBezTo>
                <a:cubicBezTo>
                  <a:pt x="23" y="39"/>
                  <a:pt x="22" y="44"/>
                  <a:pt x="20" y="47"/>
                </a:cubicBezTo>
                <a:cubicBezTo>
                  <a:pt x="18" y="47"/>
                  <a:pt x="18" y="47"/>
                  <a:pt x="18" y="47"/>
                </a:cubicBezTo>
                <a:cubicBezTo>
                  <a:pt x="18" y="47"/>
                  <a:pt x="18" y="47"/>
                  <a:pt x="18" y="47"/>
                </a:cubicBezTo>
                <a:cubicBezTo>
                  <a:pt x="17" y="45"/>
                  <a:pt x="18" y="42"/>
                  <a:pt x="18" y="41"/>
                </a:cubicBezTo>
                <a:cubicBezTo>
                  <a:pt x="18" y="37"/>
                  <a:pt x="21" y="31"/>
                  <a:pt x="21" y="27"/>
                </a:cubicBezTo>
                <a:cubicBezTo>
                  <a:pt x="21" y="26"/>
                  <a:pt x="20" y="24"/>
                  <a:pt x="20" y="22"/>
                </a:cubicBezTo>
                <a:cubicBezTo>
                  <a:pt x="21" y="18"/>
                  <a:pt x="26" y="15"/>
                  <a:pt x="28" y="19"/>
                </a:cubicBezTo>
                <a:cubicBezTo>
                  <a:pt x="30" y="24"/>
                  <a:pt x="23" y="29"/>
                  <a:pt x="27" y="33"/>
                </a:cubicBezTo>
                <a:cubicBezTo>
                  <a:pt x="27" y="33"/>
                  <a:pt x="29" y="34"/>
                  <a:pt x="31" y="34"/>
                </a:cubicBezTo>
                <a:cubicBezTo>
                  <a:pt x="38" y="32"/>
                  <a:pt x="39" y="17"/>
                  <a:pt x="33" y="13"/>
                </a:cubicBezTo>
                <a:cubicBezTo>
                  <a:pt x="24" y="8"/>
                  <a:pt x="15" y="16"/>
                  <a:pt x="16" y="24"/>
                </a:cubicBezTo>
                <a:cubicBezTo>
                  <a:pt x="16" y="27"/>
                  <a:pt x="19" y="29"/>
                  <a:pt x="17" y="32"/>
                </a:cubicBezTo>
                <a:cubicBezTo>
                  <a:pt x="13" y="30"/>
                  <a:pt x="11" y="27"/>
                  <a:pt x="11" y="23"/>
                </a:cubicBezTo>
                <a:cubicBezTo>
                  <a:pt x="11" y="13"/>
                  <a:pt x="20" y="7"/>
                  <a:pt x="30" y="8"/>
                </a:cubicBezTo>
                <a:cubicBezTo>
                  <a:pt x="37" y="9"/>
                  <a:pt x="42" y="14"/>
                  <a:pt x="43" y="20"/>
                </a:cubicBezTo>
                <a:cubicBezTo>
                  <a:pt x="43" y="25"/>
                  <a:pt x="41" y="32"/>
                  <a:pt x="38"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6" name="Freeform 10"/>
          <p:cNvSpPr>
            <a:spLocks noEditPoints="1"/>
          </p:cNvSpPr>
          <p:nvPr userDrawn="1"/>
        </p:nvSpPr>
        <p:spPr bwMode="auto">
          <a:xfrm>
            <a:off x="5252496" y="6402824"/>
            <a:ext cx="234950" cy="244475"/>
          </a:xfrm>
          <a:custGeom>
            <a:avLst/>
            <a:gdLst>
              <a:gd name="T0" fmla="*/ 0 w 54"/>
              <a:gd name="T1" fmla="*/ 54 h 54"/>
              <a:gd name="T2" fmla="*/ 54 w 54"/>
              <a:gd name="T3" fmla="*/ 54 h 54"/>
              <a:gd name="T4" fmla="*/ 54 w 54"/>
              <a:gd name="T5" fmla="*/ 0 h 54"/>
              <a:gd name="T6" fmla="*/ 0 w 54"/>
              <a:gd name="T7" fmla="*/ 0 h 54"/>
              <a:gd name="T8" fmla="*/ 0 w 54"/>
              <a:gd name="T9" fmla="*/ 54 h 54"/>
              <a:gd name="T10" fmla="*/ 15 w 54"/>
              <a:gd name="T11" fmla="*/ 44 h 54"/>
              <a:gd name="T12" fmla="*/ 10 w 54"/>
              <a:gd name="T13" fmla="*/ 40 h 54"/>
              <a:gd name="T14" fmla="*/ 15 w 54"/>
              <a:gd name="T15" fmla="*/ 36 h 54"/>
              <a:gd name="T16" fmla="*/ 19 w 54"/>
              <a:gd name="T17" fmla="*/ 40 h 54"/>
              <a:gd name="T18" fmla="*/ 15 w 54"/>
              <a:gd name="T19" fmla="*/ 44 h 54"/>
              <a:gd name="T20" fmla="*/ 26 w 54"/>
              <a:gd name="T21" fmla="*/ 44 h 54"/>
              <a:gd name="T22" fmla="*/ 21 w 54"/>
              <a:gd name="T23" fmla="*/ 34 h 54"/>
              <a:gd name="T24" fmla="*/ 10 w 54"/>
              <a:gd name="T25" fmla="*/ 29 h 54"/>
              <a:gd name="T26" fmla="*/ 10 w 54"/>
              <a:gd name="T27" fmla="*/ 23 h 54"/>
              <a:gd name="T28" fmla="*/ 31 w 54"/>
              <a:gd name="T29" fmla="*/ 44 h 54"/>
              <a:gd name="T30" fmla="*/ 26 w 54"/>
              <a:gd name="T31" fmla="*/ 44 h 54"/>
              <a:gd name="T32" fmla="*/ 37 w 54"/>
              <a:gd name="T33" fmla="*/ 44 h 54"/>
              <a:gd name="T34" fmla="*/ 10 w 54"/>
              <a:gd name="T35" fmla="*/ 18 h 54"/>
              <a:gd name="T36" fmla="*/ 10 w 54"/>
              <a:gd name="T37" fmla="*/ 12 h 54"/>
              <a:gd name="T38" fmla="*/ 42 w 54"/>
              <a:gd name="T39" fmla="*/ 44 h 54"/>
              <a:gd name="T40" fmla="*/ 37 w 54"/>
              <a:gd name="T41"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4">
                <a:moveTo>
                  <a:pt x="0" y="54"/>
                </a:moveTo>
                <a:cubicBezTo>
                  <a:pt x="54" y="54"/>
                  <a:pt x="54" y="54"/>
                  <a:pt x="54" y="54"/>
                </a:cubicBezTo>
                <a:cubicBezTo>
                  <a:pt x="54" y="0"/>
                  <a:pt x="54" y="0"/>
                  <a:pt x="54" y="0"/>
                </a:cubicBezTo>
                <a:cubicBezTo>
                  <a:pt x="0" y="0"/>
                  <a:pt x="0" y="0"/>
                  <a:pt x="0" y="0"/>
                </a:cubicBezTo>
                <a:lnTo>
                  <a:pt x="0" y="54"/>
                </a:lnTo>
                <a:close/>
                <a:moveTo>
                  <a:pt x="15" y="44"/>
                </a:moveTo>
                <a:cubicBezTo>
                  <a:pt x="12" y="44"/>
                  <a:pt x="10" y="43"/>
                  <a:pt x="10" y="40"/>
                </a:cubicBezTo>
                <a:cubicBezTo>
                  <a:pt x="10" y="38"/>
                  <a:pt x="12" y="36"/>
                  <a:pt x="15" y="36"/>
                </a:cubicBezTo>
                <a:cubicBezTo>
                  <a:pt x="17" y="36"/>
                  <a:pt x="19" y="38"/>
                  <a:pt x="19" y="40"/>
                </a:cubicBezTo>
                <a:cubicBezTo>
                  <a:pt x="19" y="43"/>
                  <a:pt x="17" y="44"/>
                  <a:pt x="15" y="44"/>
                </a:cubicBezTo>
                <a:moveTo>
                  <a:pt x="26" y="44"/>
                </a:moveTo>
                <a:cubicBezTo>
                  <a:pt x="26" y="42"/>
                  <a:pt x="24" y="37"/>
                  <a:pt x="21" y="34"/>
                </a:cubicBezTo>
                <a:cubicBezTo>
                  <a:pt x="18" y="31"/>
                  <a:pt x="13" y="29"/>
                  <a:pt x="10" y="29"/>
                </a:cubicBezTo>
                <a:cubicBezTo>
                  <a:pt x="10" y="23"/>
                  <a:pt x="10" y="23"/>
                  <a:pt x="10" y="23"/>
                </a:cubicBezTo>
                <a:cubicBezTo>
                  <a:pt x="22" y="23"/>
                  <a:pt x="31" y="33"/>
                  <a:pt x="31" y="44"/>
                </a:cubicBezTo>
                <a:lnTo>
                  <a:pt x="26" y="44"/>
                </a:lnTo>
                <a:close/>
                <a:moveTo>
                  <a:pt x="37" y="44"/>
                </a:moveTo>
                <a:cubicBezTo>
                  <a:pt x="37" y="30"/>
                  <a:pt x="25" y="18"/>
                  <a:pt x="10" y="18"/>
                </a:cubicBezTo>
                <a:cubicBezTo>
                  <a:pt x="10" y="12"/>
                  <a:pt x="10" y="12"/>
                  <a:pt x="10" y="12"/>
                </a:cubicBezTo>
                <a:cubicBezTo>
                  <a:pt x="28" y="12"/>
                  <a:pt x="42" y="27"/>
                  <a:pt x="42" y="44"/>
                </a:cubicBezTo>
                <a:lnTo>
                  <a:pt x="37"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sp>
        <p:nvSpPr>
          <p:cNvPr id="27" name="Freeform 11"/>
          <p:cNvSpPr>
            <a:spLocks noEditPoints="1"/>
          </p:cNvSpPr>
          <p:nvPr userDrawn="1"/>
        </p:nvSpPr>
        <p:spPr bwMode="auto">
          <a:xfrm>
            <a:off x="4353971" y="6402824"/>
            <a:ext cx="236537" cy="244475"/>
          </a:xfrm>
          <a:custGeom>
            <a:avLst/>
            <a:gdLst>
              <a:gd name="T0" fmla="*/ 0 w 149"/>
              <a:gd name="T1" fmla="*/ 154 h 154"/>
              <a:gd name="T2" fmla="*/ 149 w 149"/>
              <a:gd name="T3" fmla="*/ 154 h 154"/>
              <a:gd name="T4" fmla="*/ 149 w 149"/>
              <a:gd name="T5" fmla="*/ 0 h 154"/>
              <a:gd name="T6" fmla="*/ 0 w 149"/>
              <a:gd name="T7" fmla="*/ 0 h 154"/>
              <a:gd name="T8" fmla="*/ 0 w 149"/>
              <a:gd name="T9" fmla="*/ 154 h 154"/>
              <a:gd name="T10" fmla="*/ 42 w 149"/>
              <a:gd name="T11" fmla="*/ 122 h 154"/>
              <a:gd name="T12" fmla="*/ 42 w 149"/>
              <a:gd name="T13" fmla="*/ 34 h 154"/>
              <a:gd name="T14" fmla="*/ 105 w 149"/>
              <a:gd name="T15" fmla="*/ 80 h 154"/>
              <a:gd name="T16" fmla="*/ 42 w 149"/>
              <a:gd name="T17" fmla="*/ 12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54">
                <a:moveTo>
                  <a:pt x="0" y="154"/>
                </a:moveTo>
                <a:lnTo>
                  <a:pt x="149" y="154"/>
                </a:lnTo>
                <a:lnTo>
                  <a:pt x="149" y="0"/>
                </a:lnTo>
                <a:lnTo>
                  <a:pt x="0" y="0"/>
                </a:lnTo>
                <a:lnTo>
                  <a:pt x="0" y="154"/>
                </a:lnTo>
                <a:close/>
                <a:moveTo>
                  <a:pt x="42" y="122"/>
                </a:moveTo>
                <a:lnTo>
                  <a:pt x="42" y="34"/>
                </a:lnTo>
                <a:lnTo>
                  <a:pt x="105" y="80"/>
                </a:lnTo>
                <a:lnTo>
                  <a:pt x="42" y="1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5EB8"/>
              </a:solidFill>
            </a:endParaRPr>
          </a:p>
        </p:txBody>
      </p:sp>
      <p:grpSp>
        <p:nvGrpSpPr>
          <p:cNvPr id="28" name="Grupo 27"/>
          <p:cNvGrpSpPr/>
          <p:nvPr userDrawn="1"/>
        </p:nvGrpSpPr>
        <p:grpSpPr>
          <a:xfrm>
            <a:off x="9621123" y="1122673"/>
            <a:ext cx="2751419" cy="2345067"/>
            <a:chOff x="7842547" y="2093286"/>
            <a:chExt cx="4597521" cy="3918521"/>
          </a:xfrm>
        </p:grpSpPr>
        <p:pic>
          <p:nvPicPr>
            <p:cNvPr id="29" name="Imagen 28"/>
            <p:cNvPicPr>
              <a:picLocks noChangeAspect="1"/>
            </p:cNvPicPr>
            <p:nvPr/>
          </p:nvPicPr>
          <p:blipFill rotWithShape="1">
            <a:blip r:embed="rId2"/>
            <a:srcRect r="61222"/>
            <a:stretch/>
          </p:blipFill>
          <p:spPr>
            <a:xfrm rot="9987682" flipH="1">
              <a:off x="7842547" y="2093286"/>
              <a:ext cx="4597521" cy="3918521"/>
            </a:xfrm>
            <a:prstGeom prst="rect">
              <a:avLst/>
            </a:prstGeom>
          </p:spPr>
        </p:pic>
        <p:sp>
          <p:nvSpPr>
            <p:cNvPr id="30" name="Rectángulo 29"/>
            <p:cNvSpPr/>
            <p:nvPr/>
          </p:nvSpPr>
          <p:spPr>
            <a:xfrm>
              <a:off x="7938183" y="2667925"/>
              <a:ext cx="571500" cy="24638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grpSp>
      <p:pic>
        <p:nvPicPr>
          <p:cNvPr id="32" name="Imagen 31"/>
          <p:cNvPicPr>
            <a:picLocks noChangeAspect="1"/>
          </p:cNvPicPr>
          <p:nvPr userDrawn="1"/>
        </p:nvPicPr>
        <p:blipFill rotWithShape="1">
          <a:blip r:embed="rId3" cstate="print">
            <a:extLst>
              <a:ext uri="{28A0092B-C50C-407E-A947-70E740481C1C}">
                <a14:useLocalDpi xmlns:a14="http://schemas.microsoft.com/office/drawing/2010/main" val="0"/>
              </a:ext>
            </a:extLst>
          </a:blip>
          <a:srcRect b="26815"/>
          <a:stretch/>
        </p:blipFill>
        <p:spPr>
          <a:xfrm>
            <a:off x="7041575" y="724613"/>
            <a:ext cx="4130427" cy="2354831"/>
          </a:xfrm>
          <a:prstGeom prst="rect">
            <a:avLst/>
          </a:prstGeom>
        </p:spPr>
      </p:pic>
      <p:grpSp>
        <p:nvGrpSpPr>
          <p:cNvPr id="33" name="Grupo 32"/>
          <p:cNvGrpSpPr/>
          <p:nvPr userDrawn="1"/>
        </p:nvGrpSpPr>
        <p:grpSpPr>
          <a:xfrm>
            <a:off x="-723900" y="1120930"/>
            <a:ext cx="8956032" cy="1592011"/>
            <a:chOff x="-12700" y="682078"/>
            <a:chExt cx="8956032" cy="1592011"/>
          </a:xfrm>
        </p:grpSpPr>
        <p:sp>
          <p:nvSpPr>
            <p:cNvPr id="34" name="Forma libre 33"/>
            <p:cNvSpPr/>
            <p:nvPr/>
          </p:nvSpPr>
          <p:spPr>
            <a:xfrm>
              <a:off x="-12700" y="682078"/>
              <a:ext cx="8890000" cy="1592011"/>
            </a:xfrm>
            <a:custGeom>
              <a:avLst/>
              <a:gdLst>
                <a:gd name="connsiteX0" fmla="*/ 0 w 8890000"/>
                <a:gd name="connsiteY0" fmla="*/ 1304132 h 1486839"/>
                <a:gd name="connsiteX1" fmla="*/ 2578100 w 8890000"/>
                <a:gd name="connsiteY1" fmla="*/ 1291432 h 1486839"/>
                <a:gd name="connsiteX2" fmla="*/ 3911600 w 8890000"/>
                <a:gd name="connsiteY2" fmla="*/ 885032 h 1486839"/>
                <a:gd name="connsiteX3" fmla="*/ 4114800 w 8890000"/>
                <a:gd name="connsiteY3" fmla="*/ 97632 h 1486839"/>
                <a:gd name="connsiteX4" fmla="*/ 2908300 w 8890000"/>
                <a:gd name="connsiteY4" fmla="*/ 97632 h 1486839"/>
                <a:gd name="connsiteX5" fmla="*/ 2667000 w 8890000"/>
                <a:gd name="connsiteY5" fmla="*/ 872332 h 1486839"/>
                <a:gd name="connsiteX6" fmla="*/ 3568700 w 8890000"/>
                <a:gd name="connsiteY6" fmla="*/ 1354932 h 1486839"/>
                <a:gd name="connsiteX7" fmla="*/ 5321300 w 8890000"/>
                <a:gd name="connsiteY7" fmla="*/ 1151732 h 1486839"/>
                <a:gd name="connsiteX8" fmla="*/ 7112000 w 8890000"/>
                <a:gd name="connsiteY8" fmla="*/ 1481932 h 1486839"/>
                <a:gd name="connsiteX9" fmla="*/ 8890000 w 8890000"/>
                <a:gd name="connsiteY9" fmla="*/ 846932 h 1486839"/>
                <a:gd name="connsiteX0" fmla="*/ 0 w 8890000"/>
                <a:gd name="connsiteY0" fmla="*/ 1340162 h 1522869"/>
                <a:gd name="connsiteX1" fmla="*/ 2578100 w 8890000"/>
                <a:gd name="connsiteY1" fmla="*/ 1327462 h 1522869"/>
                <a:gd name="connsiteX2" fmla="*/ 3911600 w 8890000"/>
                <a:gd name="connsiteY2" fmla="*/ 921062 h 1522869"/>
                <a:gd name="connsiteX3" fmla="*/ 3956050 w 8890000"/>
                <a:gd name="connsiteY3" fmla="*/ 76512 h 1522869"/>
                <a:gd name="connsiteX4" fmla="*/ 2908300 w 8890000"/>
                <a:gd name="connsiteY4" fmla="*/ 133662 h 1522869"/>
                <a:gd name="connsiteX5" fmla="*/ 2667000 w 8890000"/>
                <a:gd name="connsiteY5" fmla="*/ 908362 h 1522869"/>
                <a:gd name="connsiteX6" fmla="*/ 3568700 w 8890000"/>
                <a:gd name="connsiteY6" fmla="*/ 1390962 h 1522869"/>
                <a:gd name="connsiteX7" fmla="*/ 5321300 w 8890000"/>
                <a:gd name="connsiteY7" fmla="*/ 1187762 h 1522869"/>
                <a:gd name="connsiteX8" fmla="*/ 7112000 w 8890000"/>
                <a:gd name="connsiteY8" fmla="*/ 1517962 h 1522869"/>
                <a:gd name="connsiteX9" fmla="*/ 8890000 w 8890000"/>
                <a:gd name="connsiteY9" fmla="*/ 882962 h 1522869"/>
                <a:gd name="connsiteX0" fmla="*/ 0 w 8890000"/>
                <a:gd name="connsiteY0" fmla="*/ 1395610 h 1578317"/>
                <a:gd name="connsiteX1" fmla="*/ 2578100 w 8890000"/>
                <a:gd name="connsiteY1" fmla="*/ 1382910 h 1578317"/>
                <a:gd name="connsiteX2" fmla="*/ 3911600 w 8890000"/>
                <a:gd name="connsiteY2" fmla="*/ 976510 h 1578317"/>
                <a:gd name="connsiteX3" fmla="*/ 3956050 w 8890000"/>
                <a:gd name="connsiteY3" fmla="*/ 131960 h 1578317"/>
                <a:gd name="connsiteX4" fmla="*/ 2908300 w 8890000"/>
                <a:gd name="connsiteY4" fmla="*/ 189110 h 1578317"/>
                <a:gd name="connsiteX5" fmla="*/ 2667000 w 8890000"/>
                <a:gd name="connsiteY5" fmla="*/ 963810 h 1578317"/>
                <a:gd name="connsiteX6" fmla="*/ 3568700 w 8890000"/>
                <a:gd name="connsiteY6" fmla="*/ 1446410 h 1578317"/>
                <a:gd name="connsiteX7" fmla="*/ 5321300 w 8890000"/>
                <a:gd name="connsiteY7" fmla="*/ 1243210 h 1578317"/>
                <a:gd name="connsiteX8" fmla="*/ 7112000 w 8890000"/>
                <a:gd name="connsiteY8" fmla="*/ 1573410 h 1578317"/>
                <a:gd name="connsiteX9" fmla="*/ 8890000 w 8890000"/>
                <a:gd name="connsiteY9" fmla="*/ 938410 h 1578317"/>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6128"/>
                <a:gd name="connsiteX1" fmla="*/ 2578100 w 8890000"/>
                <a:gd name="connsiteY1" fmla="*/ 1400721 h 1596128"/>
                <a:gd name="connsiteX2" fmla="*/ 3911600 w 8890000"/>
                <a:gd name="connsiteY2" fmla="*/ 994321 h 1596128"/>
                <a:gd name="connsiteX3" fmla="*/ 3956050 w 8890000"/>
                <a:gd name="connsiteY3" fmla="*/ 149771 h 1596128"/>
                <a:gd name="connsiteX4" fmla="*/ 2908300 w 8890000"/>
                <a:gd name="connsiteY4" fmla="*/ 206921 h 1596128"/>
                <a:gd name="connsiteX5" fmla="*/ 2667000 w 8890000"/>
                <a:gd name="connsiteY5" fmla="*/ 981621 h 1596128"/>
                <a:gd name="connsiteX6" fmla="*/ 3568700 w 8890000"/>
                <a:gd name="connsiteY6" fmla="*/ 1464221 h 1596128"/>
                <a:gd name="connsiteX7" fmla="*/ 5321300 w 8890000"/>
                <a:gd name="connsiteY7" fmla="*/ 1261021 h 1596128"/>
                <a:gd name="connsiteX8" fmla="*/ 7112000 w 8890000"/>
                <a:gd name="connsiteY8" fmla="*/ 1591221 h 1596128"/>
                <a:gd name="connsiteX9" fmla="*/ 8890000 w 8890000"/>
                <a:gd name="connsiteY9" fmla="*/ 956221 h 1596128"/>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5967"/>
                <a:gd name="connsiteX1" fmla="*/ 2578100 w 8890000"/>
                <a:gd name="connsiteY1" fmla="*/ 1400721 h 1595967"/>
                <a:gd name="connsiteX2" fmla="*/ 3911600 w 8890000"/>
                <a:gd name="connsiteY2" fmla="*/ 994321 h 1595967"/>
                <a:gd name="connsiteX3" fmla="*/ 3956050 w 8890000"/>
                <a:gd name="connsiteY3" fmla="*/ 149771 h 1595967"/>
                <a:gd name="connsiteX4" fmla="*/ 2908300 w 8890000"/>
                <a:gd name="connsiteY4" fmla="*/ 206921 h 1595967"/>
                <a:gd name="connsiteX5" fmla="*/ 2667000 w 8890000"/>
                <a:gd name="connsiteY5" fmla="*/ 981621 h 1595967"/>
                <a:gd name="connsiteX6" fmla="*/ 3587750 w 8890000"/>
                <a:gd name="connsiteY6" fmla="*/ 1546771 h 1595967"/>
                <a:gd name="connsiteX7" fmla="*/ 5321300 w 8890000"/>
                <a:gd name="connsiteY7" fmla="*/ 1261021 h 1595967"/>
                <a:gd name="connsiteX8" fmla="*/ 7112000 w 8890000"/>
                <a:gd name="connsiteY8" fmla="*/ 1591221 h 1595967"/>
                <a:gd name="connsiteX9" fmla="*/ 8890000 w 8890000"/>
                <a:gd name="connsiteY9" fmla="*/ 956221 h 1595967"/>
                <a:gd name="connsiteX0" fmla="*/ 0 w 8890000"/>
                <a:gd name="connsiteY0" fmla="*/ 1413421 h 1591992"/>
                <a:gd name="connsiteX1" fmla="*/ 2578100 w 8890000"/>
                <a:gd name="connsiteY1" fmla="*/ 1400721 h 1591992"/>
                <a:gd name="connsiteX2" fmla="*/ 3911600 w 8890000"/>
                <a:gd name="connsiteY2" fmla="*/ 994321 h 1591992"/>
                <a:gd name="connsiteX3" fmla="*/ 3956050 w 8890000"/>
                <a:gd name="connsiteY3" fmla="*/ 149771 h 1591992"/>
                <a:gd name="connsiteX4" fmla="*/ 2908300 w 8890000"/>
                <a:gd name="connsiteY4" fmla="*/ 206921 h 1591992"/>
                <a:gd name="connsiteX5" fmla="*/ 2667000 w 8890000"/>
                <a:gd name="connsiteY5" fmla="*/ 981621 h 1591992"/>
                <a:gd name="connsiteX6" fmla="*/ 3587750 w 8890000"/>
                <a:gd name="connsiteY6" fmla="*/ 1546771 h 1591992"/>
                <a:gd name="connsiteX7" fmla="*/ 5511800 w 8890000"/>
                <a:gd name="connsiteY7" fmla="*/ 1095921 h 1591992"/>
                <a:gd name="connsiteX8" fmla="*/ 7112000 w 8890000"/>
                <a:gd name="connsiteY8" fmla="*/ 1591221 h 1591992"/>
                <a:gd name="connsiteX9" fmla="*/ 8890000 w 8890000"/>
                <a:gd name="connsiteY9" fmla="*/ 956221 h 1591992"/>
                <a:gd name="connsiteX0" fmla="*/ 0 w 8890000"/>
                <a:gd name="connsiteY0" fmla="*/ 1413421 h 1592011"/>
                <a:gd name="connsiteX1" fmla="*/ 2578100 w 8890000"/>
                <a:gd name="connsiteY1" fmla="*/ 1400721 h 1592011"/>
                <a:gd name="connsiteX2" fmla="*/ 3911600 w 8890000"/>
                <a:gd name="connsiteY2" fmla="*/ 994321 h 1592011"/>
                <a:gd name="connsiteX3" fmla="*/ 3956050 w 8890000"/>
                <a:gd name="connsiteY3" fmla="*/ 149771 h 1592011"/>
                <a:gd name="connsiteX4" fmla="*/ 2908300 w 8890000"/>
                <a:gd name="connsiteY4" fmla="*/ 206921 h 1592011"/>
                <a:gd name="connsiteX5" fmla="*/ 2667000 w 8890000"/>
                <a:gd name="connsiteY5" fmla="*/ 981621 h 1592011"/>
                <a:gd name="connsiteX6" fmla="*/ 3587750 w 8890000"/>
                <a:gd name="connsiteY6" fmla="*/ 1546771 h 1592011"/>
                <a:gd name="connsiteX7" fmla="*/ 5511800 w 8890000"/>
                <a:gd name="connsiteY7" fmla="*/ 1095921 h 1592011"/>
                <a:gd name="connsiteX8" fmla="*/ 7112000 w 8890000"/>
                <a:gd name="connsiteY8" fmla="*/ 1591221 h 1592011"/>
                <a:gd name="connsiteX9" fmla="*/ 8890000 w 8890000"/>
                <a:gd name="connsiteY9" fmla="*/ 956221 h 1592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90000" h="1592011">
                  <a:moveTo>
                    <a:pt x="0" y="1413421"/>
                  </a:moveTo>
                  <a:cubicBezTo>
                    <a:pt x="963083" y="1441996"/>
                    <a:pt x="1926167" y="1470571"/>
                    <a:pt x="2578100" y="1400721"/>
                  </a:cubicBezTo>
                  <a:cubicBezTo>
                    <a:pt x="3230033" y="1330871"/>
                    <a:pt x="3675592" y="1240913"/>
                    <a:pt x="3911600" y="994321"/>
                  </a:cubicBezTo>
                  <a:cubicBezTo>
                    <a:pt x="4147608" y="747729"/>
                    <a:pt x="4269317" y="408004"/>
                    <a:pt x="3956050" y="149771"/>
                  </a:cubicBezTo>
                  <a:cubicBezTo>
                    <a:pt x="3642783" y="-108462"/>
                    <a:pt x="3154892" y="4779"/>
                    <a:pt x="2908300" y="206921"/>
                  </a:cubicBezTo>
                  <a:cubicBezTo>
                    <a:pt x="2661708" y="409063"/>
                    <a:pt x="2553758" y="758313"/>
                    <a:pt x="2667000" y="981621"/>
                  </a:cubicBezTo>
                  <a:cubicBezTo>
                    <a:pt x="2780242" y="1204929"/>
                    <a:pt x="3113617" y="1527721"/>
                    <a:pt x="3587750" y="1546771"/>
                  </a:cubicBezTo>
                  <a:cubicBezTo>
                    <a:pt x="4061883" y="1565821"/>
                    <a:pt x="4695825" y="1075813"/>
                    <a:pt x="5511800" y="1095921"/>
                  </a:cubicBezTo>
                  <a:cubicBezTo>
                    <a:pt x="6327775" y="1116029"/>
                    <a:pt x="6548967" y="1614504"/>
                    <a:pt x="7112000" y="1591221"/>
                  </a:cubicBezTo>
                  <a:cubicBezTo>
                    <a:pt x="7675033" y="1567938"/>
                    <a:pt x="8298391" y="1248321"/>
                    <a:pt x="8890000" y="956221"/>
                  </a:cubicBezTo>
                </a:path>
              </a:pathLst>
            </a:custGeom>
            <a:noFill/>
            <a:ln w="19050">
              <a:solidFill>
                <a:srgbClr val="FF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35" name="Medio marco 34"/>
            <p:cNvSpPr/>
            <p:nvPr/>
          </p:nvSpPr>
          <p:spPr>
            <a:xfrm rot="6898098">
              <a:off x="8778264" y="1561890"/>
              <a:ext cx="165068" cy="165068"/>
            </a:xfrm>
            <a:prstGeom prst="halfFrame">
              <a:avLst>
                <a:gd name="adj1" fmla="val 12626"/>
                <a:gd name="adj2" fmla="val 12904"/>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5EB8"/>
                </a:solidFill>
              </a:endParaRPr>
            </a:p>
          </p:txBody>
        </p:sp>
      </p:grpSp>
      <p:sp>
        <p:nvSpPr>
          <p:cNvPr id="36" name="Title 1"/>
          <p:cNvSpPr>
            <a:spLocks noGrp="1"/>
          </p:cNvSpPr>
          <p:nvPr>
            <p:ph type="title" hasCustomPrompt="1"/>
          </p:nvPr>
        </p:nvSpPr>
        <p:spPr>
          <a:xfrm>
            <a:off x="115760" y="3533669"/>
            <a:ext cx="10057015" cy="622000"/>
          </a:xfrm>
        </p:spPr>
        <p:txBody>
          <a:bodyPr anchor="b"/>
          <a:lstStyle>
            <a:lvl1pPr algn="r">
              <a:lnSpc>
                <a:spcPct val="100000"/>
              </a:lnSpc>
              <a:defRPr sz="3600" baseline="0">
                <a:solidFill>
                  <a:schemeClr val="bg1"/>
                </a:solidFill>
                <a:latin typeface="+mj-lt"/>
              </a:defRPr>
            </a:lvl1pPr>
          </a:lstStyle>
          <a:p>
            <a:r>
              <a:rPr lang="en-GB" noProof="0" dirty="0"/>
              <a:t>Insert here your thank you</a:t>
            </a:r>
          </a:p>
        </p:txBody>
      </p:sp>
    </p:spTree>
    <p:extLst>
      <p:ext uri="{BB962C8B-B14F-4D97-AF65-F5344CB8AC3E}">
        <p14:creationId xmlns:p14="http://schemas.microsoft.com/office/powerpoint/2010/main" val="9425226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ver with photo background l">
    <p:bg>
      <p:bgPr>
        <a:solidFill>
          <a:schemeClr val="bg1"/>
        </a:solidFill>
        <a:effectLst/>
      </p:bgPr>
    </p:bg>
    <p:spTree>
      <p:nvGrpSpPr>
        <p:cNvPr id="1" name=""/>
        <p:cNvGrpSpPr/>
        <p:nvPr/>
      </p:nvGrpSpPr>
      <p:grpSpPr>
        <a:xfrm>
          <a:off x="0" y="0"/>
          <a:ext cx="0" cy="0"/>
          <a:chOff x="0" y="0"/>
          <a:chExt cx="0" cy="0"/>
        </a:xfrm>
      </p:grpSpPr>
      <p:sp>
        <p:nvSpPr>
          <p:cNvPr id="61" name="Picture Placeholder 6"/>
          <p:cNvSpPr>
            <a:spLocks noGrp="1"/>
          </p:cNvSpPr>
          <p:nvPr>
            <p:ph type="pic" sz="quarter" idx="12" hasCustomPrompt="1"/>
          </p:nvPr>
        </p:nvSpPr>
        <p:spPr>
          <a:xfrm>
            <a:off x="0" y="-1588"/>
            <a:ext cx="12192000" cy="6858000"/>
          </a:xfrm>
          <a:prstGeom prst="rect">
            <a:avLst/>
          </a:prstGeom>
          <a:solidFill>
            <a:schemeClr val="accent4"/>
          </a:solidFill>
        </p:spPr>
        <p:txBody>
          <a:bodyPr anchor="ctr">
            <a:normAutofit/>
          </a:bodyPr>
          <a:lstStyle>
            <a:lvl1pPr marL="0" indent="0" algn="l">
              <a:buNone/>
              <a:defRPr sz="1800" b="1" baseline="0"/>
            </a:lvl1pPr>
          </a:lstStyle>
          <a:p>
            <a:r>
              <a:rPr lang="en-GB" noProof="0" dirty="0"/>
              <a:t>                                       Insert your photo here &gt;</a:t>
            </a: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 name="Text Placeholder 97"/>
          <p:cNvSpPr>
            <a:spLocks noGrp="1"/>
          </p:cNvSpPr>
          <p:nvPr>
            <p:ph type="body" sz="quarter" idx="15" hasCustomPrompt="1"/>
          </p:nvPr>
        </p:nvSpPr>
        <p:spPr>
          <a:xfrm>
            <a:off x="7970109" y="5495997"/>
            <a:ext cx="3541587" cy="1058862"/>
          </a:xfrm>
          <a:prstGeom prst="rect">
            <a:avLst/>
          </a:prstGeom>
        </p:spPr>
        <p:txBody>
          <a:bodyPr anchor="b">
            <a:normAutofit/>
          </a:bodyPr>
          <a:lstStyle>
            <a:lvl1pPr marL="0" indent="0" algn="r">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31" name="Title 1"/>
          <p:cNvSpPr>
            <a:spLocks noGrp="1"/>
          </p:cNvSpPr>
          <p:nvPr>
            <p:ph type="title" hasCustomPrompt="1"/>
          </p:nvPr>
        </p:nvSpPr>
        <p:spPr>
          <a:xfrm>
            <a:off x="6022110" y="2458245"/>
            <a:ext cx="5489593" cy="1727779"/>
          </a:xfrm>
        </p:spPr>
        <p:txBody>
          <a:bodyPr anchor="b"/>
          <a:lstStyle>
            <a:lvl1pPr algn="r">
              <a:lnSpc>
                <a:spcPct val="100000"/>
              </a:lnSpc>
              <a:defRPr baseline="0">
                <a:solidFill>
                  <a:schemeClr val="bg1"/>
                </a:solidFill>
                <a:latin typeface="+mj-lt"/>
              </a:defRPr>
            </a:lvl1pPr>
          </a:lstStyle>
          <a:p>
            <a:r>
              <a:rPr lang="en-GB" noProof="0" dirty="0"/>
              <a:t>Add your title here</a:t>
            </a:r>
          </a:p>
        </p:txBody>
      </p:sp>
      <p:sp>
        <p:nvSpPr>
          <p:cNvPr id="32" name="Text Placeholder 19"/>
          <p:cNvSpPr>
            <a:spLocks noGrp="1"/>
          </p:cNvSpPr>
          <p:nvPr>
            <p:ph type="body" sz="quarter" idx="13" hasCustomPrompt="1"/>
          </p:nvPr>
        </p:nvSpPr>
        <p:spPr>
          <a:xfrm>
            <a:off x="6021664" y="4373324"/>
            <a:ext cx="5490033" cy="498992"/>
          </a:xfrm>
          <a:prstGeom prst="rect">
            <a:avLst/>
          </a:prstGeom>
        </p:spPr>
        <p:txBody>
          <a:bodyPr>
            <a:noAutofit/>
          </a:bodyPr>
          <a:lstStyle>
            <a:lvl1pPr marL="0" indent="0" algn="r">
              <a:lnSpc>
                <a:spcPct val="100000"/>
              </a:lnSpc>
              <a:buNone/>
              <a:defRPr sz="18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23"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1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33993923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with photo ll">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4" name="Title 1"/>
          <p:cNvSpPr>
            <a:spLocks noGrp="1"/>
          </p:cNvSpPr>
          <p:nvPr>
            <p:ph type="title" hasCustomPrompt="1"/>
          </p:nvPr>
        </p:nvSpPr>
        <p:spPr>
          <a:xfrm>
            <a:off x="6807837" y="1160165"/>
            <a:ext cx="4601584" cy="1325563"/>
          </a:xfrm>
        </p:spPr>
        <p:txBody>
          <a:bodyPr anchor="b"/>
          <a:lstStyle>
            <a:lvl1pPr algn="r">
              <a:lnSpc>
                <a:spcPct val="100000"/>
              </a:lnSpc>
              <a:defRPr baseline="0">
                <a:solidFill>
                  <a:schemeClr val="bg1"/>
                </a:solidFill>
                <a:latin typeface="+mj-lt"/>
              </a:defRPr>
            </a:lvl1pPr>
          </a:lstStyle>
          <a:p>
            <a:r>
              <a:rPr lang="en-GB" noProof="0" dirty="0"/>
              <a:t>Add your title here</a:t>
            </a:r>
          </a:p>
        </p:txBody>
      </p:sp>
      <p:sp>
        <p:nvSpPr>
          <p:cNvPr id="15" name="Text Placeholder 19"/>
          <p:cNvSpPr>
            <a:spLocks noGrp="1"/>
          </p:cNvSpPr>
          <p:nvPr>
            <p:ph type="body" sz="quarter" idx="13" hasCustomPrompt="1"/>
          </p:nvPr>
        </p:nvSpPr>
        <p:spPr>
          <a:xfrm>
            <a:off x="6807261" y="2698787"/>
            <a:ext cx="4602163" cy="978910"/>
          </a:xfrm>
          <a:prstGeom prst="rect">
            <a:avLst/>
          </a:prstGeom>
        </p:spPr>
        <p:txBody>
          <a:bodyPr>
            <a:noAutofit/>
          </a:bodyPr>
          <a:lstStyle>
            <a:lvl1pPr marL="0" indent="0" algn="r">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9" name="Text Placeholder 97"/>
          <p:cNvSpPr>
            <a:spLocks noGrp="1"/>
          </p:cNvSpPr>
          <p:nvPr>
            <p:ph type="body" sz="quarter" idx="15" hasCustomPrompt="1"/>
          </p:nvPr>
        </p:nvSpPr>
        <p:spPr>
          <a:xfrm>
            <a:off x="8790229" y="5513064"/>
            <a:ext cx="2619201" cy="1058862"/>
          </a:xfrm>
          <a:prstGeom prst="rect">
            <a:avLst/>
          </a:prstGeom>
        </p:spPr>
        <p:txBody>
          <a:bodyPr anchor="b">
            <a:normAutofit/>
          </a:bodyPr>
          <a:lstStyle>
            <a:lvl1pPr marL="0" indent="0" algn="r">
              <a:lnSpc>
                <a:spcPct val="100000"/>
              </a:lnSpc>
              <a:spcBef>
                <a:spcPts val="0"/>
              </a:spcBef>
              <a:buNone/>
              <a:defRPr sz="1200" baseline="0">
                <a:solidFill>
                  <a:schemeClr val="bg1"/>
                </a:solidFill>
                <a:latin typeface="+mn-lt"/>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19"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dirty="0">
                <a:solidFill>
                  <a:srgbClr val="FFFFFF">
                    <a:lumMod val="85000"/>
                  </a:srgbClr>
                </a:solidFill>
              </a:rPr>
              <a:t>© Amadeus IT Group and its affiliates and subsidiaries</a:t>
            </a:r>
          </a:p>
        </p:txBody>
      </p:sp>
      <p:sp>
        <p:nvSpPr>
          <p:cNvPr id="12" name="Marcador de posición de imagen 34"/>
          <p:cNvSpPr>
            <a:spLocks noGrp="1"/>
          </p:cNvSpPr>
          <p:nvPr>
            <p:ph type="pic" sz="quarter" idx="16" hasCustomPrompt="1"/>
          </p:nvPr>
        </p:nvSpPr>
        <p:spPr>
          <a:xfrm>
            <a:off x="-6547" y="1160164"/>
            <a:ext cx="4999609" cy="5774817"/>
          </a:xfrm>
          <a:custGeom>
            <a:avLst/>
            <a:gdLst>
              <a:gd name="connsiteX0" fmla="*/ 5273631 w 6666145"/>
              <a:gd name="connsiteY0" fmla="*/ 726 h 6276346"/>
              <a:gd name="connsiteX1" fmla="*/ 6666145 w 6666145"/>
              <a:gd name="connsiteY1" fmla="*/ 2806264 h 6276346"/>
              <a:gd name="connsiteX2" fmla="*/ 4880200 w 6666145"/>
              <a:gd name="connsiteY2" fmla="*/ 6276346 h 6276346"/>
              <a:gd name="connsiteX3" fmla="*/ 0 w 6666145"/>
              <a:gd name="connsiteY3" fmla="*/ 6276346 h 6276346"/>
              <a:gd name="connsiteX4" fmla="*/ 0 w 6666145"/>
              <a:gd name="connsiteY4" fmla="*/ 1755562 h 6276346"/>
              <a:gd name="connsiteX5" fmla="*/ 4956345 w 6666145"/>
              <a:gd name="connsiteY5" fmla="*/ 48171 h 6276346"/>
              <a:gd name="connsiteX6" fmla="*/ 5273631 w 6666145"/>
              <a:gd name="connsiteY6" fmla="*/ 726 h 627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6145" h="6276346">
                <a:moveTo>
                  <a:pt x="5273631" y="726"/>
                </a:moveTo>
                <a:cubicBezTo>
                  <a:pt x="6239757" y="42460"/>
                  <a:pt x="6666145" y="1872859"/>
                  <a:pt x="6666145" y="2806264"/>
                </a:cubicBezTo>
                <a:cubicBezTo>
                  <a:pt x="6666145" y="4237155"/>
                  <a:pt x="5960074" y="5502145"/>
                  <a:pt x="4880200" y="6276346"/>
                </a:cubicBezTo>
                <a:cubicBezTo>
                  <a:pt x="4880200" y="6276346"/>
                  <a:pt x="4880200" y="6276346"/>
                  <a:pt x="0" y="6276346"/>
                </a:cubicBezTo>
                <a:cubicBezTo>
                  <a:pt x="0" y="6276346"/>
                  <a:pt x="0" y="6276346"/>
                  <a:pt x="0" y="1755562"/>
                </a:cubicBezTo>
                <a:cubicBezTo>
                  <a:pt x="0" y="1755562"/>
                  <a:pt x="0" y="1755562"/>
                  <a:pt x="4956345" y="48171"/>
                </a:cubicBezTo>
                <a:cubicBezTo>
                  <a:pt x="5067966" y="11233"/>
                  <a:pt x="5173687" y="-3592"/>
                  <a:pt x="5273631" y="726"/>
                </a:cubicBezTo>
                <a:close/>
              </a:path>
            </a:pathLst>
          </a:custGeom>
          <a:solidFill>
            <a:schemeClr val="accent4"/>
          </a:solidFill>
        </p:spPr>
        <p:txBody>
          <a:bodyPr wrap="square" anchor="ctr">
            <a:noAutofit/>
          </a:bodyPr>
          <a:lstStyle>
            <a:lvl1pPr marL="0" indent="0" algn="ctr">
              <a:buNone/>
              <a:defRPr baseline="0"/>
            </a:lvl1pPr>
          </a:lstStyle>
          <a:p>
            <a:br>
              <a:rPr lang="en-GB" noProof="0" dirty="0"/>
            </a:br>
            <a:br>
              <a:rPr lang="en-GB" noProof="0" dirty="0"/>
            </a:br>
            <a:br>
              <a:rPr lang="en-GB" noProof="0" dirty="0"/>
            </a:br>
            <a:br>
              <a:rPr lang="en-GB" noProof="0" dirty="0"/>
            </a:br>
            <a:r>
              <a:rPr lang="en-GB" noProof="0" dirty="0"/>
              <a:t>Insert your picture here</a:t>
            </a:r>
          </a:p>
        </p:txBody>
      </p:sp>
      <p:sp>
        <p:nvSpPr>
          <p:cNvPr id="32"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64864255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NO photo ll">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6348" y="0"/>
            <a:ext cx="12198351"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11" name="Freeform 5"/>
          <p:cNvSpPr>
            <a:spLocks/>
          </p:cNvSpPr>
          <p:nvPr userDrawn="1"/>
        </p:nvSpPr>
        <p:spPr bwMode="auto">
          <a:xfrm>
            <a:off x="3081003" y="996683"/>
            <a:ext cx="8241679" cy="5879190"/>
          </a:xfrm>
          <a:custGeom>
            <a:avLst/>
            <a:gdLst>
              <a:gd name="T0" fmla="*/ 1104 w 1265"/>
              <a:gd name="T1" fmla="*/ 110 h 903"/>
              <a:gd name="T2" fmla="*/ 427 w 1265"/>
              <a:gd name="T3" fmla="*/ 25 h 903"/>
              <a:gd name="T4" fmla="*/ 169 w 1265"/>
              <a:gd name="T5" fmla="*/ 59 h 903"/>
              <a:gd name="T6" fmla="*/ 169 w 1265"/>
              <a:gd name="T7" fmla="*/ 59 h 903"/>
              <a:gd name="T8" fmla="*/ 169 w 1265"/>
              <a:gd name="T9" fmla="*/ 59 h 903"/>
              <a:gd name="T10" fmla="*/ 82 w 1265"/>
              <a:gd name="T11" fmla="*/ 221 h 903"/>
              <a:gd name="T12" fmla="*/ 32 w 1265"/>
              <a:gd name="T13" fmla="*/ 407 h 903"/>
              <a:gd name="T14" fmla="*/ 190 w 1265"/>
              <a:gd name="T15" fmla="*/ 663 h 903"/>
              <a:gd name="T16" fmla="*/ 489 w 1265"/>
              <a:gd name="T17" fmla="*/ 903 h 903"/>
              <a:gd name="T18" fmla="*/ 1129 w 1265"/>
              <a:gd name="T19" fmla="*/ 903 h 903"/>
              <a:gd name="T20" fmla="*/ 1247 w 1265"/>
              <a:gd name="T21" fmla="*/ 327 h 903"/>
              <a:gd name="T22" fmla="*/ 1104 w 1265"/>
              <a:gd name="T23" fmla="*/ 11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5" h="903">
                <a:moveTo>
                  <a:pt x="1104" y="110"/>
                </a:moveTo>
                <a:cubicBezTo>
                  <a:pt x="427" y="25"/>
                  <a:pt x="427" y="25"/>
                  <a:pt x="427" y="25"/>
                </a:cubicBezTo>
                <a:cubicBezTo>
                  <a:pt x="338" y="16"/>
                  <a:pt x="243" y="0"/>
                  <a:pt x="169" y="59"/>
                </a:cubicBezTo>
                <a:cubicBezTo>
                  <a:pt x="169" y="59"/>
                  <a:pt x="169" y="59"/>
                  <a:pt x="169" y="59"/>
                </a:cubicBezTo>
                <a:cubicBezTo>
                  <a:pt x="169" y="59"/>
                  <a:pt x="169" y="59"/>
                  <a:pt x="169" y="59"/>
                </a:cubicBezTo>
                <a:cubicBezTo>
                  <a:pt x="117" y="101"/>
                  <a:pt x="99" y="158"/>
                  <a:pt x="82" y="221"/>
                </a:cubicBezTo>
                <a:cubicBezTo>
                  <a:pt x="32" y="407"/>
                  <a:pt x="32" y="407"/>
                  <a:pt x="32" y="407"/>
                </a:cubicBezTo>
                <a:cubicBezTo>
                  <a:pt x="0" y="523"/>
                  <a:pt x="113" y="599"/>
                  <a:pt x="190" y="663"/>
                </a:cubicBezTo>
                <a:cubicBezTo>
                  <a:pt x="190" y="663"/>
                  <a:pt x="355" y="796"/>
                  <a:pt x="489" y="903"/>
                </a:cubicBezTo>
                <a:cubicBezTo>
                  <a:pt x="1129" y="903"/>
                  <a:pt x="1129" y="903"/>
                  <a:pt x="1129" y="903"/>
                </a:cubicBezTo>
                <a:cubicBezTo>
                  <a:pt x="1247" y="327"/>
                  <a:pt x="1247" y="327"/>
                  <a:pt x="1247" y="327"/>
                </a:cubicBezTo>
                <a:cubicBezTo>
                  <a:pt x="1265" y="222"/>
                  <a:pt x="1211" y="126"/>
                  <a:pt x="1104" y="1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95" name="Title 1"/>
          <p:cNvSpPr>
            <a:spLocks noGrp="1"/>
          </p:cNvSpPr>
          <p:nvPr>
            <p:ph type="title" hasCustomPrompt="1"/>
          </p:nvPr>
        </p:nvSpPr>
        <p:spPr>
          <a:xfrm>
            <a:off x="2235201" y="1801092"/>
            <a:ext cx="7467796" cy="1913318"/>
          </a:xfrm>
        </p:spPr>
        <p:txBody>
          <a:bodyPr anchor="b"/>
          <a:lstStyle>
            <a:lvl1pPr algn="r">
              <a:lnSpc>
                <a:spcPct val="100000"/>
              </a:lnSpc>
              <a:defRPr baseline="0">
                <a:solidFill>
                  <a:schemeClr val="tx2"/>
                </a:solidFill>
                <a:latin typeface="+mj-lt"/>
              </a:defRPr>
            </a:lvl1pPr>
          </a:lstStyle>
          <a:p>
            <a:r>
              <a:rPr lang="en-GB" noProof="0" dirty="0"/>
              <a:t>Add your title here</a:t>
            </a:r>
          </a:p>
        </p:txBody>
      </p:sp>
      <p:sp>
        <p:nvSpPr>
          <p:cNvPr id="96" name="Text Placeholder 19"/>
          <p:cNvSpPr>
            <a:spLocks noGrp="1"/>
          </p:cNvSpPr>
          <p:nvPr>
            <p:ph type="body" sz="quarter" idx="13" hasCustomPrompt="1"/>
          </p:nvPr>
        </p:nvSpPr>
        <p:spPr>
          <a:xfrm>
            <a:off x="2234263" y="3961324"/>
            <a:ext cx="7468733" cy="381563"/>
          </a:xfrm>
          <a:prstGeom prst="rect">
            <a:avLst/>
          </a:prstGeom>
        </p:spPr>
        <p:txBody>
          <a:bodyPr>
            <a:noAutofit/>
          </a:bodyPr>
          <a:lstStyle>
            <a:lvl1pPr marL="0" indent="0" algn="r">
              <a:lnSpc>
                <a:spcPct val="100000"/>
              </a:lnSpc>
              <a:buNone/>
              <a:defRPr sz="2400" baseline="0">
                <a:solidFill>
                  <a:schemeClr val="accent2"/>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4" name="Text Placeholder 97"/>
          <p:cNvSpPr>
            <a:spLocks noGrp="1"/>
          </p:cNvSpPr>
          <p:nvPr>
            <p:ph type="body" sz="quarter" idx="15" hasCustomPrompt="1"/>
          </p:nvPr>
        </p:nvSpPr>
        <p:spPr>
          <a:xfrm>
            <a:off x="7083801" y="5091546"/>
            <a:ext cx="2619201" cy="1058862"/>
          </a:xfrm>
          <a:prstGeom prst="rect">
            <a:avLst/>
          </a:prstGeom>
        </p:spPr>
        <p:txBody>
          <a:bodyPr anchor="b">
            <a:normAutofit/>
          </a:bodyPr>
          <a:lstStyle>
            <a:lvl1pPr marL="0" indent="0" algn="r">
              <a:lnSpc>
                <a:spcPct val="100000"/>
              </a:lnSpc>
              <a:spcBef>
                <a:spcPts val="0"/>
              </a:spcBef>
              <a:buNone/>
              <a:defRPr sz="1200" baseline="0">
                <a:solidFill>
                  <a:srgbClr val="323232"/>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21"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85000"/>
                  </a:schemeClr>
                </a:solidFill>
                <a:latin typeface="+mj-lt"/>
              </a:defRPr>
            </a:lvl1pPr>
          </a:lstStyle>
          <a:p>
            <a:r>
              <a:rPr lang="en-GB" dirty="0">
                <a:solidFill>
                  <a:srgbClr val="FFFFFF">
                    <a:lumMod val="85000"/>
                  </a:srgbClr>
                </a:solidFill>
              </a:rPr>
              <a:t>© Amadeus IT Group and its affiliates and subsidiaries</a:t>
            </a:r>
          </a:p>
        </p:txBody>
      </p:sp>
      <p:sp>
        <p:nvSpPr>
          <p:cNvPr id="31"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16576536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 NO photo l">
    <p:bg>
      <p:bgPr>
        <a:solidFill>
          <a:schemeClr val="bg1"/>
        </a:solidFill>
        <a:effectLst/>
      </p:bgPr>
    </p:bg>
    <p:spTree>
      <p:nvGrpSpPr>
        <p:cNvPr id="1" name=""/>
        <p:cNvGrpSpPr/>
        <p:nvPr/>
      </p:nvGrpSpPr>
      <p:grpSpPr>
        <a:xfrm>
          <a:off x="0" y="0"/>
          <a:ext cx="0" cy="0"/>
          <a:chOff x="0" y="0"/>
          <a:chExt cx="0" cy="0"/>
        </a:xfrm>
      </p:grpSpPr>
      <p:sp>
        <p:nvSpPr>
          <p:cNvPr id="13" name="Rectangle 1"/>
          <p:cNvSpPr/>
          <p:nvPr userDrawn="1"/>
        </p:nvSpPr>
        <p:spPr>
          <a:xfrm>
            <a:off x="19058" y="0"/>
            <a:ext cx="121983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rgbClr val="FFFFFF"/>
              </a:solidFill>
            </a:endParaRPr>
          </a:p>
        </p:txBody>
      </p:sp>
      <p:sp>
        <p:nvSpPr>
          <p:cNvPr id="11" name="Freeform 5"/>
          <p:cNvSpPr>
            <a:spLocks/>
          </p:cNvSpPr>
          <p:nvPr userDrawn="1"/>
        </p:nvSpPr>
        <p:spPr bwMode="auto">
          <a:xfrm>
            <a:off x="-21430" y="0"/>
            <a:ext cx="6740885" cy="6858000"/>
          </a:xfrm>
          <a:custGeom>
            <a:avLst/>
            <a:gdLst>
              <a:gd name="T0" fmla="*/ 1140 w 1200"/>
              <a:gd name="T1" fmla="*/ 388 h 988"/>
              <a:gd name="T2" fmla="*/ 1140 w 1200"/>
              <a:gd name="T3" fmla="*/ 388 h 988"/>
              <a:gd name="T4" fmla="*/ 1069 w 1200"/>
              <a:gd name="T5" fmla="*/ 7 h 988"/>
              <a:gd name="T6" fmla="*/ 1062 w 1200"/>
              <a:gd name="T7" fmla="*/ 0 h 988"/>
              <a:gd name="T8" fmla="*/ 0 w 1200"/>
              <a:gd name="T9" fmla="*/ 0 h 988"/>
              <a:gd name="T10" fmla="*/ 0 w 1200"/>
              <a:gd name="T11" fmla="*/ 988 h 988"/>
              <a:gd name="T12" fmla="*/ 479 w 1200"/>
              <a:gd name="T13" fmla="*/ 988 h 988"/>
              <a:gd name="T14" fmla="*/ 986 w 1200"/>
              <a:gd name="T15" fmla="*/ 561 h 988"/>
              <a:gd name="T16" fmla="*/ 1140 w 1200"/>
              <a:gd name="T17" fmla="*/ 388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0" h="988">
                <a:moveTo>
                  <a:pt x="1140" y="388"/>
                </a:moveTo>
                <a:cubicBezTo>
                  <a:pt x="1140" y="388"/>
                  <a:pt x="1140" y="388"/>
                  <a:pt x="1140" y="388"/>
                </a:cubicBezTo>
                <a:cubicBezTo>
                  <a:pt x="1200" y="262"/>
                  <a:pt x="1167" y="104"/>
                  <a:pt x="1069" y="7"/>
                </a:cubicBezTo>
                <a:cubicBezTo>
                  <a:pt x="1067" y="4"/>
                  <a:pt x="1064" y="2"/>
                  <a:pt x="1062" y="0"/>
                </a:cubicBezTo>
                <a:cubicBezTo>
                  <a:pt x="0" y="0"/>
                  <a:pt x="0" y="0"/>
                  <a:pt x="0" y="0"/>
                </a:cubicBezTo>
                <a:cubicBezTo>
                  <a:pt x="0" y="988"/>
                  <a:pt x="0" y="988"/>
                  <a:pt x="0" y="988"/>
                </a:cubicBezTo>
                <a:cubicBezTo>
                  <a:pt x="479" y="988"/>
                  <a:pt x="479" y="988"/>
                  <a:pt x="479" y="988"/>
                </a:cubicBezTo>
                <a:cubicBezTo>
                  <a:pt x="986" y="561"/>
                  <a:pt x="986" y="561"/>
                  <a:pt x="986" y="561"/>
                </a:cubicBezTo>
                <a:cubicBezTo>
                  <a:pt x="1045" y="511"/>
                  <a:pt x="1105" y="463"/>
                  <a:pt x="1140" y="388"/>
                </a:cubicBezTo>
                <a:close/>
              </a:path>
            </a:pathLst>
          </a:custGeom>
          <a:gradFill>
            <a:gsLst>
              <a:gs pos="0">
                <a:srgbClr val="005EB8"/>
              </a:gs>
              <a:gs pos="100000">
                <a:srgbClr val="00A9E0">
                  <a:alpha val="70999"/>
                </a:srgbClr>
              </a:gs>
            </a:gsLst>
            <a:lin ang="5400000" scaled="1"/>
          </a:gradFill>
          <a:ln>
            <a:noFill/>
          </a:ln>
        </p:spPr>
        <p:txBody>
          <a:bodyPr vert="horz" wrap="square" lIns="68580" tIns="34290" rIns="68580" bIns="34290" numCol="1" anchor="t" anchorCtr="0" compatLnSpc="1">
            <a:prstTxWarp prst="textNoShape">
              <a:avLst/>
            </a:prstTxWarp>
          </a:bodyPr>
          <a:lstStyle/>
          <a:p>
            <a:endParaRPr lang="en-GB" sz="1350" dirty="0">
              <a:solidFill>
                <a:srgbClr val="005EB8"/>
              </a:solidFill>
            </a:endParaRPr>
          </a:p>
        </p:txBody>
      </p:sp>
      <p:sp>
        <p:nvSpPr>
          <p:cNvPr id="86" name="Freeform 31"/>
          <p:cNvSpPr>
            <a:spLocks/>
          </p:cNvSpPr>
          <p:nvPr userDrawn="1"/>
        </p:nvSpPr>
        <p:spPr bwMode="auto">
          <a:xfrm>
            <a:off x="38109" y="298464"/>
            <a:ext cx="12112625" cy="6257925"/>
          </a:xfrm>
          <a:custGeom>
            <a:avLst/>
            <a:gdLst>
              <a:gd name="T0" fmla="*/ 0 w 7630"/>
              <a:gd name="T1" fmla="*/ 1263 h 3942"/>
              <a:gd name="T2" fmla="*/ 0 w 7630"/>
              <a:gd name="T3" fmla="*/ 3942 h 3942"/>
              <a:gd name="T4" fmla="*/ 7630 w 7630"/>
              <a:gd name="T5" fmla="*/ 3942 h 3942"/>
              <a:gd name="T6" fmla="*/ 7630 w 7630"/>
              <a:gd name="T7" fmla="*/ 0 h 3942"/>
            </a:gdLst>
            <a:ahLst/>
            <a:cxnLst>
              <a:cxn ang="0">
                <a:pos x="T0" y="T1"/>
              </a:cxn>
              <a:cxn ang="0">
                <a:pos x="T2" y="T3"/>
              </a:cxn>
              <a:cxn ang="0">
                <a:pos x="T4" y="T5"/>
              </a:cxn>
              <a:cxn ang="0">
                <a:pos x="T6" y="T7"/>
              </a:cxn>
            </a:cxnLst>
            <a:rect l="0" t="0" r="r" b="b"/>
            <a:pathLst>
              <a:path w="7630" h="3942">
                <a:moveTo>
                  <a:pt x="0" y="1263"/>
                </a:moveTo>
                <a:lnTo>
                  <a:pt x="0" y="3942"/>
                </a:lnTo>
                <a:lnTo>
                  <a:pt x="7630" y="3942"/>
                </a:lnTo>
                <a:lnTo>
                  <a:pt x="763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ES" sz="1350">
              <a:solidFill>
                <a:srgbClr val="005EB8"/>
              </a:solidFill>
            </a:endParaRPr>
          </a:p>
        </p:txBody>
      </p:sp>
      <p:sp>
        <p:nvSpPr>
          <p:cNvPr id="16" name="Title 1"/>
          <p:cNvSpPr>
            <a:spLocks noGrp="1"/>
          </p:cNvSpPr>
          <p:nvPr>
            <p:ph type="title" hasCustomPrompt="1"/>
          </p:nvPr>
        </p:nvSpPr>
        <p:spPr>
          <a:xfrm>
            <a:off x="950456" y="549276"/>
            <a:ext cx="5877064" cy="3213981"/>
          </a:xfrm>
        </p:spPr>
        <p:txBody>
          <a:bodyPr anchor="b"/>
          <a:lstStyle>
            <a:lvl1pPr algn="l">
              <a:lnSpc>
                <a:spcPct val="100000"/>
              </a:lnSpc>
              <a:defRPr baseline="0">
                <a:solidFill>
                  <a:schemeClr val="bg1"/>
                </a:solidFill>
                <a:latin typeface="+mj-lt"/>
              </a:defRPr>
            </a:lvl1pPr>
          </a:lstStyle>
          <a:p>
            <a:r>
              <a:rPr lang="en-GB" noProof="0" dirty="0"/>
              <a:t>Add your title here</a:t>
            </a:r>
          </a:p>
        </p:txBody>
      </p:sp>
      <p:sp>
        <p:nvSpPr>
          <p:cNvPr id="17" name="Text Placeholder 19"/>
          <p:cNvSpPr>
            <a:spLocks noGrp="1"/>
          </p:cNvSpPr>
          <p:nvPr>
            <p:ph type="body" sz="quarter" idx="13" hasCustomPrompt="1"/>
          </p:nvPr>
        </p:nvSpPr>
        <p:spPr>
          <a:xfrm>
            <a:off x="950249" y="3863657"/>
            <a:ext cx="4231352" cy="1045757"/>
          </a:xfrm>
          <a:prstGeom prst="rect">
            <a:avLst/>
          </a:prstGeom>
        </p:spPr>
        <p:txBody>
          <a:bodyPr>
            <a:noAutofit/>
          </a:bodyPr>
          <a:lstStyle>
            <a:lvl1pPr marL="0" indent="0" algn="l">
              <a:lnSpc>
                <a:spcPct val="100000"/>
              </a:lnSpc>
              <a:buNone/>
              <a:defRPr sz="2400" baseline="0">
                <a:solidFill>
                  <a:schemeClr val="bg1"/>
                </a:solidFill>
                <a:latin typeface="+mj-lt"/>
              </a:defRPr>
            </a:lvl1pPr>
            <a:lvl2pPr marL="342875" indent="0">
              <a:buNone/>
              <a:defRPr sz="1200">
                <a:solidFill>
                  <a:schemeClr val="accent2"/>
                </a:solidFill>
                <a:latin typeface="+mj-lt"/>
              </a:defRPr>
            </a:lvl2pPr>
            <a:lvl3pPr marL="685749" indent="0">
              <a:buNone/>
              <a:defRPr sz="1050">
                <a:solidFill>
                  <a:schemeClr val="accent2"/>
                </a:solidFill>
                <a:latin typeface="+mj-lt"/>
              </a:defRPr>
            </a:lvl3pPr>
            <a:lvl4pPr marL="1028624" indent="0">
              <a:buNone/>
              <a:defRPr sz="900">
                <a:solidFill>
                  <a:schemeClr val="accent2"/>
                </a:solidFill>
                <a:latin typeface="+mj-lt"/>
              </a:defRPr>
            </a:lvl4pPr>
            <a:lvl5pPr marL="1371498" indent="0">
              <a:buNone/>
              <a:defRPr sz="900">
                <a:solidFill>
                  <a:schemeClr val="accent2"/>
                </a:solidFill>
                <a:latin typeface="+mj-lt"/>
              </a:defRPr>
            </a:lvl5pPr>
          </a:lstStyle>
          <a:p>
            <a:pPr lvl="0"/>
            <a:r>
              <a:rPr lang="en-GB" noProof="0" dirty="0"/>
              <a:t>Insert your subheading here to support your heading</a:t>
            </a:r>
          </a:p>
        </p:txBody>
      </p:sp>
      <p:sp>
        <p:nvSpPr>
          <p:cNvPr id="18" name="Text Placeholder 97"/>
          <p:cNvSpPr>
            <a:spLocks noGrp="1"/>
          </p:cNvSpPr>
          <p:nvPr>
            <p:ph type="body" sz="quarter" idx="16" hasCustomPrompt="1"/>
          </p:nvPr>
        </p:nvSpPr>
        <p:spPr>
          <a:xfrm>
            <a:off x="950258" y="5438785"/>
            <a:ext cx="2619201" cy="1058862"/>
          </a:xfrm>
          <a:prstGeom prst="rect">
            <a:avLst/>
          </a:prstGeom>
        </p:spPr>
        <p:txBody>
          <a:bodyPr anchor="b">
            <a:normAutofit/>
          </a:bodyPr>
          <a:lstStyle>
            <a:lvl1pPr marL="0" indent="0" algn="l">
              <a:lnSpc>
                <a:spcPct val="100000"/>
              </a:lnSpc>
              <a:spcBef>
                <a:spcPts val="0"/>
              </a:spcBef>
              <a:buNone/>
              <a:defRPr sz="1200" baseline="0">
                <a:solidFill>
                  <a:schemeClr val="bg1"/>
                </a:solidFill>
              </a:defRPr>
            </a:lvl1pPr>
          </a:lstStyle>
          <a:p>
            <a:pPr lvl="0"/>
            <a:r>
              <a:rPr lang="en-GB" noProof="0" dirty="0"/>
              <a:t>Insert Author, </a:t>
            </a:r>
            <a:br>
              <a:rPr lang="en-GB" noProof="0" dirty="0"/>
            </a:br>
            <a:r>
              <a:rPr lang="en-GB" noProof="0" dirty="0"/>
              <a:t>department, </a:t>
            </a:r>
            <a:br>
              <a:rPr lang="en-GB" noProof="0" dirty="0"/>
            </a:br>
            <a:r>
              <a:rPr lang="en-GB" noProof="0" dirty="0"/>
              <a:t>date, place</a:t>
            </a:r>
          </a:p>
        </p:txBody>
      </p:sp>
      <p:sp>
        <p:nvSpPr>
          <p:cNvPr id="20"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34" name="Freeform 5"/>
          <p:cNvSpPr>
            <a:spLocks noEditPoints="1"/>
          </p:cNvSpPr>
          <p:nvPr userDrawn="1"/>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rgbClr val="005EB8"/>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spTree>
    <p:extLst>
      <p:ext uri="{BB962C8B-B14F-4D97-AF65-F5344CB8AC3E}">
        <p14:creationId xmlns:p14="http://schemas.microsoft.com/office/powerpoint/2010/main" val="129981157"/>
      </p:ext>
    </p:extLst>
  </p:cSld>
  <p:clrMapOvr>
    <a:masterClrMapping/>
  </p:clrMapOvr>
  <p:extLst mod="1">
    <p:ext uri="{DCECCB84-F9BA-43D5-87BE-67443E8EF086}">
      <p15:sldGuideLst xmlns:p15="http://schemas.microsoft.com/office/powerpoint/2012/main">
        <p15:guide id="1" orient="horz" pos="4065">
          <p15:clr>
            <a:srgbClr val="FBAE40"/>
          </p15:clr>
        </p15:guide>
        <p15:guide id="2" orient="horz" pos="34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tags" Target="../tags/tag4.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image" Target="../media/image6.pn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vmlDrawing" Target="../drawings/vmlDrawing3.v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image" Target="../media/image1.emf"/><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theme" Target="../theme/theme2.xml"/><Relationship Id="rId40" Type="http://schemas.openxmlformats.org/officeDocument/2006/relationships/oleObject" Target="../embeddings/oleObject3.bin"/><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43"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vmlDrawing" Target="../drawings/vmlDrawing8.v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theme" Target="../theme/theme3.xml"/><Relationship Id="rId38" Type="http://schemas.openxmlformats.org/officeDocument/2006/relationships/image" Target="../media/image2.png"/><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image" Target="../media/image1.emf"/><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oleObject" Target="../embeddings/oleObject8.bin"/><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oleObject" Target="../embeddings/oleObject10.bin"/><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image" Target="../media/image7.png"/><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tags" Target="../tags/tag11.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41" Type="http://schemas.openxmlformats.org/officeDocument/2006/relationships/image" Target="../media/image6.png"/><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vmlDrawing" Target="../drawings/vmlDrawing10.vml"/><Relationship Id="rId40" Type="http://schemas.openxmlformats.org/officeDocument/2006/relationships/image" Target="../media/image1.emf"/><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theme" Target="../theme/theme4.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34" Type="http://schemas.openxmlformats.org/officeDocument/2006/relationships/vmlDrawing" Target="../drawings/vmlDrawing15.v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theme" Target="../theme/theme5.xml"/><Relationship Id="rId38" Type="http://schemas.openxmlformats.org/officeDocument/2006/relationships/image" Target="../media/image2.png"/><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image" Target="../media/image1.emf"/><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oleObject" Target="../embeddings/oleObject15.bin"/><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5"/>
            </p:custDataLst>
            <p:extLst>
              <p:ext uri="{D42A27DB-BD31-4B8C-83A1-F6EECF244321}">
                <p14:modId xmlns:p14="http://schemas.microsoft.com/office/powerpoint/2010/main" val="17636712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6" name="think-cell Slide" r:id="rId36" imgW="216" imgH="216" progId="TCLayout.ActiveDocument.1">
                  <p:embed/>
                </p:oleObj>
              </mc:Choice>
              <mc:Fallback>
                <p:oleObj name="think-cell Slide" r:id="rId36" imgW="216" imgH="216"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02728" y="304681"/>
            <a:ext cx="11252793" cy="466284"/>
          </a:xfrm>
          <a:prstGeom prst="rect">
            <a:avLst/>
          </a:prstGeom>
        </p:spPr>
        <p:txBody>
          <a:bodyPr vert="horz" lIns="91440" tIns="0" rIns="91440" bIns="45720" rtlCol="0" anchor="t">
            <a:noAutofit/>
          </a:bodyPr>
          <a:lstStyle/>
          <a:p>
            <a:r>
              <a:rPr lang="en-GB" noProof="0" dirty="0"/>
              <a:t>Add your title here</a:t>
            </a:r>
          </a:p>
        </p:txBody>
      </p:sp>
      <p:sp>
        <p:nvSpPr>
          <p:cNvPr id="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noProof="0" dirty="0"/>
              <a:t>© Amadeus IT Group and its affiliates and subsidiaries</a:t>
            </a:r>
          </a:p>
        </p:txBody>
      </p:sp>
      <p:sp>
        <p:nvSpPr>
          <p:cNvPr id="33"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noProof="0" smtClean="0"/>
              <a:pPr/>
              <a:t>‹#›</a:t>
            </a:fld>
            <a:endParaRPr lang="en-GB" noProof="0" dirty="0"/>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p>
        </p:txBody>
      </p:sp>
      <p:pic>
        <p:nvPicPr>
          <p:cNvPr id="12" name="Imagen 11"/>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21612" y="5912585"/>
            <a:ext cx="2544887" cy="887180"/>
          </a:xfrm>
          <a:prstGeom prst="rect">
            <a:avLst/>
          </a:prstGeom>
        </p:spPr>
      </p:pic>
      <p:sp>
        <p:nvSpPr>
          <p:cNvPr id="3" name="MSIPCMContentMarking" descr="{&quot;HashCode&quot;:-980460767,&quot;Placement&quot;:&quot;Header&quot;}"/>
          <p:cNvSpPr txBox="1"/>
          <p:nvPr userDrawn="1"/>
        </p:nvSpPr>
        <p:spPr>
          <a:xfrm>
            <a:off x="10002555" y="0"/>
            <a:ext cx="2189445" cy="296525"/>
          </a:xfrm>
          <a:prstGeom prst="rect">
            <a:avLst/>
          </a:prstGeom>
          <a:noFill/>
        </p:spPr>
        <p:txBody>
          <a:bodyPr vert="horz" wrap="square" lIns="0" tIns="0" rIns="0" bIns="0" rtlCol="0" anchor="ctr" anchorCtr="1">
            <a:spAutoFit/>
          </a:bodyPr>
          <a:lstStyle/>
          <a:p>
            <a:pPr algn="r">
              <a:spcBef>
                <a:spcPts val="0"/>
              </a:spcBef>
              <a:spcAft>
                <a:spcPts val="0"/>
              </a:spcAft>
            </a:pPr>
            <a:r>
              <a:rPr lang="en-US" sz="1200">
                <a:solidFill>
                  <a:srgbClr val="FF8C00"/>
                </a:solidFill>
                <a:latin typeface="Calibri" panose="020F0502020204030204" pitchFamily="34" charset="0"/>
              </a:rPr>
              <a:t>CONFIDENTIAL &amp; RESTRICTED</a:t>
            </a:r>
          </a:p>
        </p:txBody>
      </p:sp>
    </p:spTree>
    <p:extLst>
      <p:ext uri="{BB962C8B-B14F-4D97-AF65-F5344CB8AC3E}">
        <p14:creationId xmlns:p14="http://schemas.microsoft.com/office/powerpoint/2010/main" val="238996051"/>
      </p:ext>
    </p:extLst>
  </p:cSld>
  <p:clrMap bg1="lt1" tx1="dk1" bg2="lt2" tx2="dk2" accent1="accent1" accent2="accent2" accent3="accent3" accent4="accent4" accent5="accent5" accent6="accent6" hlink="hlink" folHlink="folHlink"/>
  <p:sldLayoutIdLst>
    <p:sldLayoutId id="2147483814" r:id="rId1"/>
    <p:sldLayoutId id="2147483820" r:id="rId2"/>
    <p:sldLayoutId id="2147483819" r:id="rId3"/>
    <p:sldLayoutId id="2147483822" r:id="rId4"/>
    <p:sldLayoutId id="2147483844" r:id="rId5"/>
    <p:sldLayoutId id="2147483845" r:id="rId6"/>
    <p:sldLayoutId id="2147483765" r:id="rId7"/>
    <p:sldLayoutId id="2147483846" r:id="rId8"/>
    <p:sldLayoutId id="2147483827" r:id="rId9"/>
    <p:sldLayoutId id="2147483828" r:id="rId10"/>
    <p:sldLayoutId id="2147483829" r:id="rId11"/>
    <p:sldLayoutId id="2147483830" r:id="rId12"/>
    <p:sldLayoutId id="2147483749" r:id="rId13"/>
    <p:sldLayoutId id="2147483831" r:id="rId14"/>
    <p:sldLayoutId id="2147483832" r:id="rId15"/>
    <p:sldLayoutId id="2147483833" r:id="rId16"/>
    <p:sldLayoutId id="2147483834" r:id="rId17"/>
    <p:sldLayoutId id="2147483835" r:id="rId18"/>
    <p:sldLayoutId id="2147483836" r:id="rId19"/>
    <p:sldLayoutId id="2147483815" r:id="rId20"/>
    <p:sldLayoutId id="2147483837" r:id="rId21"/>
    <p:sldLayoutId id="2147483838" r:id="rId22"/>
    <p:sldLayoutId id="2147483839" r:id="rId23"/>
    <p:sldLayoutId id="2147483841" r:id="rId24"/>
    <p:sldLayoutId id="2147483842" r:id="rId25"/>
    <p:sldLayoutId id="2147483843" r:id="rId26"/>
    <p:sldLayoutId id="2147483840" r:id="rId27"/>
    <p:sldLayoutId id="2147483821" r:id="rId28"/>
    <p:sldLayoutId id="2147483823" r:id="rId29"/>
    <p:sldLayoutId id="2147483763" r:id="rId30"/>
    <p:sldLayoutId id="2147483824" r:id="rId31"/>
    <p:sldLayoutId id="2147483825" r:id="rId32"/>
  </p:sldLayoutIdLst>
  <p:hf hdr="0" dt="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589" userDrawn="1">
          <p15:clr>
            <a:srgbClr val="F26B43"/>
          </p15:clr>
        </p15:guide>
        <p15:guide id="2" orient="horz" pos="187" userDrawn="1">
          <p15:clr>
            <a:srgbClr val="F26B43"/>
          </p15:clr>
        </p15:guide>
        <p15:guide id="3" orient="horz" pos="119" userDrawn="1">
          <p15:clr>
            <a:srgbClr val="F26B43"/>
          </p15:clr>
        </p15:guide>
        <p15:guide id="4" orient="horz" pos="3974" userDrawn="1">
          <p15:clr>
            <a:srgbClr val="F26B43"/>
          </p15:clr>
        </p15:guide>
        <p15:guide id="5" orient="horz" pos="2160" userDrawn="1">
          <p15:clr>
            <a:srgbClr val="F26B43"/>
          </p15:clr>
        </p15:guide>
        <p15:guide id="6" pos="181" userDrawn="1">
          <p15:clr>
            <a:srgbClr val="F26B43"/>
          </p15:clr>
        </p15:guide>
        <p15:guide id="7" pos="7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6" name="think-cell Slide" r:id="rId40" imgW="216" imgH="216" progId="TCLayout.ActiveDocument.1">
                  <p:embed/>
                </p:oleObj>
              </mc:Choice>
              <mc:Fallback>
                <p:oleObj name="think-cell Slide" r:id="rId40" imgW="216" imgH="216"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02728" y="304681"/>
            <a:ext cx="11252793" cy="466284"/>
          </a:xfrm>
          <a:prstGeom prst="rect">
            <a:avLst/>
          </a:prstGeom>
        </p:spPr>
        <p:txBody>
          <a:bodyPr vert="horz" lIns="91440" tIns="0" rIns="91440" bIns="45720" rtlCol="0" anchor="t">
            <a:noAutofit/>
          </a:bodyPr>
          <a:lstStyle/>
          <a:p>
            <a:r>
              <a:rPr lang="en-GB" noProof="0"/>
              <a:t>Add your title here</a:t>
            </a:r>
          </a:p>
        </p:txBody>
      </p:sp>
      <p:sp>
        <p:nvSpPr>
          <p:cNvPr id="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33"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12" name="Imagen 11"/>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21612" y="5912585"/>
            <a:ext cx="2544887" cy="887180"/>
          </a:xfrm>
          <a:prstGeom prst="rect">
            <a:avLst/>
          </a:prstGeom>
        </p:spPr>
      </p:pic>
      <p:sp>
        <p:nvSpPr>
          <p:cNvPr id="3" name="MSIPCMContentMarking" descr="{&quot;HashCode&quot;:-980460767,&quot;Placement&quot;:&quot;Header&quot;}"/>
          <p:cNvSpPr txBox="1"/>
          <p:nvPr userDrawn="1"/>
        </p:nvSpPr>
        <p:spPr>
          <a:xfrm>
            <a:off x="10002555" y="0"/>
            <a:ext cx="2189445" cy="296525"/>
          </a:xfrm>
          <a:prstGeom prst="rect">
            <a:avLst/>
          </a:prstGeom>
          <a:noFill/>
        </p:spPr>
        <p:txBody>
          <a:bodyPr vert="horz" wrap="square" lIns="0" tIns="0" rIns="0" bIns="0" rtlCol="0" anchor="ctr" anchorCtr="1">
            <a:spAutoFit/>
          </a:bodyPr>
          <a:lstStyle/>
          <a:p>
            <a:pPr algn="r"/>
            <a:r>
              <a:rPr lang="en-US" sz="1200">
                <a:solidFill>
                  <a:srgbClr val="FF8C00"/>
                </a:solidFill>
              </a:rPr>
              <a:t>CONFIDENTIAL &amp; RESTRICTED</a:t>
            </a:r>
          </a:p>
        </p:txBody>
      </p:sp>
      <p:sp>
        <p:nvSpPr>
          <p:cNvPr id="9" name="TextBox 8"/>
          <p:cNvSpPr txBox="1"/>
          <p:nvPr userDrawn="1"/>
        </p:nvSpPr>
        <p:spPr>
          <a:xfrm>
            <a:off x="6809695" y="6444921"/>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0" name="Picture 9"/>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flipH="1">
            <a:off x="6584655" y="6402113"/>
            <a:ext cx="254224" cy="254224"/>
          </a:xfrm>
          <a:prstGeom prst="rect">
            <a:avLst/>
          </a:prstGeom>
        </p:spPr>
      </p:pic>
    </p:spTree>
    <p:extLst>
      <p:ext uri="{BB962C8B-B14F-4D97-AF65-F5344CB8AC3E}">
        <p14:creationId xmlns:p14="http://schemas.microsoft.com/office/powerpoint/2010/main" val="3626236847"/>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Lst>
  <p:hf hdr="0" dt="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74">
          <p15:clr>
            <a:srgbClr val="F26B43"/>
          </p15:clr>
        </p15:guide>
        <p15:guide id="5" orient="horz" pos="2160">
          <p15:clr>
            <a:srgbClr val="F26B43"/>
          </p15:clr>
        </p15:guide>
        <p15:guide id="6" pos="181">
          <p15:clr>
            <a:srgbClr val="F26B43"/>
          </p15:clr>
        </p15:guide>
        <p15:guide id="7" pos="725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6" name="think-cell Slide" r:id="rId36" imgW="216" imgH="216" progId="TCLayout.ActiveDocument.1">
                  <p:embed/>
                </p:oleObj>
              </mc:Choice>
              <mc:Fallback>
                <p:oleObj name="think-cell Slide" r:id="rId36" imgW="216" imgH="216"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02728" y="304681"/>
            <a:ext cx="11252793" cy="466284"/>
          </a:xfrm>
          <a:prstGeom prst="rect">
            <a:avLst/>
          </a:prstGeom>
        </p:spPr>
        <p:txBody>
          <a:bodyPr vert="horz" lIns="91440" tIns="0" rIns="91440" bIns="45720" rtlCol="0" anchor="t">
            <a:noAutofit/>
          </a:bodyPr>
          <a:lstStyle/>
          <a:p>
            <a:r>
              <a:rPr lang="en-GB" noProof="0" dirty="0"/>
              <a:t>Add your title here</a:t>
            </a:r>
          </a:p>
        </p:txBody>
      </p:sp>
      <p:sp>
        <p:nvSpPr>
          <p:cNvPr id="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33"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12" name="Imagen 11"/>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21612" y="5912585"/>
            <a:ext cx="2544887" cy="887180"/>
          </a:xfrm>
          <a:prstGeom prst="rect">
            <a:avLst/>
          </a:prstGeom>
        </p:spPr>
      </p:pic>
      <p:sp>
        <p:nvSpPr>
          <p:cNvPr id="3" name="MSIPCMContentMarking" descr="{&quot;HashCode&quot;:-980460767,&quot;Placement&quot;:&quot;Header&quot;}"/>
          <p:cNvSpPr txBox="1"/>
          <p:nvPr userDrawn="1"/>
        </p:nvSpPr>
        <p:spPr>
          <a:xfrm>
            <a:off x="10002555" y="0"/>
            <a:ext cx="2189445" cy="296525"/>
          </a:xfrm>
          <a:prstGeom prst="rect">
            <a:avLst/>
          </a:prstGeom>
          <a:noFill/>
        </p:spPr>
        <p:txBody>
          <a:bodyPr vert="horz" wrap="square" lIns="0" tIns="0" rIns="0" bIns="0" rtlCol="0" anchor="ctr" anchorCtr="1">
            <a:spAutoFit/>
          </a:bodyPr>
          <a:lstStyle/>
          <a:p>
            <a:pPr algn="r"/>
            <a:r>
              <a:rPr lang="en-US" sz="1200">
                <a:solidFill>
                  <a:srgbClr val="FF8C00"/>
                </a:solidFill>
              </a:rPr>
              <a:t>CONFIDENTIAL &amp; RESTRICTED</a:t>
            </a:r>
          </a:p>
        </p:txBody>
      </p:sp>
    </p:spTree>
    <p:extLst>
      <p:ext uri="{BB962C8B-B14F-4D97-AF65-F5344CB8AC3E}">
        <p14:creationId xmlns:p14="http://schemas.microsoft.com/office/powerpoint/2010/main" val="2097993542"/>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0" r:id="rId26"/>
    <p:sldLayoutId id="2147483911" r:id="rId27"/>
    <p:sldLayoutId id="2147483912" r:id="rId28"/>
    <p:sldLayoutId id="2147483913" r:id="rId29"/>
    <p:sldLayoutId id="2147483914" r:id="rId30"/>
    <p:sldLayoutId id="2147483915" r:id="rId31"/>
    <p:sldLayoutId id="2147483916" r:id="rId32"/>
  </p:sldLayoutIdLst>
  <p:hf hdr="0" dt="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74">
          <p15:clr>
            <a:srgbClr val="F26B43"/>
          </p15:clr>
        </p15:guide>
        <p15:guide id="5" orient="horz" pos="2160">
          <p15:clr>
            <a:srgbClr val="F26B43"/>
          </p15:clr>
        </p15:guide>
        <p15:guide id="6" pos="181">
          <p15:clr>
            <a:srgbClr val="F26B43"/>
          </p15:clr>
        </p15:guide>
        <p15:guide id="7" pos="725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4" name="think-cell Slide" r:id="rId39" imgW="216" imgH="216" progId="TCLayout.ActiveDocument.1">
                  <p:embed/>
                </p:oleObj>
              </mc:Choice>
              <mc:Fallback>
                <p:oleObj name="think-cell Slide" r:id="rId39" imgW="216" imgH="216"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02728" y="304681"/>
            <a:ext cx="11252793" cy="466284"/>
          </a:xfrm>
          <a:prstGeom prst="rect">
            <a:avLst/>
          </a:prstGeom>
        </p:spPr>
        <p:txBody>
          <a:bodyPr vert="horz" lIns="91440" tIns="0" rIns="91440" bIns="45720" rtlCol="0" anchor="t">
            <a:noAutofit/>
          </a:bodyPr>
          <a:lstStyle/>
          <a:p>
            <a:r>
              <a:rPr lang="en-GB" noProof="0"/>
              <a:t>Add your title here</a:t>
            </a:r>
          </a:p>
        </p:txBody>
      </p:sp>
      <p:sp>
        <p:nvSpPr>
          <p:cNvPr id="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a:solidFill>
                  <a:srgbClr val="FFFFFF">
                    <a:lumMod val="65000"/>
                  </a:srgbClr>
                </a:solidFill>
              </a:rPr>
              <a:t>© Amadeus IT Group and its affiliates and subsidiaries</a:t>
            </a:r>
          </a:p>
        </p:txBody>
      </p:sp>
      <p:sp>
        <p:nvSpPr>
          <p:cNvPr id="33"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a:solidFill>
                <a:srgbClr val="FFFFFF">
                  <a:lumMod val="50000"/>
                </a:srgbClr>
              </a:solidFill>
            </a:endParaRP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12" name="Imagen 11"/>
          <p:cNvPicPr>
            <a:picLocks noChangeAspect="1"/>
          </p:cNvPicPr>
          <p:nvPr userDrawn="1"/>
        </p:nvPicPr>
        <p:blipFill>
          <a:blip r:embed="rId41" cstate="screen">
            <a:extLst>
              <a:ext uri="{28A0092B-C50C-407E-A947-70E740481C1C}">
                <a14:useLocalDpi xmlns:a14="http://schemas.microsoft.com/office/drawing/2010/main"/>
              </a:ext>
            </a:extLst>
          </a:blip>
          <a:stretch>
            <a:fillRect/>
          </a:stretch>
        </p:blipFill>
        <p:spPr>
          <a:xfrm>
            <a:off x="21612" y="5912585"/>
            <a:ext cx="2544887" cy="887180"/>
          </a:xfrm>
          <a:prstGeom prst="rect">
            <a:avLst/>
          </a:prstGeom>
        </p:spPr>
      </p:pic>
      <p:sp>
        <p:nvSpPr>
          <p:cNvPr id="3" name="MSIPCMContentMarking" descr="{&quot;HashCode&quot;:-980460767,&quot;Placement&quot;:&quot;Header&quot;}"/>
          <p:cNvSpPr txBox="1"/>
          <p:nvPr userDrawn="1"/>
        </p:nvSpPr>
        <p:spPr>
          <a:xfrm>
            <a:off x="10002555" y="0"/>
            <a:ext cx="2189445" cy="296525"/>
          </a:xfrm>
          <a:prstGeom prst="rect">
            <a:avLst/>
          </a:prstGeom>
          <a:noFill/>
        </p:spPr>
        <p:txBody>
          <a:bodyPr vert="horz" wrap="square" lIns="0" tIns="0" rIns="0" bIns="0" rtlCol="0" anchor="ctr" anchorCtr="1">
            <a:spAutoFit/>
          </a:bodyPr>
          <a:lstStyle/>
          <a:p>
            <a:pPr algn="r"/>
            <a:r>
              <a:rPr lang="en-US" sz="1200">
                <a:solidFill>
                  <a:srgbClr val="FF8C00"/>
                </a:solidFill>
              </a:rPr>
              <a:t>CONFIDENTIAL &amp; RESTRICTED</a:t>
            </a:r>
          </a:p>
        </p:txBody>
      </p:sp>
      <p:sp>
        <p:nvSpPr>
          <p:cNvPr id="9" name="TextBox 8"/>
          <p:cNvSpPr txBox="1"/>
          <p:nvPr userDrawn="1"/>
        </p:nvSpPr>
        <p:spPr>
          <a:xfrm>
            <a:off x="6809695" y="6444921"/>
            <a:ext cx="3942687" cy="276999"/>
          </a:xfrm>
          <a:prstGeom prst="rect">
            <a:avLst/>
          </a:prstGeom>
          <a:noFill/>
        </p:spPr>
        <p:txBody>
          <a:bodyPr wrap="square" rtlCol="0">
            <a:spAutoFit/>
          </a:bodyPr>
          <a:lstStyle/>
          <a:p>
            <a:r>
              <a:rPr lang="en-US" sz="1200">
                <a:solidFill>
                  <a:srgbClr val="005EB8"/>
                </a:solidFill>
                <a:latin typeface="Calibri Light" panose="020F0302020204030204"/>
              </a:rPr>
              <a:t>Travel Channels Strategy, Transformation &amp; Communications</a:t>
            </a:r>
            <a:endParaRPr lang="en-IE" sz="1200">
              <a:solidFill>
                <a:srgbClr val="005EB8"/>
              </a:solidFill>
              <a:latin typeface="Calibri Light" panose="020F0302020204030204"/>
            </a:endParaRPr>
          </a:p>
        </p:txBody>
      </p:sp>
      <p:pic>
        <p:nvPicPr>
          <p:cNvPr id="10" name="Picture 9"/>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flipH="1">
            <a:off x="6584655" y="6402113"/>
            <a:ext cx="254224" cy="254224"/>
          </a:xfrm>
          <a:prstGeom prst="rect">
            <a:avLst/>
          </a:prstGeom>
        </p:spPr>
      </p:pic>
    </p:spTree>
    <p:extLst>
      <p:ext uri="{BB962C8B-B14F-4D97-AF65-F5344CB8AC3E}">
        <p14:creationId xmlns:p14="http://schemas.microsoft.com/office/powerpoint/2010/main" val="1617519063"/>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45" r:id="rId28"/>
    <p:sldLayoutId id="2147483946" r:id="rId29"/>
    <p:sldLayoutId id="2147483947" r:id="rId30"/>
    <p:sldLayoutId id="2147483948" r:id="rId31"/>
    <p:sldLayoutId id="2147483949" r:id="rId32"/>
    <p:sldLayoutId id="2147483950" r:id="rId33"/>
    <p:sldLayoutId id="2147483951" r:id="rId34"/>
    <p:sldLayoutId id="2147483952" r:id="rId35"/>
  </p:sldLayoutIdLst>
  <p:hf hdr="0" dt="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74">
          <p15:clr>
            <a:srgbClr val="F26B43"/>
          </p15:clr>
        </p15:guide>
        <p15:guide id="5" orient="horz" pos="2160">
          <p15:clr>
            <a:srgbClr val="F26B43"/>
          </p15:clr>
        </p15:guide>
        <p15:guide id="6" pos="181">
          <p15:clr>
            <a:srgbClr val="F26B43"/>
          </p15:clr>
        </p15:guide>
        <p15:guide id="7" pos="725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4" name="think-cell Slide" r:id="rId36" imgW="216" imgH="216" progId="TCLayout.ActiveDocument.1">
                  <p:embed/>
                </p:oleObj>
              </mc:Choice>
              <mc:Fallback>
                <p:oleObj name="think-cell Slide" r:id="rId36" imgW="216" imgH="216" progId="TCLayout.ActiveDocument.1">
                  <p:embed/>
                  <p:pic>
                    <p:nvPicPr>
                      <p:cNvPr id="0" name=""/>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02728" y="304681"/>
            <a:ext cx="11252793" cy="466284"/>
          </a:xfrm>
          <a:prstGeom prst="rect">
            <a:avLst/>
          </a:prstGeom>
        </p:spPr>
        <p:txBody>
          <a:bodyPr vert="horz" lIns="91440" tIns="0" rIns="91440" bIns="45720" rtlCol="0" anchor="t">
            <a:noAutofit/>
          </a:bodyPr>
          <a:lstStyle/>
          <a:p>
            <a:r>
              <a:rPr lang="en-GB" noProof="0" dirty="0"/>
              <a:t>Add your title here</a:t>
            </a:r>
          </a:p>
        </p:txBody>
      </p:sp>
      <p:sp>
        <p:nvSpPr>
          <p:cNvPr id="5" name="Footer Placeholder 4"/>
          <p:cNvSpPr>
            <a:spLocks noGrp="1"/>
          </p:cNvSpPr>
          <p:nvPr>
            <p:ph type="ftr" sz="quarter" idx="3"/>
          </p:nvPr>
        </p:nvSpPr>
        <p:spPr>
          <a:xfrm rot="16200000">
            <a:off x="10404202" y="4652432"/>
            <a:ext cx="3086100" cy="226487"/>
          </a:xfrm>
          <a:prstGeom prst="rect">
            <a:avLst/>
          </a:prstGeom>
        </p:spPr>
        <p:txBody>
          <a:bodyPr vert="horz" lIns="91440" tIns="45720" rIns="91440" bIns="45720" rtlCol="0" anchor="ctr"/>
          <a:lstStyle>
            <a:lvl1pPr algn="l">
              <a:defRPr sz="700">
                <a:solidFill>
                  <a:schemeClr val="bg1">
                    <a:lumMod val="65000"/>
                  </a:schemeClr>
                </a:solidFill>
                <a:latin typeface="+mj-lt"/>
              </a:defRPr>
            </a:lvl1pPr>
          </a:lstStyle>
          <a:p>
            <a:r>
              <a:rPr lang="en-GB" dirty="0">
                <a:solidFill>
                  <a:srgbClr val="FFFFFF">
                    <a:lumMod val="65000"/>
                  </a:srgbClr>
                </a:solidFill>
              </a:rPr>
              <a:t>© Amadeus IT Group and its affiliates and subsidiaries</a:t>
            </a:r>
          </a:p>
        </p:txBody>
      </p:sp>
      <p:sp>
        <p:nvSpPr>
          <p:cNvPr id="33" name="Marcador de número de diapositiva 32"/>
          <p:cNvSpPr>
            <a:spLocks noGrp="1"/>
          </p:cNvSpPr>
          <p:nvPr>
            <p:ph type="sldNum" sz="quarter" idx="4"/>
          </p:nvPr>
        </p:nvSpPr>
        <p:spPr>
          <a:xfrm>
            <a:off x="11776959" y="6519612"/>
            <a:ext cx="248264" cy="123111"/>
          </a:xfrm>
          <a:prstGeom prst="rect">
            <a:avLst/>
          </a:prstGeom>
        </p:spPr>
        <p:txBody>
          <a:bodyPr vert="horz" wrap="square" lIns="0" tIns="0" rIns="0" bIns="0" rtlCol="0" anchor="ctr">
            <a:spAutoFit/>
          </a:bodyPr>
          <a:lstStyle>
            <a:lvl1pPr algn="ctr">
              <a:defRPr sz="800">
                <a:solidFill>
                  <a:schemeClr val="bg1">
                    <a:lumMod val="50000"/>
                  </a:schemeClr>
                </a:solidFill>
                <a:latin typeface="+mj-lt"/>
              </a:defRPr>
            </a:lvl1pPr>
          </a:lstStyle>
          <a:p>
            <a:fld id="{E57627FB-D816-4EA7-98E3-793F2D9BC93A}" type="slidenum">
              <a:rPr lang="en-GB" smtClean="0">
                <a:solidFill>
                  <a:srgbClr val="FFFFFF">
                    <a:lumMod val="50000"/>
                  </a:srgbClr>
                </a:solidFill>
              </a:rPr>
              <a:pPr/>
              <a:t>‹#›</a:t>
            </a:fld>
            <a:endParaRPr lang="en-GB" dirty="0">
              <a:solidFill>
                <a:srgbClr val="FFFFFF">
                  <a:lumMod val="50000"/>
                </a:srgbClr>
              </a:solidFill>
            </a:endParaRPr>
          </a:p>
        </p:txBody>
      </p:sp>
      <p:sp>
        <p:nvSpPr>
          <p:cNvPr id="8" name="Freeform 5"/>
          <p:cNvSpPr>
            <a:spLocks noEditPoints="1"/>
          </p:cNvSpPr>
          <p:nvPr userDrawn="1"/>
        </p:nvSpPr>
        <p:spPr bwMode="auto">
          <a:xfrm>
            <a:off x="10833517" y="6533899"/>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s-ES">
              <a:solidFill>
                <a:srgbClr val="005EB8"/>
              </a:solidFill>
            </a:endParaRPr>
          </a:p>
        </p:txBody>
      </p:sp>
      <p:pic>
        <p:nvPicPr>
          <p:cNvPr id="12" name="Imagen 11"/>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21612" y="5912585"/>
            <a:ext cx="2544887" cy="887180"/>
          </a:xfrm>
          <a:prstGeom prst="rect">
            <a:avLst/>
          </a:prstGeom>
        </p:spPr>
      </p:pic>
      <p:sp>
        <p:nvSpPr>
          <p:cNvPr id="3" name="MSIPCMContentMarking" descr="{&quot;HashCode&quot;:-980460767,&quot;Placement&quot;:&quot;Header&quot;}"/>
          <p:cNvSpPr txBox="1"/>
          <p:nvPr userDrawn="1"/>
        </p:nvSpPr>
        <p:spPr>
          <a:xfrm>
            <a:off x="10002555" y="0"/>
            <a:ext cx="2189445" cy="296525"/>
          </a:xfrm>
          <a:prstGeom prst="rect">
            <a:avLst/>
          </a:prstGeom>
          <a:noFill/>
        </p:spPr>
        <p:txBody>
          <a:bodyPr vert="horz" wrap="square" lIns="0" tIns="0" rIns="0" bIns="0" rtlCol="0" anchor="ctr" anchorCtr="1">
            <a:spAutoFit/>
          </a:bodyPr>
          <a:lstStyle/>
          <a:p>
            <a:pPr algn="r"/>
            <a:r>
              <a:rPr lang="en-US" sz="1200">
                <a:solidFill>
                  <a:srgbClr val="FF8C00"/>
                </a:solidFill>
              </a:rPr>
              <a:t>CONFIDENTIAL &amp; RESTRICTED</a:t>
            </a:r>
          </a:p>
        </p:txBody>
      </p:sp>
    </p:spTree>
    <p:extLst>
      <p:ext uri="{BB962C8B-B14F-4D97-AF65-F5344CB8AC3E}">
        <p14:creationId xmlns:p14="http://schemas.microsoft.com/office/powerpoint/2010/main" val="961527020"/>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 id="2147483974" r:id="rId20"/>
    <p:sldLayoutId id="2147483975" r:id="rId21"/>
    <p:sldLayoutId id="2147483976" r:id="rId22"/>
    <p:sldLayoutId id="2147483977" r:id="rId23"/>
    <p:sldLayoutId id="2147483978" r:id="rId24"/>
    <p:sldLayoutId id="2147483979" r:id="rId25"/>
    <p:sldLayoutId id="2147483980" r:id="rId26"/>
    <p:sldLayoutId id="2147483981" r:id="rId27"/>
    <p:sldLayoutId id="2147483982" r:id="rId28"/>
    <p:sldLayoutId id="2147483983" r:id="rId29"/>
    <p:sldLayoutId id="2147483984" r:id="rId30"/>
    <p:sldLayoutId id="2147483985" r:id="rId31"/>
    <p:sldLayoutId id="2147483986" r:id="rId32"/>
  </p:sldLayoutIdLst>
  <p:hf hdr="0" dt="0"/>
  <p:txStyles>
    <p:titleStyle>
      <a:lvl1pPr algn="l" defTabSz="9144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1600" kern="1200">
          <a:solidFill>
            <a:schemeClr val="bg1">
              <a:lumMod val="50000"/>
            </a:schemeClr>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bg1">
              <a:lumMod val="50000"/>
            </a:schemeClr>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bg1">
              <a:lumMod val="50000"/>
            </a:schemeClr>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bg1">
              <a:lumMod val="50000"/>
            </a:schemeClr>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589">
          <p15:clr>
            <a:srgbClr val="F26B43"/>
          </p15:clr>
        </p15:guide>
        <p15:guide id="2" orient="horz" pos="187">
          <p15:clr>
            <a:srgbClr val="F26B43"/>
          </p15:clr>
        </p15:guide>
        <p15:guide id="3" orient="horz" pos="119">
          <p15:clr>
            <a:srgbClr val="F26B43"/>
          </p15:clr>
        </p15:guide>
        <p15:guide id="4" orient="horz" pos="3974">
          <p15:clr>
            <a:srgbClr val="F26B43"/>
          </p15:clr>
        </p15:guide>
        <p15:guide id="5" orient="horz" pos="2160">
          <p15:clr>
            <a:srgbClr val="F26B43"/>
          </p15:clr>
        </p15:guide>
        <p15:guide id="6" pos="181">
          <p15:clr>
            <a:srgbClr val="F26B43"/>
          </p15:clr>
        </p15:guide>
        <p15:guide id="7" pos="725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youtu.be/KJBFNgTvFos"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png"/><Relationship Id="rId1" Type="http://schemas.openxmlformats.org/officeDocument/2006/relationships/slideLayout" Target="../slideLayouts/slideLayout41.xml"/><Relationship Id="rId5" Type="http://schemas.microsoft.com/office/2007/relationships/hdphoto" Target="../media/hdphoto3.wdp"/><Relationship Id="rId4" Type="http://schemas.openxmlformats.org/officeDocument/2006/relationships/image" Target="../media/image71.png"/></Relationships>
</file>

<file path=ppt/slides/_rels/slide1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40.xml"/></Relationships>
</file>

<file path=ppt/slides/_rels/slide13.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png"/><Relationship Id="rId1" Type="http://schemas.openxmlformats.org/officeDocument/2006/relationships/slideLayout" Target="../slideLayouts/slideLayout140.xml"/></Relationships>
</file>

<file path=ppt/slides/_rels/slide14.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png"/><Relationship Id="rId1" Type="http://schemas.openxmlformats.org/officeDocument/2006/relationships/slideLayout" Target="../slideLayouts/slideLayout140.xml"/></Relationships>
</file>

<file path=ppt/slides/_rels/slide1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78.emf"/><Relationship Id="rId7" Type="http://schemas.openxmlformats.org/officeDocument/2006/relationships/image" Target="../media/image82.png"/><Relationship Id="rId2" Type="http://schemas.openxmlformats.org/officeDocument/2006/relationships/image" Target="../media/image77.jpg"/><Relationship Id="rId1" Type="http://schemas.openxmlformats.org/officeDocument/2006/relationships/slideLayout" Target="../slideLayouts/slideLayout38.xml"/><Relationship Id="rId6" Type="http://schemas.openxmlformats.org/officeDocument/2006/relationships/image" Target="../media/image81.emf"/><Relationship Id="rId5" Type="http://schemas.openxmlformats.org/officeDocument/2006/relationships/image" Target="../media/image80.emf"/><Relationship Id="rId4" Type="http://schemas.openxmlformats.org/officeDocument/2006/relationships/image" Target="../media/image79.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14.jpeg"/><Relationship Id="rId10"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hyperlink" Target="https://youtu.be/KJBFNgTvFo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35.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emf"/><Relationship Id="rId7" Type="http://schemas.openxmlformats.org/officeDocument/2006/relationships/image" Target="../media/image24.emf"/><Relationship Id="rId2" Type="http://schemas.openxmlformats.org/officeDocument/2006/relationships/notesSlide" Target="../notesSlides/notesSlide4.xml"/><Relationship Id="rId1" Type="http://schemas.openxmlformats.org/officeDocument/2006/relationships/slideLayout" Target="../slideLayouts/slideLayout68.xml"/><Relationship Id="rId6" Type="http://schemas.openxmlformats.org/officeDocument/2006/relationships/image" Target="../media/image23.emf"/><Relationship Id="rId5" Type="http://schemas.openxmlformats.org/officeDocument/2006/relationships/image" Target="../media/image22.emf"/><Relationship Id="rId10" Type="http://schemas.openxmlformats.org/officeDocument/2006/relationships/image" Target="../media/image27.emf"/><Relationship Id="rId4" Type="http://schemas.openxmlformats.org/officeDocument/2006/relationships/image" Target="../media/image21.emf"/><Relationship Id="rId9" Type="http://schemas.openxmlformats.org/officeDocument/2006/relationships/image" Target="../media/image26.emf"/></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7.xml"/><Relationship Id="rId5" Type="http://schemas.openxmlformats.org/officeDocument/2006/relationships/image" Target="../media/image29.jpeg"/><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67.xml"/><Relationship Id="rId4" Type="http://schemas.openxmlformats.org/officeDocument/2006/relationships/image" Target="../media/image31.emf"/></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jpeg"/><Relationship Id="rId18" Type="http://schemas.openxmlformats.org/officeDocument/2006/relationships/image" Target="../media/image31.emf"/><Relationship Id="rId3" Type="http://schemas.openxmlformats.org/officeDocument/2006/relationships/image" Target="../media/image32.jpeg"/><Relationship Id="rId7" Type="http://schemas.openxmlformats.org/officeDocument/2006/relationships/image" Target="../media/image36.emf"/><Relationship Id="rId12" Type="http://schemas.openxmlformats.org/officeDocument/2006/relationships/image" Target="../media/image41.png"/><Relationship Id="rId17" Type="http://schemas.openxmlformats.org/officeDocument/2006/relationships/image" Target="../media/image30.png"/><Relationship Id="rId2" Type="http://schemas.openxmlformats.org/officeDocument/2006/relationships/notesSlide" Target="../notesSlides/notesSlide7.xml"/><Relationship Id="rId16" Type="http://schemas.openxmlformats.org/officeDocument/2006/relationships/image" Target="../media/image45.png"/><Relationship Id="rId1" Type="http://schemas.openxmlformats.org/officeDocument/2006/relationships/slideLayout" Target="../slideLayouts/slideLayout67.xml"/><Relationship Id="rId6" Type="http://schemas.openxmlformats.org/officeDocument/2006/relationships/image" Target="../media/image35.jpeg"/><Relationship Id="rId11" Type="http://schemas.openxmlformats.org/officeDocument/2006/relationships/image" Target="../media/image40.jpe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jpeg"/></Relationships>
</file>

<file path=ppt/slides/_rels/slide8.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40.jpeg"/><Relationship Id="rId18" Type="http://schemas.openxmlformats.org/officeDocument/2006/relationships/image" Target="../media/image45.png"/><Relationship Id="rId26" Type="http://schemas.openxmlformats.org/officeDocument/2006/relationships/image" Target="../media/image53.jpeg"/><Relationship Id="rId3" Type="http://schemas.openxmlformats.org/officeDocument/2006/relationships/image" Target="../media/image30.png"/><Relationship Id="rId21" Type="http://schemas.openxmlformats.org/officeDocument/2006/relationships/image" Target="../media/image48.jpe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png"/><Relationship Id="rId33" Type="http://schemas.openxmlformats.org/officeDocument/2006/relationships/image" Target="../media/image60.png"/><Relationship Id="rId2" Type="http://schemas.openxmlformats.org/officeDocument/2006/relationships/notesSlide" Target="../notesSlides/notesSlide8.xml"/><Relationship Id="rId16" Type="http://schemas.openxmlformats.org/officeDocument/2006/relationships/image" Target="../media/image43.jpe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slideLayout" Target="../slideLayouts/slideLayout67.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jpeg"/><Relationship Id="rId32" Type="http://schemas.openxmlformats.org/officeDocument/2006/relationships/image" Target="../media/image59.jpeg"/><Relationship Id="rId5" Type="http://schemas.openxmlformats.org/officeDocument/2006/relationships/image" Target="../media/image32.jpeg"/><Relationship Id="rId15" Type="http://schemas.openxmlformats.org/officeDocument/2006/relationships/image" Target="../media/image42.jpeg"/><Relationship Id="rId23" Type="http://schemas.openxmlformats.org/officeDocument/2006/relationships/image" Target="../media/image50.png"/><Relationship Id="rId28" Type="http://schemas.openxmlformats.org/officeDocument/2006/relationships/image" Target="../media/image55.jpeg"/><Relationship Id="rId10" Type="http://schemas.openxmlformats.org/officeDocument/2006/relationships/image" Target="../media/image37.png"/><Relationship Id="rId19" Type="http://schemas.openxmlformats.org/officeDocument/2006/relationships/image" Target="../media/image46.jpeg"/><Relationship Id="rId31" Type="http://schemas.openxmlformats.org/officeDocument/2006/relationships/image" Target="../media/image58.png"/><Relationship Id="rId4" Type="http://schemas.openxmlformats.org/officeDocument/2006/relationships/image" Target="../media/image31.emf"/><Relationship Id="rId9" Type="http://schemas.openxmlformats.org/officeDocument/2006/relationships/image" Target="../media/image36.emf"/><Relationship Id="rId14" Type="http://schemas.openxmlformats.org/officeDocument/2006/relationships/image" Target="../media/image41.png"/><Relationship Id="rId22" Type="http://schemas.openxmlformats.org/officeDocument/2006/relationships/image" Target="../media/image49.emf"/><Relationship Id="rId27" Type="http://schemas.openxmlformats.org/officeDocument/2006/relationships/image" Target="../media/image54.jpeg"/><Relationship Id="rId30" Type="http://schemas.openxmlformats.org/officeDocument/2006/relationships/image" Target="../media/image57.jpeg"/></Relationships>
</file>

<file path=ppt/slides/_rels/slide9.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40.jpeg"/><Relationship Id="rId18" Type="http://schemas.openxmlformats.org/officeDocument/2006/relationships/image" Target="../media/image45.png"/><Relationship Id="rId26" Type="http://schemas.openxmlformats.org/officeDocument/2006/relationships/image" Target="../media/image53.jpeg"/><Relationship Id="rId39" Type="http://schemas.openxmlformats.org/officeDocument/2006/relationships/image" Target="../media/image66.png"/><Relationship Id="rId3" Type="http://schemas.openxmlformats.org/officeDocument/2006/relationships/image" Target="../media/image30.png"/><Relationship Id="rId21" Type="http://schemas.openxmlformats.org/officeDocument/2006/relationships/image" Target="../media/image48.jpeg"/><Relationship Id="rId34" Type="http://schemas.openxmlformats.org/officeDocument/2006/relationships/image" Target="../media/image61.jp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png"/><Relationship Id="rId2" Type="http://schemas.openxmlformats.org/officeDocument/2006/relationships/notesSlide" Target="../notesSlides/notesSlide9.xml"/><Relationship Id="rId16" Type="http://schemas.openxmlformats.org/officeDocument/2006/relationships/image" Target="../media/image43.jpeg"/><Relationship Id="rId20" Type="http://schemas.openxmlformats.org/officeDocument/2006/relationships/image" Target="../media/image47.png"/><Relationship Id="rId29" Type="http://schemas.openxmlformats.org/officeDocument/2006/relationships/image" Target="../media/image56.png"/><Relationship Id="rId1" Type="http://schemas.openxmlformats.org/officeDocument/2006/relationships/slideLayout" Target="../slideLayouts/slideLayout67.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jpeg"/><Relationship Id="rId32" Type="http://schemas.openxmlformats.org/officeDocument/2006/relationships/image" Target="../media/image59.jpeg"/><Relationship Id="rId37" Type="http://schemas.openxmlformats.org/officeDocument/2006/relationships/image" Target="../media/image64.jpeg"/><Relationship Id="rId40" Type="http://schemas.openxmlformats.org/officeDocument/2006/relationships/image" Target="../media/image67.jpeg"/><Relationship Id="rId5" Type="http://schemas.openxmlformats.org/officeDocument/2006/relationships/image" Target="../media/image32.jpeg"/><Relationship Id="rId15" Type="http://schemas.openxmlformats.org/officeDocument/2006/relationships/image" Target="../media/image42.jpeg"/><Relationship Id="rId23" Type="http://schemas.openxmlformats.org/officeDocument/2006/relationships/image" Target="../media/image50.png"/><Relationship Id="rId28" Type="http://schemas.openxmlformats.org/officeDocument/2006/relationships/image" Target="../media/image55.jpeg"/><Relationship Id="rId36" Type="http://schemas.openxmlformats.org/officeDocument/2006/relationships/image" Target="../media/image63.jpeg"/><Relationship Id="rId10" Type="http://schemas.openxmlformats.org/officeDocument/2006/relationships/image" Target="../media/image37.png"/><Relationship Id="rId19" Type="http://schemas.openxmlformats.org/officeDocument/2006/relationships/image" Target="../media/image46.jpeg"/><Relationship Id="rId31" Type="http://schemas.openxmlformats.org/officeDocument/2006/relationships/image" Target="../media/image58.png"/><Relationship Id="rId4" Type="http://schemas.openxmlformats.org/officeDocument/2006/relationships/image" Target="../media/image31.emf"/><Relationship Id="rId9" Type="http://schemas.openxmlformats.org/officeDocument/2006/relationships/image" Target="../media/image36.emf"/><Relationship Id="rId14" Type="http://schemas.openxmlformats.org/officeDocument/2006/relationships/image" Target="../media/image41.png"/><Relationship Id="rId22" Type="http://schemas.openxmlformats.org/officeDocument/2006/relationships/image" Target="../media/image49.emf"/><Relationship Id="rId27" Type="http://schemas.openxmlformats.org/officeDocument/2006/relationships/image" Target="../media/image54.jpeg"/><Relationship Id="rId30" Type="http://schemas.openxmlformats.org/officeDocument/2006/relationships/image" Target="../media/image57.jpeg"/><Relationship Id="rId35" Type="http://schemas.openxmlformats.org/officeDocument/2006/relationships/image" Target="../media/image62.emf"/></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A short Video of Hospitality &amp; Ground Transportation </a:t>
            </a:r>
          </a:p>
        </p:txBody>
      </p:sp>
      <p:sp>
        <p:nvSpPr>
          <p:cNvPr id="5" name="Rectangle 4"/>
          <p:cNvSpPr/>
          <p:nvPr/>
        </p:nvSpPr>
        <p:spPr>
          <a:xfrm rot="5400000">
            <a:off x="12069601" y="6539750"/>
            <a:ext cx="481264" cy="107722"/>
          </a:xfrm>
          <a:prstGeom prst="rect">
            <a:avLst/>
          </a:prstGeom>
        </p:spPr>
        <p:txBody>
          <a:bodyPr wrap="square">
            <a:spAutoFit/>
          </a:bodyPr>
          <a:lstStyle>
            <a:defPPr>
              <a:defRPr lang="en-GB"/>
            </a:defPPr>
            <a:lvl1pPr algn="l" rtl="0" fontAlgn="base">
              <a:spcBef>
                <a:spcPct val="0"/>
              </a:spcBef>
              <a:spcAft>
                <a:spcPct val="0"/>
              </a:spcAft>
              <a:defRPr sz="20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20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20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20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2000" b="1" kern="1200">
                <a:solidFill>
                  <a:schemeClr val="tx1"/>
                </a:solidFill>
                <a:latin typeface="Arial" pitchFamily="34" charset="0"/>
                <a:ea typeface="+mn-ea"/>
                <a:cs typeface="Arial" pitchFamily="34" charset="0"/>
              </a:defRPr>
            </a:lvl5pPr>
            <a:lvl6pPr marL="2286000" algn="l" defTabSz="914400" rtl="0" eaLnBrk="1" latinLnBrk="0" hangingPunct="1">
              <a:defRPr sz="2000" b="1" kern="1200">
                <a:solidFill>
                  <a:schemeClr val="tx1"/>
                </a:solidFill>
                <a:latin typeface="Arial" pitchFamily="34" charset="0"/>
                <a:ea typeface="+mn-ea"/>
                <a:cs typeface="Arial" pitchFamily="34" charset="0"/>
              </a:defRPr>
            </a:lvl6pPr>
            <a:lvl7pPr marL="2743200" algn="l" defTabSz="914400" rtl="0" eaLnBrk="1" latinLnBrk="0" hangingPunct="1">
              <a:defRPr sz="2000" b="1" kern="1200">
                <a:solidFill>
                  <a:schemeClr val="tx1"/>
                </a:solidFill>
                <a:latin typeface="Arial" pitchFamily="34" charset="0"/>
                <a:ea typeface="+mn-ea"/>
                <a:cs typeface="Arial" pitchFamily="34" charset="0"/>
              </a:defRPr>
            </a:lvl7pPr>
            <a:lvl8pPr marL="3200400" algn="l" defTabSz="914400" rtl="0" eaLnBrk="1" latinLnBrk="0" hangingPunct="1">
              <a:defRPr sz="2000" b="1" kern="1200">
                <a:solidFill>
                  <a:schemeClr val="tx1"/>
                </a:solidFill>
                <a:latin typeface="Arial" pitchFamily="34" charset="0"/>
                <a:ea typeface="+mn-ea"/>
                <a:cs typeface="Arial" pitchFamily="34" charset="0"/>
              </a:defRPr>
            </a:lvl8pPr>
            <a:lvl9pPr marL="3657600" algn="l" defTabSz="914400" rtl="0" eaLnBrk="1" latinLnBrk="0" hangingPunct="1">
              <a:defRPr sz="2000" b="1" kern="1200">
                <a:solidFill>
                  <a:schemeClr val="tx1"/>
                </a:solidFill>
                <a:latin typeface="Arial" pitchFamily="34" charset="0"/>
                <a:ea typeface="+mn-ea"/>
                <a:cs typeface="Arial" pitchFamily="34" charset="0"/>
              </a:defRPr>
            </a:lvl9pPr>
          </a:lstStyle>
          <a:p>
            <a:r>
              <a:rPr lang="en-GB" sz="100" b="0" dirty="0">
                <a:solidFill>
                  <a:schemeClr val="bg1">
                    <a:lumMod val="95000"/>
                  </a:schemeClr>
                </a:solidFill>
              </a:rPr>
              <a:t>265ced1609a17cf1a5979880a2ad364653895ae8</a:t>
            </a:r>
            <a:endParaRPr lang="en-GB" sz="100" dirty="0">
              <a:solidFill>
                <a:schemeClr val="bg1">
                  <a:lumMod val="95000"/>
                </a:schemeClr>
              </a:solidFill>
            </a:endParaRPr>
          </a:p>
        </p:txBody>
      </p:sp>
      <p:sp>
        <p:nvSpPr>
          <p:cNvPr id="6" name="Text Placeholder 5"/>
          <p:cNvSpPr>
            <a:spLocks noGrp="1"/>
          </p:cNvSpPr>
          <p:nvPr>
            <p:ph type="body" sz="quarter" idx="18"/>
          </p:nvPr>
        </p:nvSpPr>
        <p:spPr>
          <a:xfrm>
            <a:off x="293031" y="3080359"/>
            <a:ext cx="11228409" cy="501041"/>
          </a:xfrm>
        </p:spPr>
        <p:txBody>
          <a:bodyPr/>
          <a:lstStyle/>
          <a:p>
            <a:pPr marL="0" indent="0" algn="ctr">
              <a:buNone/>
            </a:pPr>
            <a:r>
              <a:rPr lang="en-US" dirty="0">
                <a:hlinkClick r:id="rId3"/>
              </a:rPr>
              <a:t>https://youtu.be/KJBFNgTvFos</a:t>
            </a:r>
            <a:endParaRPr lang="en-US" dirty="0"/>
          </a:p>
          <a:p>
            <a:pPr marL="0" indent="0" algn="ctr">
              <a:buNone/>
            </a:pPr>
            <a:endParaRPr lang="en-US" dirty="0"/>
          </a:p>
        </p:txBody>
      </p:sp>
    </p:spTree>
    <p:extLst>
      <p:ext uri="{BB962C8B-B14F-4D97-AF65-F5344CB8AC3E}">
        <p14:creationId xmlns:p14="http://schemas.microsoft.com/office/powerpoint/2010/main" val="4062941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E57627FB-D816-4EA7-98E3-793F2D9BC93A}" type="slidenum">
              <a:rPr kumimoji="0" lang="es-ES" sz="800" b="0" i="0" u="none" strike="noStrike" kern="1200" cap="none" spc="0" normalizeH="0" baseline="0" noProof="0" smtClean="0">
                <a:ln>
                  <a:noFill/>
                </a:ln>
                <a:solidFill>
                  <a:srgbClr val="FFFFFF">
                    <a:lumMod val="50000"/>
                  </a:srgbClr>
                </a:solidFill>
                <a:effectLst/>
                <a:uLnTx/>
                <a:uFillTx/>
                <a:latin typeface="Calibri Light" panose="020F030202020403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10</a:t>
            </a:fld>
            <a:endParaRPr kumimoji="0" lang="es-ES" sz="800" b="0" i="0" u="none" strike="noStrike" kern="1200" cap="none" spc="0" normalizeH="0" baseline="0" noProof="0" dirty="0">
              <a:ln>
                <a:noFill/>
              </a:ln>
              <a:solidFill>
                <a:srgbClr val="FFFFFF">
                  <a:lumMod val="50000"/>
                </a:srgbClr>
              </a:solidFill>
              <a:effectLst/>
              <a:uLnTx/>
              <a:uFillTx/>
              <a:latin typeface="Calibri Light" panose="020F0302020204030204"/>
              <a:ea typeface="+mn-ea"/>
              <a:cs typeface="+mn-cs"/>
            </a:endParaRPr>
          </a:p>
        </p:txBody>
      </p:sp>
      <p:sp>
        <p:nvSpPr>
          <p:cNvPr id="3" name="Marcador de pie de página 2"/>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rPr>
              <a:t>© 2016 Amadeus IT Group and its affiliates and subsidiaries</a:t>
            </a:r>
            <a:endParaRPr kumimoji="0" lang="es-E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endParaRPr>
          </a:p>
        </p:txBody>
      </p:sp>
      <p:sp>
        <p:nvSpPr>
          <p:cNvPr id="13" name="Rectangle 12"/>
          <p:cNvSpPr/>
          <p:nvPr/>
        </p:nvSpPr>
        <p:spPr>
          <a:xfrm>
            <a:off x="10061401" y="0"/>
            <a:ext cx="2130599" cy="5381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p:cNvSpPr/>
          <p:nvPr/>
        </p:nvSpPr>
        <p:spPr>
          <a:xfrm>
            <a:off x="6477001" y="6198757"/>
            <a:ext cx="4231078" cy="5381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1" name="Picture 20"/>
          <p:cNvPicPr>
            <a:picLocks noChangeAspect="1"/>
          </p:cNvPicPr>
          <p:nvPr/>
        </p:nvPicPr>
        <p:blipFill rotWithShape="1">
          <a:blip r:embed="rId3" cstate="print">
            <a:extLst>
              <a:ext uri="{28A0092B-C50C-407E-A947-70E740481C1C}">
                <a14:useLocalDpi xmlns:a14="http://schemas.microsoft.com/office/drawing/2010/main" val="0"/>
              </a:ext>
            </a:extLst>
          </a:blip>
          <a:srcRect l="6223" t="27639" r="8649" b="16944"/>
          <a:stretch/>
        </p:blipFill>
        <p:spPr>
          <a:xfrm>
            <a:off x="2352675" y="-22675"/>
            <a:ext cx="7835646" cy="7014025"/>
          </a:xfrm>
          <a:prstGeom prst="rect">
            <a:avLst/>
          </a:prstGeom>
        </p:spPr>
      </p:pic>
      <p:sp>
        <p:nvSpPr>
          <p:cNvPr id="22" name="Rectangle 21"/>
          <p:cNvSpPr/>
          <p:nvPr/>
        </p:nvSpPr>
        <p:spPr>
          <a:xfrm>
            <a:off x="4139899" y="-245281"/>
            <a:ext cx="2130599" cy="5381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4756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E57627FB-D816-4EA7-98E3-793F2D9BC93A}" type="slidenum">
              <a:rPr lang="en-GB" noProof="0" smtClean="0"/>
              <a:pPr/>
              <a:t>11</a:t>
            </a:fld>
            <a:endParaRPr lang="en-GB" noProof="0" dirty="0"/>
          </a:p>
        </p:txBody>
      </p:sp>
      <p:sp>
        <p:nvSpPr>
          <p:cNvPr id="5" name="Footer Placeholder 4"/>
          <p:cNvSpPr>
            <a:spLocks noGrp="1"/>
          </p:cNvSpPr>
          <p:nvPr>
            <p:ph type="ftr" sz="quarter" idx="3"/>
          </p:nvPr>
        </p:nvSpPr>
        <p:spPr/>
        <p:txBody>
          <a:bodyPr/>
          <a:lstStyle/>
          <a:p>
            <a:r>
              <a:rPr lang="en-US" noProof="0" dirty="0"/>
              <a:t>© Amadeus IT Group and its affiliates and subsidiaries</a:t>
            </a:r>
            <a:endParaRPr lang="en-GB" noProof="0" dirty="0"/>
          </a:p>
        </p:txBody>
      </p:sp>
      <p:grpSp>
        <p:nvGrpSpPr>
          <p:cNvPr id="8" name="Group 7"/>
          <p:cNvGrpSpPr/>
          <p:nvPr/>
        </p:nvGrpSpPr>
        <p:grpSpPr>
          <a:xfrm>
            <a:off x="0" y="0"/>
            <a:ext cx="12192000" cy="6858000"/>
            <a:chOff x="0" y="0"/>
            <a:chExt cx="12192000" cy="6858000"/>
          </a:xfrm>
        </p:grpSpPr>
        <p:pic>
          <p:nvPicPr>
            <p:cNvPr id="6" name="Picture 5"/>
            <p:cNvPicPr>
              <a:picLocks noChangeAspect="1"/>
            </p:cNvPicPr>
            <p:nvPr/>
          </p:nvPicPr>
          <p:blipFill>
            <a:blip r:embed="rId2"/>
            <a:stretch>
              <a:fillRect/>
            </a:stretch>
          </p:blipFill>
          <p:spPr>
            <a:xfrm>
              <a:off x="0" y="0"/>
              <a:ext cx="12192000" cy="6858000"/>
            </a:xfrm>
            <a:prstGeom prst="rect">
              <a:avLst/>
            </a:prstGeom>
          </p:spPr>
        </p:pic>
        <p:sp>
          <p:nvSpPr>
            <p:cNvPr id="7" name="Rectangle 6"/>
            <p:cNvSpPr/>
            <p:nvPr/>
          </p:nvSpPr>
          <p:spPr>
            <a:xfrm>
              <a:off x="11283884" y="0"/>
              <a:ext cx="908115" cy="3222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Rectangle 8"/>
          <p:cNvSpPr/>
          <p:nvPr/>
        </p:nvSpPr>
        <p:spPr>
          <a:xfrm>
            <a:off x="180814" y="348713"/>
            <a:ext cx="10773904" cy="3952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356462" y="5718874"/>
            <a:ext cx="11420498" cy="8007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5486399" y="4525506"/>
            <a:ext cx="6378605" cy="15498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6053714" y="4458212"/>
            <a:ext cx="5694914" cy="1908215"/>
          </a:xfrm>
          <a:prstGeom prst="rect">
            <a:avLst/>
          </a:prstGeom>
        </p:spPr>
        <p:txBody>
          <a:bodyPr wrap="square">
            <a:spAutoFit/>
          </a:bodyPr>
          <a:lstStyle/>
          <a:p>
            <a:pPr>
              <a:lnSpc>
                <a:spcPct val="50000"/>
              </a:lnSpc>
              <a:buClr>
                <a:srgbClr val="005EB8"/>
              </a:buClr>
              <a:buSzPct val="120000"/>
            </a:pPr>
            <a:endParaRPr lang="en-GB" sz="800" dirty="0">
              <a:solidFill>
                <a:srgbClr val="00A9E0"/>
              </a:solidFill>
              <a:latin typeface="Calibri Light"/>
              <a:cs typeface="Calibri Light"/>
            </a:endParaRPr>
          </a:p>
          <a:p>
            <a:pPr marL="176400" indent="-176400">
              <a:buClr>
                <a:srgbClr val="CE0058"/>
              </a:buClr>
              <a:buSzPct val="100000"/>
              <a:buFont typeface="Lucida Grande"/>
              <a:buChar char="_"/>
            </a:pPr>
            <a:r>
              <a:rPr lang="en-GB" sz="2000" dirty="0">
                <a:solidFill>
                  <a:srgbClr val="323232"/>
                </a:solidFill>
                <a:latin typeface="Calibri Light"/>
                <a:cs typeface="Calibri Light"/>
              </a:rPr>
              <a:t>Smart interface suits all types of users </a:t>
            </a:r>
          </a:p>
          <a:p>
            <a:pPr marL="176400" indent="-176400">
              <a:buClr>
                <a:srgbClr val="CE0058"/>
              </a:buClr>
              <a:buSzPct val="100000"/>
              <a:buFont typeface="Lucida Grande"/>
              <a:buChar char="_"/>
            </a:pPr>
            <a:r>
              <a:rPr lang="en-GB" sz="2000" dirty="0">
                <a:solidFill>
                  <a:srgbClr val="323232"/>
                </a:solidFill>
                <a:latin typeface="Calibri Light"/>
                <a:cs typeface="Calibri Light"/>
              </a:rPr>
              <a:t>Intuitive booking flow </a:t>
            </a:r>
          </a:p>
          <a:p>
            <a:pPr marL="176400" indent="-176400">
              <a:buClr>
                <a:srgbClr val="CE0058"/>
              </a:buClr>
              <a:buSzPct val="100000"/>
              <a:buFont typeface="Lucida Grande"/>
              <a:buChar char="_"/>
            </a:pPr>
            <a:r>
              <a:rPr lang="en-GB" sz="2000" dirty="0">
                <a:solidFill>
                  <a:srgbClr val="323232"/>
                </a:solidFill>
                <a:latin typeface="Calibri Light"/>
                <a:cs typeface="Calibri Light"/>
              </a:rPr>
              <a:t>Single screen display with all information is at hand </a:t>
            </a:r>
          </a:p>
          <a:p>
            <a:pPr marL="176400" indent="-176400">
              <a:buClr>
                <a:srgbClr val="CE0058"/>
              </a:buClr>
              <a:buSzPct val="100000"/>
              <a:buFont typeface="Lucida Grande"/>
              <a:buChar char="_"/>
            </a:pPr>
            <a:r>
              <a:rPr lang="en-GB" sz="2000" dirty="0">
                <a:solidFill>
                  <a:srgbClr val="323232"/>
                </a:solidFill>
                <a:latin typeface="Calibri Light"/>
                <a:cs typeface="Calibri Light"/>
              </a:rPr>
              <a:t>Intuitive interface: book from the map, easy.</a:t>
            </a:r>
          </a:p>
          <a:p>
            <a:pPr marL="176400" indent="-176400">
              <a:buClr>
                <a:srgbClr val="CE0058"/>
              </a:buClr>
              <a:buSzPct val="100000"/>
              <a:buFont typeface="Lucida Grande"/>
              <a:buChar char="_"/>
            </a:pPr>
            <a:r>
              <a:rPr lang="en-GB" sz="2000" dirty="0">
                <a:solidFill>
                  <a:srgbClr val="323232"/>
                </a:solidFill>
                <a:latin typeface="Calibri Light"/>
                <a:cs typeface="Calibri Light"/>
              </a:rPr>
              <a:t>Minimal training needed </a:t>
            </a:r>
          </a:p>
          <a:p>
            <a:pPr marL="176400" indent="-176400">
              <a:lnSpc>
                <a:spcPct val="70000"/>
              </a:lnSpc>
              <a:buClr>
                <a:srgbClr val="005EB8"/>
              </a:buClr>
              <a:buSzPct val="100000"/>
              <a:buFont typeface="Lucida Grande"/>
              <a:buChar char="_"/>
            </a:pPr>
            <a:endParaRPr lang="en-GB" sz="2000" dirty="0">
              <a:solidFill>
                <a:srgbClr val="323232"/>
              </a:solidFill>
              <a:latin typeface="Calibri Light"/>
              <a:cs typeface="Calibri Light"/>
            </a:endParaRPr>
          </a:p>
        </p:txBody>
      </p:sp>
      <p:sp>
        <p:nvSpPr>
          <p:cNvPr id="13" name="Elipse 32"/>
          <p:cNvSpPr/>
          <p:nvPr/>
        </p:nvSpPr>
        <p:spPr>
          <a:xfrm>
            <a:off x="180813" y="68904"/>
            <a:ext cx="770806" cy="770806"/>
          </a:xfrm>
          <a:prstGeom prst="ellipse">
            <a:avLst/>
          </a:prstGeom>
          <a:solidFill>
            <a:schemeClr val="bg1"/>
          </a:solidFill>
          <a:ln w="19050" cmpd="sng">
            <a:solidFill>
              <a:srgbClr val="CE0058"/>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rgbClr val="FFFFFF"/>
              </a:solidFill>
            </a:endParaRPr>
          </a:p>
        </p:txBody>
      </p:sp>
      <p:sp>
        <p:nvSpPr>
          <p:cNvPr id="2" name="Rectangle 1"/>
          <p:cNvSpPr/>
          <p:nvPr/>
        </p:nvSpPr>
        <p:spPr>
          <a:xfrm>
            <a:off x="2094403" y="229916"/>
            <a:ext cx="4166205" cy="584775"/>
          </a:xfrm>
          <a:prstGeom prst="rect">
            <a:avLst/>
          </a:prstGeom>
        </p:spPr>
        <p:txBody>
          <a:bodyPr wrap="none">
            <a:spAutoFit/>
          </a:bodyPr>
          <a:lstStyle/>
          <a:p>
            <a:pPr>
              <a:buClr>
                <a:srgbClr val="005EB8"/>
              </a:buClr>
              <a:buSzPct val="120000"/>
            </a:pPr>
            <a:r>
              <a:rPr lang="en-GB" sz="3200" dirty="0">
                <a:solidFill>
                  <a:srgbClr val="CE0058"/>
                </a:solidFill>
                <a:latin typeface="Calibri Light"/>
                <a:cs typeface="Calibri Light"/>
              </a:rPr>
              <a:t>Graphical User Interface</a:t>
            </a:r>
          </a:p>
        </p:txBody>
      </p:sp>
      <p:pic>
        <p:nvPicPr>
          <p:cNvPr id="14" name="Imagen 44"/>
          <p:cNvPicPr>
            <a:picLocks noChangeAspect="1"/>
          </p:cNvPicPr>
          <p:nvPr/>
        </p:nvPicPr>
        <p:blipFill>
          <a:blip r:embed="rId3"/>
          <a:stretch>
            <a:fillRect/>
          </a:stretch>
        </p:blipFill>
        <p:spPr>
          <a:xfrm>
            <a:off x="327115" y="229916"/>
            <a:ext cx="509197" cy="491936"/>
          </a:xfrm>
          <a:prstGeom prst="rect">
            <a:avLst/>
          </a:prstGeom>
        </p:spPr>
      </p:pic>
      <p:pic>
        <p:nvPicPr>
          <p:cNvPr id="15" name="Imagen 29" descr="Screenahot.png"/>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28620" b="98990" l="1523" r="54569">
                        <a14:foregroundMark x1="20305" y1="35017" x2="33503" y2="33333"/>
                      </a14:backgroundRemoval>
                    </a14:imgEffect>
                  </a14:imgLayer>
                </a14:imgProps>
              </a:ext>
              <a:ext uri="{28A0092B-C50C-407E-A947-70E740481C1C}">
                <a14:useLocalDpi xmlns:a14="http://schemas.microsoft.com/office/drawing/2010/main" val="0"/>
              </a:ext>
            </a:extLst>
          </a:blip>
          <a:srcRect t="29796" r="44328"/>
          <a:stretch/>
        </p:blipFill>
        <p:spPr>
          <a:xfrm>
            <a:off x="-44363" y="4276600"/>
            <a:ext cx="2715112" cy="2581400"/>
          </a:xfrm>
          <a:prstGeom prst="rect">
            <a:avLst/>
          </a:prstGeom>
        </p:spPr>
      </p:pic>
    </p:spTree>
    <p:extLst>
      <p:ext uri="{BB962C8B-B14F-4D97-AF65-F5344CB8AC3E}">
        <p14:creationId xmlns:p14="http://schemas.microsoft.com/office/powerpoint/2010/main" val="19230253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9"/>
          <p:cNvPicPr>
            <a:picLocks noChangeAspect="1"/>
          </p:cNvPicPr>
          <p:nvPr/>
        </p:nvPicPr>
        <p:blipFill>
          <a:blip r:embed="rId2">
            <a:alphaModFix amt="70000"/>
          </a:blip>
          <a:stretch>
            <a:fillRect/>
          </a:stretch>
        </p:blipFill>
        <p:spPr>
          <a:xfrm>
            <a:off x="779151" y="1351809"/>
            <a:ext cx="6393275" cy="4261592"/>
          </a:xfrm>
          <a:prstGeom prst="rect">
            <a:avLst/>
          </a:prstGeom>
        </p:spPr>
      </p:pic>
      <p:sp>
        <p:nvSpPr>
          <p:cNvPr id="5" name="Marcador de pie de página 4"/>
          <p:cNvSpPr>
            <a:spLocks noGrp="1"/>
          </p:cNvSpPr>
          <p:nvPr>
            <p:ph type="ftr" sz="quarter" idx="3"/>
          </p:nvPr>
        </p:nvSpPr>
        <p:spPr/>
        <p:txBody>
          <a:bodyPr/>
          <a:lstStyle/>
          <a:p>
            <a:r>
              <a:rPr lang="en-US" noProof="0" dirty="0"/>
              <a:t>© Amadeus IT Group and its affiliates and subsidiaries</a:t>
            </a:r>
            <a:endParaRPr lang="en-GB" noProof="0" dirty="0"/>
          </a:p>
        </p:txBody>
      </p:sp>
      <p:sp>
        <p:nvSpPr>
          <p:cNvPr id="33" name="Freeform 5"/>
          <p:cNvSpPr>
            <a:spLocks noEditPoints="1"/>
          </p:cNvSpPr>
          <p:nvPr/>
        </p:nvSpPr>
        <p:spPr bwMode="auto">
          <a:xfrm>
            <a:off x="10989886" y="6449367"/>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dirty="0"/>
          </a:p>
        </p:txBody>
      </p:sp>
      <p:pic>
        <p:nvPicPr>
          <p:cNvPr id="6" name="Picture 19"/>
          <p:cNvPicPr>
            <a:picLocks noChangeAspect="1"/>
          </p:cNvPicPr>
          <p:nvPr/>
        </p:nvPicPr>
        <p:blipFill rotWithShape="1">
          <a:blip r:embed="rId2"/>
          <a:srcRect l="-2298" t="58366" r="74365"/>
          <a:stretch/>
        </p:blipFill>
        <p:spPr>
          <a:xfrm>
            <a:off x="2070969" y="3822189"/>
            <a:ext cx="2161191" cy="2147106"/>
          </a:xfrm>
          <a:prstGeom prst="ellipse">
            <a:avLst/>
          </a:prstGeom>
          <a:solidFill>
            <a:srgbClr val="FFFFFF"/>
          </a:solidFill>
          <a:ln w="76200" cmpd="sng">
            <a:solidFill>
              <a:srgbClr val="E95326"/>
            </a:solidFill>
          </a:ln>
        </p:spPr>
      </p:pic>
      <p:cxnSp>
        <p:nvCxnSpPr>
          <p:cNvPr id="7" name="Conector recto 21"/>
          <p:cNvCxnSpPr/>
          <p:nvPr/>
        </p:nvCxnSpPr>
        <p:spPr>
          <a:xfrm>
            <a:off x="1642143" y="4505314"/>
            <a:ext cx="364984" cy="197076"/>
          </a:xfrm>
          <a:prstGeom prst="line">
            <a:avLst/>
          </a:prstGeom>
          <a:ln w="76200" cap="rnd" cmpd="sng">
            <a:solidFill>
              <a:srgbClr val="E95326"/>
            </a:solidFill>
            <a:round/>
            <a:headEnd type="arrow"/>
            <a:tailEnd type="none"/>
          </a:ln>
        </p:spPr>
        <p:style>
          <a:lnRef idx="1">
            <a:schemeClr val="accent1"/>
          </a:lnRef>
          <a:fillRef idx="0">
            <a:schemeClr val="accent1"/>
          </a:fillRef>
          <a:effectRef idx="0">
            <a:schemeClr val="accent1"/>
          </a:effectRef>
          <a:fontRef idx="minor">
            <a:schemeClr val="tx1"/>
          </a:fontRef>
        </p:style>
      </p:cxnSp>
      <p:pic>
        <p:nvPicPr>
          <p:cNvPr id="8" name="Picture 19"/>
          <p:cNvPicPr>
            <a:picLocks noChangeAspect="1"/>
          </p:cNvPicPr>
          <p:nvPr/>
        </p:nvPicPr>
        <p:blipFill rotWithShape="1">
          <a:blip r:embed="rId2"/>
          <a:srcRect l="-2298" t="29183" r="74365" b="29183"/>
          <a:stretch/>
        </p:blipFill>
        <p:spPr>
          <a:xfrm>
            <a:off x="3759409" y="2059881"/>
            <a:ext cx="2161191" cy="2147106"/>
          </a:xfrm>
          <a:prstGeom prst="ellipse">
            <a:avLst/>
          </a:prstGeom>
          <a:solidFill>
            <a:srgbClr val="FFFFFF"/>
          </a:solidFill>
          <a:ln w="76200" cmpd="sng">
            <a:solidFill>
              <a:srgbClr val="E95326"/>
            </a:solidFill>
          </a:ln>
        </p:spPr>
      </p:pic>
      <p:cxnSp>
        <p:nvCxnSpPr>
          <p:cNvPr id="9" name="Conector recto 21"/>
          <p:cNvCxnSpPr/>
          <p:nvPr/>
        </p:nvCxnSpPr>
        <p:spPr>
          <a:xfrm>
            <a:off x="2092865" y="3101311"/>
            <a:ext cx="1585535" cy="79208"/>
          </a:xfrm>
          <a:prstGeom prst="line">
            <a:avLst/>
          </a:prstGeom>
          <a:ln w="76200" cap="rnd" cmpd="sng">
            <a:solidFill>
              <a:srgbClr val="E95326"/>
            </a:solidFill>
            <a:round/>
            <a:headEnd type="arrow"/>
            <a:tailEnd type="none"/>
          </a:ln>
        </p:spPr>
        <p:style>
          <a:lnRef idx="1">
            <a:schemeClr val="accent1"/>
          </a:lnRef>
          <a:fillRef idx="0">
            <a:schemeClr val="accent1"/>
          </a:fillRef>
          <a:effectRef idx="0">
            <a:schemeClr val="accent1"/>
          </a:effectRef>
          <a:fontRef idx="minor">
            <a:schemeClr val="tx1"/>
          </a:fontRef>
        </p:style>
      </p:cxnSp>
      <p:pic>
        <p:nvPicPr>
          <p:cNvPr id="10" name="Picture 19"/>
          <p:cNvPicPr>
            <a:picLocks noChangeAspect="1"/>
          </p:cNvPicPr>
          <p:nvPr/>
        </p:nvPicPr>
        <p:blipFill rotWithShape="1">
          <a:blip r:embed="rId2"/>
          <a:srcRect l="-2298" t="-5188" r="74365" b="63554"/>
          <a:stretch/>
        </p:blipFill>
        <p:spPr>
          <a:xfrm>
            <a:off x="2418074" y="77010"/>
            <a:ext cx="2161191" cy="2147106"/>
          </a:xfrm>
          <a:prstGeom prst="ellipse">
            <a:avLst/>
          </a:prstGeom>
          <a:solidFill>
            <a:srgbClr val="FFFFFF"/>
          </a:solidFill>
          <a:ln w="76200" cmpd="sng">
            <a:solidFill>
              <a:srgbClr val="E95326"/>
            </a:solidFill>
          </a:ln>
        </p:spPr>
      </p:pic>
      <p:cxnSp>
        <p:nvCxnSpPr>
          <p:cNvPr id="11" name="Conector recto 21"/>
          <p:cNvCxnSpPr/>
          <p:nvPr/>
        </p:nvCxnSpPr>
        <p:spPr>
          <a:xfrm flipV="1">
            <a:off x="1915834" y="1527264"/>
            <a:ext cx="502240" cy="186129"/>
          </a:xfrm>
          <a:prstGeom prst="line">
            <a:avLst/>
          </a:prstGeom>
          <a:ln w="76200" cap="rnd" cmpd="sng">
            <a:solidFill>
              <a:srgbClr val="E95326"/>
            </a:solidFill>
            <a:round/>
            <a:headEnd type="arrow"/>
            <a:tailEnd type="none"/>
          </a:ln>
        </p:spPr>
        <p:style>
          <a:lnRef idx="1">
            <a:schemeClr val="accent1"/>
          </a:lnRef>
          <a:fillRef idx="0">
            <a:schemeClr val="accent1"/>
          </a:fillRef>
          <a:effectRef idx="0">
            <a:schemeClr val="accent1"/>
          </a:effectRef>
          <a:fontRef idx="minor">
            <a:schemeClr val="tx1"/>
          </a:fontRef>
        </p:style>
      </p:cxnSp>
      <p:sp>
        <p:nvSpPr>
          <p:cNvPr id="12" name="TextBox 21"/>
          <p:cNvSpPr txBox="1"/>
          <p:nvPr/>
        </p:nvSpPr>
        <p:spPr>
          <a:xfrm>
            <a:off x="5331493" y="-294489"/>
            <a:ext cx="3479331" cy="2419124"/>
          </a:xfrm>
          <a:prstGeom prst="rect">
            <a:avLst/>
          </a:prstGeom>
          <a:noFill/>
        </p:spPr>
        <p:txBody>
          <a:bodyPr wrap="square" rtlCol="0">
            <a:spAutoFit/>
          </a:bodyPr>
          <a:lstStyle/>
          <a:p>
            <a:pPr algn="r">
              <a:lnSpc>
                <a:spcPct val="90000"/>
              </a:lnSpc>
            </a:pPr>
            <a:r>
              <a:rPr lang="en-US" sz="2800" b="1" dirty="0">
                <a:solidFill>
                  <a:schemeClr val="bg1"/>
                </a:solidFill>
              </a:rPr>
              <a:t>Detailed </a:t>
            </a:r>
          </a:p>
          <a:p>
            <a:pPr algn="r">
              <a:lnSpc>
                <a:spcPct val="90000"/>
              </a:lnSpc>
            </a:pPr>
            <a:r>
              <a:rPr lang="en-US" sz="2800" b="1" dirty="0">
                <a:solidFill>
                  <a:schemeClr val="bg1"/>
                </a:solidFill>
              </a:rPr>
              <a:t>search &amp; filter</a:t>
            </a:r>
          </a:p>
          <a:p>
            <a:pPr algn="r">
              <a:lnSpc>
                <a:spcPct val="90000"/>
              </a:lnSpc>
            </a:pPr>
            <a:r>
              <a:rPr lang="en-US" sz="2800" b="1" dirty="0">
                <a:solidFill>
                  <a:schemeClr val="bg1"/>
                </a:solidFill>
              </a:rPr>
              <a:t> </a:t>
            </a:r>
            <a:r>
              <a:rPr lang="en-US" sz="2800" dirty="0">
                <a:solidFill>
                  <a:schemeClr val="bg1"/>
                </a:solidFill>
                <a:latin typeface="+mj-lt"/>
              </a:rPr>
              <a:t>criteria help you </a:t>
            </a:r>
          </a:p>
          <a:p>
            <a:pPr algn="r">
              <a:lnSpc>
                <a:spcPct val="90000"/>
              </a:lnSpc>
            </a:pPr>
            <a:r>
              <a:rPr lang="en-US" sz="2800" dirty="0">
                <a:solidFill>
                  <a:schemeClr val="bg1"/>
                </a:solidFill>
                <a:latin typeface="+mj-lt"/>
              </a:rPr>
              <a:t>find the </a:t>
            </a:r>
            <a:r>
              <a:rPr lang="en-US" sz="2800" b="1" dirty="0">
                <a:solidFill>
                  <a:schemeClr val="bg1"/>
                </a:solidFill>
              </a:rPr>
              <a:t>perfect </a:t>
            </a:r>
          </a:p>
          <a:p>
            <a:pPr algn="r">
              <a:lnSpc>
                <a:spcPct val="90000"/>
              </a:lnSpc>
            </a:pPr>
            <a:r>
              <a:rPr lang="en-US" sz="2800" b="1" dirty="0">
                <a:solidFill>
                  <a:schemeClr val="bg1"/>
                </a:solidFill>
              </a:rPr>
              <a:t>hotel for your customers</a:t>
            </a:r>
          </a:p>
        </p:txBody>
      </p:sp>
      <p:sp>
        <p:nvSpPr>
          <p:cNvPr id="14" name="TextBox 21"/>
          <p:cNvSpPr txBox="1"/>
          <p:nvPr/>
        </p:nvSpPr>
        <p:spPr>
          <a:xfrm>
            <a:off x="8407021" y="2013734"/>
            <a:ext cx="2355734" cy="2086725"/>
          </a:xfrm>
          <a:prstGeom prst="rect">
            <a:avLst/>
          </a:prstGeom>
          <a:noFill/>
        </p:spPr>
        <p:txBody>
          <a:bodyPr wrap="square" rtlCol="0">
            <a:spAutoFit/>
          </a:bodyPr>
          <a:lstStyle/>
          <a:p>
            <a:pPr algn="r">
              <a:lnSpc>
                <a:spcPct val="90000"/>
              </a:lnSpc>
            </a:pPr>
            <a:r>
              <a:rPr lang="en-US" sz="2400" b="1" dirty="0">
                <a:solidFill>
                  <a:srgbClr val="4D4D4D"/>
                </a:solidFill>
              </a:rPr>
              <a:t>Detailed </a:t>
            </a:r>
          </a:p>
          <a:p>
            <a:pPr algn="r">
              <a:lnSpc>
                <a:spcPct val="90000"/>
              </a:lnSpc>
            </a:pPr>
            <a:r>
              <a:rPr lang="en-US" sz="2400" b="1" dirty="0">
                <a:solidFill>
                  <a:srgbClr val="4D4D4D"/>
                </a:solidFill>
              </a:rPr>
              <a:t>search &amp; filter</a:t>
            </a:r>
          </a:p>
          <a:p>
            <a:pPr algn="r">
              <a:lnSpc>
                <a:spcPct val="90000"/>
              </a:lnSpc>
            </a:pPr>
            <a:r>
              <a:rPr lang="en-US" sz="2400" b="1" dirty="0">
                <a:solidFill>
                  <a:srgbClr val="4D4D4D"/>
                </a:solidFill>
              </a:rPr>
              <a:t> </a:t>
            </a:r>
            <a:r>
              <a:rPr lang="en-US" sz="2400" dirty="0">
                <a:solidFill>
                  <a:srgbClr val="4D4D4D"/>
                </a:solidFill>
                <a:latin typeface="+mj-lt"/>
              </a:rPr>
              <a:t>criteria help you </a:t>
            </a:r>
          </a:p>
          <a:p>
            <a:pPr algn="r">
              <a:lnSpc>
                <a:spcPct val="90000"/>
              </a:lnSpc>
            </a:pPr>
            <a:r>
              <a:rPr lang="en-US" sz="2400" dirty="0">
                <a:solidFill>
                  <a:srgbClr val="4D4D4D"/>
                </a:solidFill>
                <a:latin typeface="+mj-lt"/>
              </a:rPr>
              <a:t>find the </a:t>
            </a:r>
            <a:r>
              <a:rPr lang="en-US" sz="2400" b="1" dirty="0">
                <a:solidFill>
                  <a:srgbClr val="4D4D4D"/>
                </a:solidFill>
              </a:rPr>
              <a:t>perfect </a:t>
            </a:r>
          </a:p>
          <a:p>
            <a:pPr algn="r">
              <a:lnSpc>
                <a:spcPct val="90000"/>
              </a:lnSpc>
            </a:pPr>
            <a:r>
              <a:rPr lang="en-US" sz="2400" b="1" dirty="0">
                <a:solidFill>
                  <a:srgbClr val="4D4D4D"/>
                </a:solidFill>
              </a:rPr>
              <a:t>hotel for your customers</a:t>
            </a:r>
          </a:p>
        </p:txBody>
      </p:sp>
      <p:sp>
        <p:nvSpPr>
          <p:cNvPr id="15" name="Forma en L 7"/>
          <p:cNvSpPr/>
          <p:nvPr/>
        </p:nvSpPr>
        <p:spPr>
          <a:xfrm>
            <a:off x="8159331" y="3550265"/>
            <a:ext cx="842791" cy="842790"/>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a en L 136"/>
          <p:cNvSpPr/>
          <p:nvPr/>
        </p:nvSpPr>
        <p:spPr>
          <a:xfrm rot="5400000">
            <a:off x="8159331" y="1720910"/>
            <a:ext cx="842790" cy="842791"/>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a en L 137"/>
          <p:cNvSpPr/>
          <p:nvPr/>
        </p:nvSpPr>
        <p:spPr>
          <a:xfrm rot="16200000">
            <a:off x="10408451" y="3550264"/>
            <a:ext cx="842790" cy="842791"/>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a en L 144"/>
          <p:cNvSpPr/>
          <p:nvPr/>
        </p:nvSpPr>
        <p:spPr>
          <a:xfrm rot="10800000">
            <a:off x="10408451" y="1720910"/>
            <a:ext cx="842791" cy="842790"/>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2"/>
          <p:cNvSpPr/>
          <p:nvPr/>
        </p:nvSpPr>
        <p:spPr>
          <a:xfrm>
            <a:off x="7110434" y="4603007"/>
            <a:ext cx="4983792" cy="1631216"/>
          </a:xfrm>
          <a:prstGeom prst="rect">
            <a:avLst/>
          </a:prstGeom>
        </p:spPr>
        <p:txBody>
          <a:bodyPr wrap="square">
            <a:spAutoFit/>
          </a:bodyPr>
          <a:lstStyle/>
          <a:p>
            <a:pPr marL="176400" lvl="0" indent="-176400">
              <a:buClr>
                <a:srgbClr val="CE0058"/>
              </a:buClr>
              <a:buSzPct val="100000"/>
              <a:buFont typeface="Lucida Grande"/>
              <a:buChar char="_"/>
            </a:pPr>
            <a:r>
              <a:rPr lang="en-GB" sz="2000" dirty="0">
                <a:solidFill>
                  <a:srgbClr val="323232"/>
                </a:solidFill>
                <a:latin typeface="Calibri Light"/>
                <a:cs typeface="Calibri Light"/>
              </a:rPr>
              <a:t>Data is easy to find, understand, bookmark, compare, save and forward</a:t>
            </a:r>
            <a:endParaRPr lang="he-IL" sz="2000" dirty="0">
              <a:solidFill>
                <a:srgbClr val="323232"/>
              </a:solidFill>
              <a:latin typeface="Calibri Light"/>
              <a:cs typeface="Calibri Light"/>
            </a:endParaRPr>
          </a:p>
          <a:p>
            <a:pPr marL="176400" indent="-176400">
              <a:buClr>
                <a:srgbClr val="CE0058"/>
              </a:buClr>
              <a:buSzPct val="100000"/>
              <a:buFont typeface="Lucida Grande"/>
              <a:buChar char="_"/>
            </a:pPr>
            <a:r>
              <a:rPr lang="en-GB" sz="2000" dirty="0">
                <a:solidFill>
                  <a:srgbClr val="323232"/>
                </a:solidFill>
                <a:latin typeface="Calibri Light"/>
                <a:cs typeface="Calibri Light"/>
              </a:rPr>
              <a:t>More relevant content integrated for greater efficiency </a:t>
            </a:r>
          </a:p>
          <a:p>
            <a:pPr marL="176400" indent="-176400">
              <a:buClr>
                <a:srgbClr val="CE0058"/>
              </a:buClr>
              <a:buSzPct val="100000"/>
              <a:buFont typeface="Lucida Grande"/>
              <a:buChar char="_"/>
            </a:pPr>
            <a:r>
              <a:rPr lang="en-GB" sz="2000" dirty="0">
                <a:solidFill>
                  <a:srgbClr val="323232"/>
                </a:solidFill>
                <a:latin typeface="Calibri Light"/>
                <a:cs typeface="Calibri Light"/>
              </a:rPr>
              <a:t>Targeted searching and navigation </a:t>
            </a:r>
          </a:p>
        </p:txBody>
      </p:sp>
    </p:spTree>
    <p:extLst>
      <p:ext uri="{BB962C8B-B14F-4D97-AF65-F5344CB8AC3E}">
        <p14:creationId xmlns:p14="http://schemas.microsoft.com/office/powerpoint/2010/main" val="2932065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pie de página 4"/>
          <p:cNvSpPr>
            <a:spLocks noGrp="1"/>
          </p:cNvSpPr>
          <p:nvPr>
            <p:ph type="ftr" sz="quarter" idx="3"/>
          </p:nvPr>
        </p:nvSpPr>
        <p:spPr/>
        <p:txBody>
          <a:bodyPr/>
          <a:lstStyle/>
          <a:p>
            <a:r>
              <a:rPr lang="en-US" noProof="0" dirty="0"/>
              <a:t>© Amadeus IT Group and its affiliates and subsidiaries</a:t>
            </a:r>
            <a:endParaRPr lang="en-GB" noProof="0" dirty="0"/>
          </a:p>
        </p:txBody>
      </p:sp>
      <p:sp>
        <p:nvSpPr>
          <p:cNvPr id="33" name="Freeform 5"/>
          <p:cNvSpPr>
            <a:spLocks noEditPoints="1"/>
          </p:cNvSpPr>
          <p:nvPr/>
        </p:nvSpPr>
        <p:spPr bwMode="auto">
          <a:xfrm>
            <a:off x="10989886" y="6449367"/>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dirty="0"/>
          </a:p>
        </p:txBody>
      </p:sp>
      <p:pic>
        <p:nvPicPr>
          <p:cNvPr id="12" name="Picture 22"/>
          <p:cNvPicPr>
            <a:picLocks noChangeAspect="1"/>
          </p:cNvPicPr>
          <p:nvPr/>
        </p:nvPicPr>
        <p:blipFill>
          <a:blip r:embed="rId2">
            <a:alphaModFix amt="80000"/>
          </a:blip>
          <a:stretch>
            <a:fillRect/>
          </a:stretch>
        </p:blipFill>
        <p:spPr>
          <a:xfrm>
            <a:off x="270775" y="1818246"/>
            <a:ext cx="7157119" cy="4631121"/>
          </a:xfrm>
          <a:prstGeom prst="rect">
            <a:avLst/>
          </a:prstGeom>
        </p:spPr>
      </p:pic>
      <p:pic>
        <p:nvPicPr>
          <p:cNvPr id="13" name="Picture 22"/>
          <p:cNvPicPr>
            <a:picLocks noChangeAspect="1"/>
          </p:cNvPicPr>
          <p:nvPr/>
        </p:nvPicPr>
        <p:blipFill>
          <a:blip r:embed="rId2">
            <a:alphaModFix amt="80000"/>
          </a:blip>
          <a:stretch>
            <a:fillRect/>
          </a:stretch>
        </p:blipFill>
        <p:spPr>
          <a:xfrm>
            <a:off x="281889" y="1818245"/>
            <a:ext cx="7157119" cy="4631121"/>
          </a:xfrm>
          <a:prstGeom prst="rect">
            <a:avLst/>
          </a:prstGeom>
        </p:spPr>
      </p:pic>
      <p:sp>
        <p:nvSpPr>
          <p:cNvPr id="8" name="TextBox 21"/>
          <p:cNvSpPr txBox="1"/>
          <p:nvPr/>
        </p:nvSpPr>
        <p:spPr>
          <a:xfrm>
            <a:off x="8616970" y="2775627"/>
            <a:ext cx="2759182" cy="2031325"/>
          </a:xfrm>
          <a:prstGeom prst="rect">
            <a:avLst/>
          </a:prstGeom>
          <a:noFill/>
        </p:spPr>
        <p:txBody>
          <a:bodyPr wrap="square" rtlCol="0">
            <a:spAutoFit/>
          </a:bodyPr>
          <a:lstStyle/>
          <a:p>
            <a:pPr>
              <a:lnSpc>
                <a:spcPct val="90000"/>
              </a:lnSpc>
            </a:pPr>
            <a:r>
              <a:rPr lang="en-US" sz="2800" b="1" dirty="0">
                <a:solidFill>
                  <a:srgbClr val="4D4D4D"/>
                </a:solidFill>
              </a:rPr>
              <a:t>Identify</a:t>
            </a:r>
            <a:r>
              <a:rPr lang="en-US" sz="2800" dirty="0">
                <a:solidFill>
                  <a:srgbClr val="4D4D4D"/>
                </a:solidFill>
                <a:latin typeface="+mj-lt"/>
              </a:rPr>
              <a:t> at a </a:t>
            </a:r>
          </a:p>
          <a:p>
            <a:pPr>
              <a:lnSpc>
                <a:spcPct val="90000"/>
              </a:lnSpc>
            </a:pPr>
            <a:r>
              <a:rPr lang="en-US" sz="2800" dirty="0">
                <a:solidFill>
                  <a:srgbClr val="4D4D4D"/>
                </a:solidFill>
                <a:latin typeface="+mj-lt"/>
              </a:rPr>
              <a:t>glance the </a:t>
            </a:r>
          </a:p>
          <a:p>
            <a:pPr>
              <a:lnSpc>
                <a:spcPct val="90000"/>
              </a:lnSpc>
            </a:pPr>
            <a:r>
              <a:rPr lang="en-US" sz="2800" b="1" dirty="0">
                <a:solidFill>
                  <a:srgbClr val="4D4D4D"/>
                </a:solidFill>
              </a:rPr>
              <a:t>best revenue opportunity </a:t>
            </a:r>
            <a:r>
              <a:rPr lang="en-US" sz="2800" dirty="0">
                <a:solidFill>
                  <a:srgbClr val="4D4D4D"/>
                </a:solidFill>
                <a:latin typeface="+mj-lt"/>
              </a:rPr>
              <a:t>for your business </a:t>
            </a:r>
          </a:p>
        </p:txBody>
      </p:sp>
      <p:pic>
        <p:nvPicPr>
          <p:cNvPr id="9" name="Imagen 33"/>
          <p:cNvPicPr>
            <a:picLocks noChangeAspect="1"/>
          </p:cNvPicPr>
          <p:nvPr/>
        </p:nvPicPr>
        <p:blipFill>
          <a:blip r:embed="rId3"/>
          <a:stretch>
            <a:fillRect/>
          </a:stretch>
        </p:blipFill>
        <p:spPr>
          <a:xfrm rot="4630803">
            <a:off x="7803546" y="936359"/>
            <a:ext cx="793077" cy="946127"/>
          </a:xfrm>
          <a:prstGeom prst="rect">
            <a:avLst/>
          </a:prstGeom>
        </p:spPr>
      </p:pic>
      <p:sp>
        <p:nvSpPr>
          <p:cNvPr id="15" name="Forma en L 7"/>
          <p:cNvSpPr/>
          <p:nvPr/>
        </p:nvSpPr>
        <p:spPr>
          <a:xfrm>
            <a:off x="8284241" y="4245590"/>
            <a:ext cx="842791" cy="842790"/>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a en L 136"/>
          <p:cNvSpPr/>
          <p:nvPr/>
        </p:nvSpPr>
        <p:spPr>
          <a:xfrm rot="5400000">
            <a:off x="8284241" y="2539523"/>
            <a:ext cx="842790" cy="842791"/>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a en L 137"/>
          <p:cNvSpPr/>
          <p:nvPr/>
        </p:nvSpPr>
        <p:spPr>
          <a:xfrm rot="16200000">
            <a:off x="10533361" y="4245589"/>
            <a:ext cx="842790" cy="842791"/>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a en L 144"/>
          <p:cNvSpPr/>
          <p:nvPr/>
        </p:nvSpPr>
        <p:spPr>
          <a:xfrm rot="10800000">
            <a:off x="10533361" y="2539523"/>
            <a:ext cx="842791" cy="842790"/>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575449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pie de página 4"/>
          <p:cNvSpPr>
            <a:spLocks noGrp="1"/>
          </p:cNvSpPr>
          <p:nvPr>
            <p:ph type="ftr" sz="quarter" idx="3"/>
          </p:nvPr>
        </p:nvSpPr>
        <p:spPr/>
        <p:txBody>
          <a:bodyPr/>
          <a:lstStyle/>
          <a:p>
            <a:r>
              <a:rPr lang="en-US" noProof="0" dirty="0"/>
              <a:t>© Amadeus IT Group and its affiliates and subsidiaries</a:t>
            </a:r>
            <a:endParaRPr lang="en-GB" noProof="0" dirty="0"/>
          </a:p>
        </p:txBody>
      </p:sp>
      <p:sp>
        <p:nvSpPr>
          <p:cNvPr id="33" name="Freeform 5"/>
          <p:cNvSpPr>
            <a:spLocks noEditPoints="1"/>
          </p:cNvSpPr>
          <p:nvPr/>
        </p:nvSpPr>
        <p:spPr bwMode="auto">
          <a:xfrm>
            <a:off x="10989886" y="6449367"/>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dirty="0"/>
          </a:p>
        </p:txBody>
      </p:sp>
      <p:pic>
        <p:nvPicPr>
          <p:cNvPr id="12" name="Picture 22"/>
          <p:cNvPicPr>
            <a:picLocks noChangeAspect="1"/>
          </p:cNvPicPr>
          <p:nvPr/>
        </p:nvPicPr>
        <p:blipFill>
          <a:blip r:embed="rId2">
            <a:alphaModFix amt="80000"/>
          </a:blip>
          <a:stretch>
            <a:fillRect/>
          </a:stretch>
        </p:blipFill>
        <p:spPr>
          <a:xfrm>
            <a:off x="270775" y="1818246"/>
            <a:ext cx="7157119" cy="4631121"/>
          </a:xfrm>
          <a:prstGeom prst="rect">
            <a:avLst/>
          </a:prstGeom>
        </p:spPr>
      </p:pic>
      <p:pic>
        <p:nvPicPr>
          <p:cNvPr id="13" name="Picture 22"/>
          <p:cNvPicPr>
            <a:picLocks noChangeAspect="1"/>
          </p:cNvPicPr>
          <p:nvPr/>
        </p:nvPicPr>
        <p:blipFill>
          <a:blip r:embed="rId2">
            <a:alphaModFix amt="80000"/>
          </a:blip>
          <a:stretch>
            <a:fillRect/>
          </a:stretch>
        </p:blipFill>
        <p:spPr>
          <a:xfrm>
            <a:off x="281889" y="1818245"/>
            <a:ext cx="7157119" cy="4631121"/>
          </a:xfrm>
          <a:prstGeom prst="rect">
            <a:avLst/>
          </a:prstGeom>
        </p:spPr>
      </p:pic>
      <p:sp>
        <p:nvSpPr>
          <p:cNvPr id="8" name="TextBox 21"/>
          <p:cNvSpPr txBox="1"/>
          <p:nvPr/>
        </p:nvSpPr>
        <p:spPr>
          <a:xfrm>
            <a:off x="8616970" y="2775627"/>
            <a:ext cx="2759182" cy="2031325"/>
          </a:xfrm>
          <a:prstGeom prst="rect">
            <a:avLst/>
          </a:prstGeom>
          <a:noFill/>
        </p:spPr>
        <p:txBody>
          <a:bodyPr wrap="square" rtlCol="0">
            <a:spAutoFit/>
          </a:bodyPr>
          <a:lstStyle/>
          <a:p>
            <a:pPr lvl="0">
              <a:lnSpc>
                <a:spcPct val="90000"/>
              </a:lnSpc>
            </a:pPr>
            <a:r>
              <a:rPr lang="en-US" sz="2800" b="1" dirty="0">
                <a:solidFill>
                  <a:srgbClr val="4D4D4D"/>
                </a:solidFill>
              </a:rPr>
              <a:t>Choose</a:t>
            </a:r>
            <a:r>
              <a:rPr lang="en-US" sz="2800" dirty="0">
                <a:solidFill>
                  <a:srgbClr val="4D4D4D"/>
                </a:solidFill>
                <a:latin typeface="Calibri Light" panose="020F0302020204030204"/>
              </a:rPr>
              <a:t> and </a:t>
            </a:r>
          </a:p>
          <a:p>
            <a:pPr lvl="0">
              <a:lnSpc>
                <a:spcPct val="90000"/>
              </a:lnSpc>
            </a:pPr>
            <a:r>
              <a:rPr lang="en-US" sz="2800" b="1" dirty="0">
                <a:solidFill>
                  <a:srgbClr val="4D4D4D"/>
                </a:solidFill>
              </a:rPr>
              <a:t>compare</a:t>
            </a:r>
            <a:r>
              <a:rPr lang="en-US" sz="2800" dirty="0">
                <a:solidFill>
                  <a:srgbClr val="4D4D4D"/>
                </a:solidFill>
                <a:latin typeface="Calibri Light" panose="020F0302020204030204"/>
              </a:rPr>
              <a:t> the </a:t>
            </a:r>
          </a:p>
          <a:p>
            <a:pPr lvl="0">
              <a:lnSpc>
                <a:spcPct val="90000"/>
              </a:lnSpc>
            </a:pPr>
            <a:r>
              <a:rPr lang="en-US" sz="2800" dirty="0">
                <a:solidFill>
                  <a:srgbClr val="4D4D4D"/>
                </a:solidFill>
                <a:latin typeface="Calibri Light" panose="020F0302020204030204"/>
              </a:rPr>
              <a:t>most suitable </a:t>
            </a:r>
          </a:p>
          <a:p>
            <a:pPr lvl="0">
              <a:lnSpc>
                <a:spcPct val="90000"/>
              </a:lnSpc>
            </a:pPr>
            <a:r>
              <a:rPr lang="en-US" sz="2800" b="1" dirty="0">
                <a:solidFill>
                  <a:srgbClr val="4D4D4D"/>
                </a:solidFill>
              </a:rPr>
              <a:t>paying option</a:t>
            </a:r>
          </a:p>
          <a:p>
            <a:pPr>
              <a:lnSpc>
                <a:spcPct val="90000"/>
              </a:lnSpc>
            </a:pPr>
            <a:endParaRPr lang="en-US" sz="2800" dirty="0">
              <a:solidFill>
                <a:srgbClr val="4D4D4D"/>
              </a:solidFill>
              <a:latin typeface="+mj-lt"/>
            </a:endParaRPr>
          </a:p>
        </p:txBody>
      </p:sp>
      <p:pic>
        <p:nvPicPr>
          <p:cNvPr id="9" name="Imagen 33"/>
          <p:cNvPicPr>
            <a:picLocks noChangeAspect="1"/>
          </p:cNvPicPr>
          <p:nvPr/>
        </p:nvPicPr>
        <p:blipFill>
          <a:blip r:embed="rId3"/>
          <a:stretch>
            <a:fillRect/>
          </a:stretch>
        </p:blipFill>
        <p:spPr>
          <a:xfrm rot="4630803">
            <a:off x="7803546" y="936359"/>
            <a:ext cx="793077" cy="946127"/>
          </a:xfrm>
          <a:prstGeom prst="rect">
            <a:avLst/>
          </a:prstGeom>
        </p:spPr>
      </p:pic>
      <p:sp>
        <p:nvSpPr>
          <p:cNvPr id="15" name="Forma en L 7"/>
          <p:cNvSpPr/>
          <p:nvPr/>
        </p:nvSpPr>
        <p:spPr>
          <a:xfrm>
            <a:off x="8284241" y="4245590"/>
            <a:ext cx="842791" cy="842790"/>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orma en L 136"/>
          <p:cNvSpPr/>
          <p:nvPr/>
        </p:nvSpPr>
        <p:spPr>
          <a:xfrm rot="5400000">
            <a:off x="8284241" y="2539523"/>
            <a:ext cx="842790" cy="842791"/>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Forma en L 137"/>
          <p:cNvSpPr/>
          <p:nvPr/>
        </p:nvSpPr>
        <p:spPr>
          <a:xfrm rot="16200000">
            <a:off x="10533361" y="4245589"/>
            <a:ext cx="842790" cy="842791"/>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a en L 144"/>
          <p:cNvSpPr/>
          <p:nvPr/>
        </p:nvSpPr>
        <p:spPr>
          <a:xfrm rot="10800000">
            <a:off x="10533361" y="2539523"/>
            <a:ext cx="842791" cy="842790"/>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657846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E57627FB-D816-4EA7-98E3-793F2D9BC93A}" type="slidenum">
              <a:rPr lang="en-GB" noProof="0" smtClean="0"/>
              <a:pPr/>
              <a:t>15</a:t>
            </a:fld>
            <a:endParaRPr lang="en-GB" noProof="0" dirty="0"/>
          </a:p>
        </p:txBody>
      </p:sp>
      <p:sp>
        <p:nvSpPr>
          <p:cNvPr id="5" name="Footer Placeholder 4"/>
          <p:cNvSpPr>
            <a:spLocks noGrp="1"/>
          </p:cNvSpPr>
          <p:nvPr>
            <p:ph type="ftr" sz="quarter" idx="3"/>
          </p:nvPr>
        </p:nvSpPr>
        <p:spPr/>
        <p:txBody>
          <a:bodyPr/>
          <a:lstStyle/>
          <a:p>
            <a:r>
              <a:rPr lang="en-US" noProof="0" dirty="0"/>
              <a:t>© Amadeus IT Group and its affiliates and subsidiaries</a:t>
            </a:r>
            <a:endParaRPr lang="en-GB" noProof="0" dirty="0"/>
          </a:p>
        </p:txBody>
      </p:sp>
      <p:pic>
        <p:nvPicPr>
          <p:cNvPr id="6" name="Picture 5"/>
          <p:cNvPicPr>
            <a:picLocks noChangeAspect="1"/>
          </p:cNvPicPr>
          <p:nvPr/>
        </p:nvPicPr>
        <p:blipFill>
          <a:blip r:embed="rId2"/>
          <a:stretch>
            <a:fillRect/>
          </a:stretch>
        </p:blipFill>
        <p:spPr>
          <a:xfrm>
            <a:off x="0" y="0"/>
            <a:ext cx="12192000" cy="6858000"/>
          </a:xfrm>
          <a:prstGeom prst="rect">
            <a:avLst/>
          </a:prstGeom>
        </p:spPr>
      </p:pic>
      <p:sp>
        <p:nvSpPr>
          <p:cNvPr id="2" name="Rectangle 1"/>
          <p:cNvSpPr/>
          <p:nvPr/>
        </p:nvSpPr>
        <p:spPr>
          <a:xfrm>
            <a:off x="1348353" y="2836190"/>
            <a:ext cx="3440623" cy="2634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22882" y="1092632"/>
            <a:ext cx="10773904" cy="3952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80814" y="348713"/>
            <a:ext cx="10773904" cy="3952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ítulo 3"/>
          <p:cNvSpPr>
            <a:spLocks noGrp="1"/>
          </p:cNvSpPr>
          <p:nvPr>
            <p:ph type="title"/>
          </p:nvPr>
        </p:nvSpPr>
        <p:spPr>
          <a:xfrm>
            <a:off x="1725168" y="296865"/>
            <a:ext cx="8439912" cy="482549"/>
          </a:xfrm>
        </p:spPr>
        <p:txBody>
          <a:bodyPr/>
          <a:lstStyle/>
          <a:p>
            <a:r>
              <a:rPr lang="en-GB" dirty="0"/>
              <a:t>Always connected and updated </a:t>
            </a:r>
          </a:p>
        </p:txBody>
      </p:sp>
    </p:spTree>
    <p:extLst>
      <p:ext uri="{BB962C8B-B14F-4D97-AF65-F5344CB8AC3E}">
        <p14:creationId xmlns:p14="http://schemas.microsoft.com/office/powerpoint/2010/main" val="86809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E57627FB-D816-4EA7-98E3-793F2D9BC93A}" type="slidenum">
              <a:rPr lang="en-GB" noProof="0" smtClean="0"/>
              <a:pPr/>
              <a:t>16</a:t>
            </a:fld>
            <a:endParaRPr lang="en-GB" noProof="0" dirty="0"/>
          </a:p>
        </p:txBody>
      </p:sp>
      <p:sp>
        <p:nvSpPr>
          <p:cNvPr id="5" name="Footer Placeholder 4"/>
          <p:cNvSpPr>
            <a:spLocks noGrp="1"/>
          </p:cNvSpPr>
          <p:nvPr>
            <p:ph type="ftr" sz="quarter" idx="3"/>
          </p:nvPr>
        </p:nvSpPr>
        <p:spPr/>
        <p:txBody>
          <a:bodyPr/>
          <a:lstStyle/>
          <a:p>
            <a:r>
              <a:rPr lang="en-US" noProof="0" dirty="0"/>
              <a:t>© Amadeus IT Group and its affiliates and subsidiaries</a:t>
            </a:r>
            <a:endParaRPr lang="en-GB" noProof="0" dirty="0"/>
          </a:p>
        </p:txBody>
      </p:sp>
      <p:pic>
        <p:nvPicPr>
          <p:cNvPr id="6" name="Picture 5"/>
          <p:cNvPicPr>
            <a:picLocks noChangeAspect="1"/>
          </p:cNvPicPr>
          <p:nvPr/>
        </p:nvPicPr>
        <p:blipFill>
          <a:blip r:embed="rId2"/>
          <a:stretch>
            <a:fillRect/>
          </a:stretch>
        </p:blipFill>
        <p:spPr>
          <a:xfrm>
            <a:off x="0" y="0"/>
            <a:ext cx="12192000" cy="6858000"/>
          </a:xfrm>
          <a:prstGeom prst="rect">
            <a:avLst/>
          </a:prstGeom>
        </p:spPr>
      </p:pic>
      <p:sp>
        <p:nvSpPr>
          <p:cNvPr id="7" name="Rectangle 6"/>
          <p:cNvSpPr/>
          <p:nvPr/>
        </p:nvSpPr>
        <p:spPr>
          <a:xfrm>
            <a:off x="180814" y="348713"/>
            <a:ext cx="10773904" cy="3952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ítulo 3"/>
          <p:cNvSpPr>
            <a:spLocks noGrp="1"/>
          </p:cNvSpPr>
          <p:nvPr>
            <p:ph type="title"/>
          </p:nvPr>
        </p:nvSpPr>
        <p:spPr>
          <a:xfrm>
            <a:off x="1725168" y="296865"/>
            <a:ext cx="8439912" cy="482549"/>
          </a:xfrm>
        </p:spPr>
        <p:txBody>
          <a:bodyPr/>
          <a:lstStyle/>
          <a:p>
            <a:r>
              <a:rPr lang="en-GB" dirty="0"/>
              <a:t>One Stop Shop</a:t>
            </a:r>
          </a:p>
        </p:txBody>
      </p:sp>
    </p:spTree>
    <p:extLst>
      <p:ext uri="{BB962C8B-B14F-4D97-AF65-F5344CB8AC3E}">
        <p14:creationId xmlns:p14="http://schemas.microsoft.com/office/powerpoint/2010/main" val="21480190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002781" y="5185672"/>
            <a:ext cx="14062876" cy="1666908"/>
            <a:chOff x="-1146437" y="5185672"/>
            <a:chExt cx="14062876" cy="1666908"/>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6437" y="5323381"/>
              <a:ext cx="6728477" cy="1529199"/>
            </a:xfrm>
            <a:prstGeom prst="rect">
              <a:avLst/>
            </a:prstGeom>
          </p:spPr>
        </p:pic>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82040" y="5185672"/>
              <a:ext cx="7334399" cy="1666908"/>
            </a:xfrm>
            <a:prstGeom prst="rect">
              <a:avLst/>
            </a:prstGeom>
          </p:spPr>
        </p:pic>
      </p:grpSp>
      <p:sp>
        <p:nvSpPr>
          <p:cNvPr id="5" name="Marcador de pie de página 4"/>
          <p:cNvSpPr>
            <a:spLocks noGrp="1"/>
          </p:cNvSpPr>
          <p:nvPr>
            <p:ph type="ftr" sz="quarter" idx="3"/>
          </p:nvPr>
        </p:nvSpPr>
        <p:spPr>
          <a:xfrm rot="16200000">
            <a:off x="10490555" y="3217475"/>
            <a:ext cx="3086100" cy="226487"/>
          </a:xfrm>
        </p:spPr>
        <p:txBody>
          <a:bodyPr/>
          <a:lstStyle/>
          <a:p>
            <a:r>
              <a:rPr lang="en-US" noProof="0" dirty="0"/>
              <a:t>© Amadeus IT Group and its affiliates and subsidiaries</a:t>
            </a:r>
            <a:endParaRPr lang="en-GB" noProof="0" dirty="0"/>
          </a:p>
        </p:txBody>
      </p:sp>
      <p:sp>
        <p:nvSpPr>
          <p:cNvPr id="33" name="Freeform 5"/>
          <p:cNvSpPr>
            <a:spLocks noEditPoints="1"/>
          </p:cNvSpPr>
          <p:nvPr/>
        </p:nvSpPr>
        <p:spPr bwMode="auto">
          <a:xfrm>
            <a:off x="10989886" y="6449367"/>
            <a:ext cx="742135" cy="102870"/>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noProof="0" dirty="0"/>
          </a:p>
        </p:txBody>
      </p:sp>
      <p:sp>
        <p:nvSpPr>
          <p:cNvPr id="4" name="Title 33"/>
          <p:cNvSpPr txBox="1">
            <a:spLocks/>
          </p:cNvSpPr>
          <p:nvPr/>
        </p:nvSpPr>
        <p:spPr>
          <a:xfrm>
            <a:off x="2913353" y="169489"/>
            <a:ext cx="7009792" cy="4889692"/>
          </a:xfrm>
          <a:prstGeom prst="rect">
            <a:avLst/>
          </a:prstGeom>
        </p:spPr>
        <p:txBody>
          <a:bodyPr/>
          <a:lstStyle>
            <a:lvl1pPr algn="l" defTabSz="914400" rtl="0" eaLnBrk="1" latinLnBrk="0" hangingPunct="1">
              <a:spcBef>
                <a:spcPct val="0"/>
              </a:spcBef>
              <a:buNone/>
              <a:defRPr sz="2800" b="0" kern="1200">
                <a:solidFill>
                  <a:schemeClr val="accent1"/>
                </a:solidFill>
                <a:latin typeface="+mj-lt"/>
                <a:ea typeface="+mj-ea"/>
                <a:cs typeface="+mj-cs"/>
              </a:defRPr>
            </a:lvl1pPr>
          </a:lstStyle>
          <a:p>
            <a:r>
              <a:rPr lang="en-GB" dirty="0">
                <a:solidFill>
                  <a:srgbClr val="005EB8"/>
                </a:solidFill>
                <a:cs typeface="Amadeus-Regular"/>
              </a:rPr>
              <a:t>A short summary</a:t>
            </a:r>
          </a:p>
          <a:p>
            <a:r>
              <a:rPr lang="en-GB" b="1" dirty="0">
                <a:solidFill>
                  <a:srgbClr val="005EB8"/>
                </a:solidFill>
                <a:cs typeface="Amadeus-Regular"/>
              </a:rPr>
              <a:t>what’s in it for your corporate</a:t>
            </a:r>
            <a:endParaRPr lang="en-GB" b="1" dirty="0">
              <a:solidFill>
                <a:srgbClr val="005EB8"/>
              </a:solidFill>
              <a:latin typeface="+mn-lt"/>
              <a:cs typeface="Amadeus-Regular"/>
            </a:endParaRPr>
          </a:p>
          <a:p>
            <a:pPr>
              <a:lnSpc>
                <a:spcPct val="150000"/>
              </a:lnSpc>
            </a:pPr>
            <a:r>
              <a:rPr lang="en-GB" sz="2400" dirty="0">
                <a:solidFill>
                  <a:srgbClr val="4D4D4D"/>
                </a:solidFill>
                <a:cs typeface="Amadeus-Regular"/>
              </a:rPr>
              <a:t>You can </a:t>
            </a:r>
            <a:r>
              <a:rPr lang="en-GB" sz="2400" b="1" dirty="0">
                <a:solidFill>
                  <a:srgbClr val="4D4D4D"/>
                </a:solidFill>
                <a:latin typeface="+mn-lt"/>
                <a:cs typeface="Amadeus-Regular"/>
              </a:rPr>
              <a:t>simplified</a:t>
            </a:r>
            <a:r>
              <a:rPr lang="en-GB" sz="2400" b="1" dirty="0">
                <a:solidFill>
                  <a:srgbClr val="4D4D4D"/>
                </a:solidFill>
                <a:cs typeface="Amadeus-Regular"/>
              </a:rPr>
              <a:t> </a:t>
            </a:r>
          </a:p>
          <a:p>
            <a:pPr>
              <a:lnSpc>
                <a:spcPct val="150000"/>
              </a:lnSpc>
            </a:pPr>
            <a:r>
              <a:rPr lang="en-GB" sz="2400" dirty="0">
                <a:solidFill>
                  <a:srgbClr val="4D4D4D"/>
                </a:solidFill>
                <a:cs typeface="Amadeus-Regular"/>
              </a:rPr>
              <a:t>your work and reduce workload</a:t>
            </a:r>
          </a:p>
          <a:p>
            <a:pPr>
              <a:lnSpc>
                <a:spcPct val="150000"/>
              </a:lnSpc>
            </a:pPr>
            <a:r>
              <a:rPr lang="en-GB" sz="2400" dirty="0">
                <a:solidFill>
                  <a:srgbClr val="4D4D4D"/>
                </a:solidFill>
                <a:cs typeface="Amadeus-Regular"/>
              </a:rPr>
              <a:t>and higher </a:t>
            </a:r>
            <a:r>
              <a:rPr lang="en-GB" sz="2400" b="1" dirty="0">
                <a:solidFill>
                  <a:srgbClr val="4D4D4D"/>
                </a:solidFill>
                <a:latin typeface="+mn-lt"/>
                <a:cs typeface="Amadeus-Regular"/>
              </a:rPr>
              <a:t>efficiency</a:t>
            </a:r>
            <a:r>
              <a:rPr lang="en-GB" sz="2400" b="1" dirty="0">
                <a:solidFill>
                  <a:srgbClr val="4D4D4D"/>
                </a:solidFill>
                <a:cs typeface="Amadeus-Regular"/>
              </a:rPr>
              <a:t>, </a:t>
            </a:r>
          </a:p>
          <a:p>
            <a:pPr>
              <a:lnSpc>
                <a:spcPct val="150000"/>
              </a:lnSpc>
            </a:pPr>
            <a:r>
              <a:rPr lang="en-GB" sz="2400" dirty="0">
                <a:solidFill>
                  <a:srgbClr val="4D4D4D"/>
                </a:solidFill>
                <a:cs typeface="Amadeus-Regular"/>
              </a:rPr>
              <a:t>Working with corporate polices </a:t>
            </a:r>
          </a:p>
          <a:p>
            <a:pPr>
              <a:lnSpc>
                <a:spcPct val="150000"/>
              </a:lnSpc>
            </a:pPr>
            <a:r>
              <a:rPr lang="en-GB" sz="2400" dirty="0">
                <a:solidFill>
                  <a:srgbClr val="4D4D4D"/>
                </a:solidFill>
                <a:cs typeface="Amadeus-Regular"/>
              </a:rPr>
              <a:t>to </a:t>
            </a:r>
            <a:r>
              <a:rPr lang="en-GB" sz="2400" b="1" dirty="0">
                <a:solidFill>
                  <a:srgbClr val="4D4D4D"/>
                </a:solidFill>
                <a:latin typeface="+mn-lt"/>
                <a:cs typeface="Amadeus-Regular"/>
              </a:rPr>
              <a:t>minimise the cost</a:t>
            </a:r>
          </a:p>
          <a:p>
            <a:pPr>
              <a:lnSpc>
                <a:spcPct val="150000"/>
              </a:lnSpc>
            </a:pPr>
            <a:r>
              <a:rPr lang="en-GB" sz="2400" dirty="0">
                <a:solidFill>
                  <a:srgbClr val="4D4D4D"/>
                </a:solidFill>
                <a:cs typeface="Amadeus-Regular"/>
              </a:rPr>
              <a:t>By using Amadeus you will become </a:t>
            </a:r>
          </a:p>
          <a:p>
            <a:pPr>
              <a:lnSpc>
                <a:spcPct val="150000"/>
              </a:lnSpc>
            </a:pPr>
            <a:r>
              <a:rPr lang="en-GB" sz="2400" dirty="0">
                <a:solidFill>
                  <a:srgbClr val="4D4D4D"/>
                </a:solidFill>
                <a:cs typeface="Amadeus-Regular"/>
              </a:rPr>
              <a:t>to </a:t>
            </a:r>
            <a:r>
              <a:rPr lang="en-GB" sz="2400" b="1" dirty="0">
                <a:solidFill>
                  <a:srgbClr val="4D4D4D"/>
                </a:solidFill>
                <a:latin typeface="+mn-lt"/>
                <a:cs typeface="Amadeus-Regular"/>
              </a:rPr>
              <a:t>preferred coordinator</a:t>
            </a:r>
          </a:p>
          <a:p>
            <a:pPr>
              <a:lnSpc>
                <a:spcPct val="150000"/>
              </a:lnSpc>
            </a:pPr>
            <a:r>
              <a:rPr lang="en-GB" sz="2400" dirty="0">
                <a:solidFill>
                  <a:srgbClr val="4D4D4D"/>
                </a:solidFill>
                <a:cs typeface="Amadeus-Regular"/>
              </a:rPr>
              <a:t>Nothing will miss your eyes with Amadeus solutions. </a:t>
            </a:r>
          </a:p>
        </p:txBody>
      </p:sp>
      <p:pic>
        <p:nvPicPr>
          <p:cNvPr id="10" name="Imagen 29"/>
          <p:cNvPicPr>
            <a:picLocks noChangeAspect="1"/>
          </p:cNvPicPr>
          <p:nvPr/>
        </p:nvPicPr>
        <p:blipFill>
          <a:blip r:embed="rId3">
            <a:duotone>
              <a:prstClr val="black"/>
              <a:schemeClr val="accent2">
                <a:tint val="45000"/>
                <a:satMod val="400000"/>
              </a:schemeClr>
            </a:duotone>
            <a:lum contrast="-40000"/>
          </a:blip>
          <a:stretch>
            <a:fillRect/>
          </a:stretch>
        </p:blipFill>
        <p:spPr>
          <a:xfrm>
            <a:off x="6251187" y="3360900"/>
            <a:ext cx="657546" cy="390716"/>
          </a:xfrm>
          <a:prstGeom prst="rect">
            <a:avLst/>
          </a:prstGeom>
        </p:spPr>
      </p:pic>
      <p:pic>
        <p:nvPicPr>
          <p:cNvPr id="11" name="Imagen 32"/>
          <p:cNvPicPr>
            <a:picLocks noChangeAspect="1"/>
          </p:cNvPicPr>
          <p:nvPr/>
        </p:nvPicPr>
        <p:blipFill>
          <a:blip r:embed="rId4">
            <a:duotone>
              <a:prstClr val="black"/>
              <a:srgbClr val="00A34E">
                <a:tint val="45000"/>
                <a:satMod val="400000"/>
              </a:srgbClr>
            </a:duotone>
            <a:lum bright="-20000" contrast="-40000"/>
          </a:blip>
          <a:stretch>
            <a:fillRect/>
          </a:stretch>
        </p:blipFill>
        <p:spPr>
          <a:xfrm>
            <a:off x="5987315" y="2178676"/>
            <a:ext cx="527224" cy="506682"/>
          </a:xfrm>
          <a:prstGeom prst="rect">
            <a:avLst/>
          </a:prstGeom>
        </p:spPr>
      </p:pic>
      <p:pic>
        <p:nvPicPr>
          <p:cNvPr id="15" name="Imagen 138"/>
          <p:cNvPicPr>
            <a:picLocks noChangeAspect="1"/>
          </p:cNvPicPr>
          <p:nvPr/>
        </p:nvPicPr>
        <p:blipFill>
          <a:blip r:embed="rId5"/>
          <a:stretch>
            <a:fillRect/>
          </a:stretch>
        </p:blipFill>
        <p:spPr>
          <a:xfrm>
            <a:off x="6677184" y="4426724"/>
            <a:ext cx="505965" cy="505965"/>
          </a:xfrm>
          <a:prstGeom prst="rect">
            <a:avLst/>
          </a:prstGeom>
        </p:spPr>
      </p:pic>
      <p:pic>
        <p:nvPicPr>
          <p:cNvPr id="16" name="Imagen 35"/>
          <p:cNvPicPr>
            <a:picLocks noChangeAspect="1"/>
          </p:cNvPicPr>
          <p:nvPr/>
        </p:nvPicPr>
        <p:blipFill>
          <a:blip r:embed="rId6"/>
          <a:stretch>
            <a:fillRect/>
          </a:stretch>
        </p:blipFill>
        <p:spPr>
          <a:xfrm>
            <a:off x="829914" y="437884"/>
            <a:ext cx="958470" cy="1349784"/>
          </a:xfrm>
          <a:prstGeom prst="rect">
            <a:avLst/>
          </a:prstGeom>
        </p:spPr>
      </p:pic>
      <p:pic>
        <p:nvPicPr>
          <p:cNvPr id="22532" name="Picture 4" descr="Image result for simplified icon"/>
          <p:cNvPicPr>
            <a:picLocks noChangeAspect="1" noChangeArrowheads="1"/>
          </p:cNvPicPr>
          <p:nvPr/>
        </p:nvPicPr>
        <p:blipFill>
          <a:blip r:embed="rId7" cstate="hqprint">
            <a:duotone>
              <a:schemeClr val="accent6">
                <a:shade val="45000"/>
                <a:satMod val="135000"/>
              </a:schemeClr>
              <a:prstClr val="white"/>
            </a:duotone>
            <a:extLst>
              <a:ext uri="{BEBA8EAE-BF5A-486C-A8C5-ECC9F3942E4B}">
                <a14:imgProps xmlns:a14="http://schemas.microsoft.com/office/drawing/2010/main">
                  <a14:imgLayer r:embed="rId8">
                    <a14:imgEffect>
                      <a14:backgroundRemoval t="10000" b="90000" l="5111" r="92889">
                        <a14:foregroundMark x1="26667" y1="31702" x2="10444" y2="31277"/>
                        <a14:foregroundMark x1="41556" y1="46170" x2="10000" y2="45957"/>
                        <a14:foregroundMark x1="26444" y1="60000" x2="9333" y2="59362"/>
                      </a14:backgroundRemoval>
                    </a14:imgEffect>
                  </a14:imgLayer>
                </a14:imgProps>
              </a:ext>
              <a:ext uri="{28A0092B-C50C-407E-A947-70E740481C1C}">
                <a14:useLocalDpi xmlns:a14="http://schemas.microsoft.com/office/drawing/2010/main" val="0"/>
              </a:ext>
            </a:extLst>
          </a:blip>
          <a:srcRect/>
          <a:stretch>
            <a:fillRect/>
          </a:stretch>
        </p:blipFill>
        <p:spPr bwMode="auto">
          <a:xfrm>
            <a:off x="5602450" y="1031266"/>
            <a:ext cx="602947" cy="62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853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autoRev="1" fill="hold" nodeType="withEffect">
                                  <p:stCondLst>
                                    <p:cond delay="0"/>
                                  </p:stCondLst>
                                  <p:endCondLst>
                                    <p:cond evt="onNext" delay="0">
                                      <p:tgtEl>
                                        <p:sldTgt/>
                                      </p:tgtEl>
                                    </p:cond>
                                  </p:endCondLst>
                                  <p:childTnLst>
                                    <p:animMotion origin="layout" path="M 2.08333E-7 2.22222E-6 L 0.1543 0.00046 " pathEditMode="relative" rAng="0" ptsTypes="AA">
                                      <p:cBhvr>
                                        <p:cTn id="6" dur="25000" fill="hold"/>
                                        <p:tgtEl>
                                          <p:spTgt spid="2"/>
                                        </p:tgtEl>
                                        <p:attrNameLst>
                                          <p:attrName>ppt_x</p:attrName>
                                          <p:attrName>ppt_y</p:attrName>
                                        </p:attrNameLst>
                                      </p:cBhvr>
                                      <p:rCtr x="7708"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pie de página 3"/>
          <p:cNvSpPr>
            <a:spLocks noGrp="1"/>
          </p:cNvSpPr>
          <p:nvPr>
            <p:ph type="ftr" sz="quarter" idx="3"/>
          </p:nvPr>
        </p:nvSpPr>
        <p:spPr/>
        <p:txBody>
          <a:bodyPr/>
          <a:lstStyle/>
          <a:p>
            <a:r>
              <a:rPr lang="en-GB" dirty="0"/>
              <a:t>© Amadeus IT Group and its affiliates and subsidiaries</a:t>
            </a:r>
          </a:p>
        </p:txBody>
      </p:sp>
      <p:sp>
        <p:nvSpPr>
          <p:cNvPr id="5" name="Text Placeholder 4"/>
          <p:cNvSpPr>
            <a:spLocks noGrp="1"/>
          </p:cNvSpPr>
          <p:nvPr>
            <p:ph type="body" sz="quarter" idx="39"/>
          </p:nvPr>
        </p:nvSpPr>
        <p:spPr/>
        <p:txBody>
          <a:bodyPr/>
          <a:lstStyle/>
          <a:p>
            <a:r>
              <a:rPr lang="en-GB" dirty="0"/>
              <a:t>You can follow us on:</a:t>
            </a:r>
          </a:p>
        </p:txBody>
      </p:sp>
      <p:sp>
        <p:nvSpPr>
          <p:cNvPr id="6" name="Text Placeholder 5"/>
          <p:cNvSpPr>
            <a:spLocks noGrp="1"/>
          </p:cNvSpPr>
          <p:nvPr>
            <p:ph type="body" sz="quarter" idx="40"/>
          </p:nvPr>
        </p:nvSpPr>
        <p:spPr/>
        <p:txBody>
          <a:bodyPr/>
          <a:lstStyle/>
          <a:p>
            <a:r>
              <a:rPr lang="en-GB" dirty="0" err="1"/>
              <a:t>AmadeusITgroup</a:t>
            </a:r>
            <a:endParaRPr lang="en-GB" dirty="0"/>
          </a:p>
        </p:txBody>
      </p:sp>
      <p:sp>
        <p:nvSpPr>
          <p:cNvPr id="2" name="Text Placeholder 1"/>
          <p:cNvSpPr>
            <a:spLocks noGrp="1"/>
          </p:cNvSpPr>
          <p:nvPr>
            <p:ph type="body" sz="quarter" idx="38"/>
          </p:nvPr>
        </p:nvSpPr>
        <p:spPr/>
        <p:txBody>
          <a:bodyPr/>
          <a:lstStyle/>
          <a:p>
            <a:r>
              <a:rPr lang="en-GB" dirty="0"/>
              <a:t>amadeus.com</a:t>
            </a:r>
            <a:br>
              <a:rPr lang="en-GB" dirty="0"/>
            </a:br>
            <a:r>
              <a:rPr lang="en-GB" dirty="0"/>
              <a:t>amadeus.com/blog</a:t>
            </a:r>
          </a:p>
        </p:txBody>
      </p:sp>
      <p:sp>
        <p:nvSpPr>
          <p:cNvPr id="8" name="Título 7"/>
          <p:cNvSpPr>
            <a:spLocks noGrp="1"/>
          </p:cNvSpPr>
          <p:nvPr>
            <p:ph type="title"/>
          </p:nvPr>
        </p:nvSpPr>
        <p:spPr/>
        <p:txBody>
          <a:bodyPr/>
          <a:lstStyle/>
          <a:p>
            <a:r>
              <a:rPr lang="es-ES" dirty="0" err="1"/>
              <a:t>Thank</a:t>
            </a:r>
            <a:r>
              <a:rPr lang="es-ES" dirty="0"/>
              <a:t> </a:t>
            </a:r>
            <a:r>
              <a:rPr lang="es-ES" dirty="0" err="1"/>
              <a:t>you</a:t>
            </a:r>
            <a:endParaRPr lang="fr-FR" dirty="0"/>
          </a:p>
        </p:txBody>
      </p:sp>
      <p:sp>
        <p:nvSpPr>
          <p:cNvPr id="7" name="Rectangle 6"/>
          <p:cNvSpPr/>
          <p:nvPr/>
        </p:nvSpPr>
        <p:spPr>
          <a:xfrm rot="5400000">
            <a:off x="12069601" y="6539750"/>
            <a:ext cx="481264" cy="107722"/>
          </a:xfrm>
          <a:prstGeom prst="rect">
            <a:avLst/>
          </a:prstGeom>
        </p:spPr>
        <p:txBody>
          <a:bodyPr wrap="square">
            <a:spAutoFit/>
          </a:bodyPr>
          <a:lstStyle>
            <a:defPPr>
              <a:defRPr lang="en-GB"/>
            </a:defPPr>
            <a:lvl1pPr algn="l" rtl="0" fontAlgn="base">
              <a:spcBef>
                <a:spcPct val="0"/>
              </a:spcBef>
              <a:spcAft>
                <a:spcPct val="0"/>
              </a:spcAft>
              <a:defRPr sz="20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20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20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20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2000" b="1" kern="1200">
                <a:solidFill>
                  <a:schemeClr val="tx1"/>
                </a:solidFill>
                <a:latin typeface="Arial" pitchFamily="34" charset="0"/>
                <a:ea typeface="+mn-ea"/>
                <a:cs typeface="Arial" pitchFamily="34" charset="0"/>
              </a:defRPr>
            </a:lvl5pPr>
            <a:lvl6pPr marL="2286000" algn="l" defTabSz="914400" rtl="0" eaLnBrk="1" latinLnBrk="0" hangingPunct="1">
              <a:defRPr sz="2000" b="1" kern="1200">
                <a:solidFill>
                  <a:schemeClr val="tx1"/>
                </a:solidFill>
                <a:latin typeface="Arial" pitchFamily="34" charset="0"/>
                <a:ea typeface="+mn-ea"/>
                <a:cs typeface="Arial" pitchFamily="34" charset="0"/>
              </a:defRPr>
            </a:lvl6pPr>
            <a:lvl7pPr marL="2743200" algn="l" defTabSz="914400" rtl="0" eaLnBrk="1" latinLnBrk="0" hangingPunct="1">
              <a:defRPr sz="2000" b="1" kern="1200">
                <a:solidFill>
                  <a:schemeClr val="tx1"/>
                </a:solidFill>
                <a:latin typeface="Arial" pitchFamily="34" charset="0"/>
                <a:ea typeface="+mn-ea"/>
                <a:cs typeface="Arial" pitchFamily="34" charset="0"/>
              </a:defRPr>
            </a:lvl7pPr>
            <a:lvl8pPr marL="3200400" algn="l" defTabSz="914400" rtl="0" eaLnBrk="1" latinLnBrk="0" hangingPunct="1">
              <a:defRPr sz="2000" b="1" kern="1200">
                <a:solidFill>
                  <a:schemeClr val="tx1"/>
                </a:solidFill>
                <a:latin typeface="Arial" pitchFamily="34" charset="0"/>
                <a:ea typeface="+mn-ea"/>
                <a:cs typeface="Arial" pitchFamily="34" charset="0"/>
              </a:defRPr>
            </a:lvl8pPr>
            <a:lvl9pPr marL="3657600" algn="l" defTabSz="914400" rtl="0" eaLnBrk="1" latinLnBrk="0" hangingPunct="1">
              <a:defRPr sz="2000" b="1" kern="1200">
                <a:solidFill>
                  <a:schemeClr val="tx1"/>
                </a:solidFill>
                <a:latin typeface="Arial" pitchFamily="34" charset="0"/>
                <a:ea typeface="+mn-ea"/>
                <a:cs typeface="Arial" pitchFamily="34" charset="0"/>
              </a:defRPr>
            </a:lvl9pPr>
          </a:lstStyle>
          <a:p>
            <a:r>
              <a:rPr lang="en-GB" sz="100" b="0" dirty="0">
                <a:solidFill>
                  <a:schemeClr val="bg1">
                    <a:lumMod val="95000"/>
                  </a:schemeClr>
                </a:solidFill>
              </a:rPr>
              <a:t>265ced1609a17cf1a5979880a2ad364653895ae8</a:t>
            </a:r>
            <a:endParaRPr lang="en-GB" sz="100" dirty="0">
              <a:solidFill>
                <a:schemeClr val="bg1">
                  <a:lumMod val="95000"/>
                </a:schemeClr>
              </a:solidFill>
            </a:endParaRPr>
          </a:p>
        </p:txBody>
      </p:sp>
    </p:spTree>
    <p:extLst>
      <p:ext uri="{BB962C8B-B14F-4D97-AF65-F5344CB8AC3E}">
        <p14:creationId xmlns:p14="http://schemas.microsoft.com/office/powerpoint/2010/main" val="9447693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69632" y="-379831"/>
            <a:ext cx="12261631" cy="8177471"/>
          </a:xfrm>
          <a:prstGeom prst="rect">
            <a:avLst/>
          </a:prstGeom>
        </p:spPr>
      </p:pic>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1710508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6" name="Freeform 5"/>
          <p:cNvSpPr>
            <a:spLocks/>
          </p:cNvSpPr>
          <p:nvPr/>
        </p:nvSpPr>
        <p:spPr bwMode="auto">
          <a:xfrm>
            <a:off x="-15338" y="-22799"/>
            <a:ext cx="6049376" cy="6080418"/>
          </a:xfrm>
          <a:custGeom>
            <a:avLst/>
            <a:gdLst>
              <a:gd name="T0" fmla="*/ 0 w 3320"/>
              <a:gd name="T1" fmla="*/ 0 h 3714"/>
              <a:gd name="T2" fmla="*/ 0 w 3320"/>
              <a:gd name="T3" fmla="*/ 3714 h 3714"/>
              <a:gd name="T4" fmla="*/ 3015 w 3320"/>
              <a:gd name="T5" fmla="*/ 2561 h 3714"/>
              <a:gd name="T6" fmla="*/ 3038 w 3320"/>
              <a:gd name="T7" fmla="*/ 2552 h 3714"/>
              <a:gd name="T8" fmla="*/ 3061 w 3320"/>
              <a:gd name="T9" fmla="*/ 2541 h 3714"/>
              <a:gd name="T10" fmla="*/ 3082 w 3320"/>
              <a:gd name="T11" fmla="*/ 2531 h 3714"/>
              <a:gd name="T12" fmla="*/ 3102 w 3320"/>
              <a:gd name="T13" fmla="*/ 2518 h 3714"/>
              <a:gd name="T14" fmla="*/ 3121 w 3320"/>
              <a:gd name="T15" fmla="*/ 2504 h 3714"/>
              <a:gd name="T16" fmla="*/ 3140 w 3320"/>
              <a:gd name="T17" fmla="*/ 2490 h 3714"/>
              <a:gd name="T18" fmla="*/ 3158 w 3320"/>
              <a:gd name="T19" fmla="*/ 2476 h 3714"/>
              <a:gd name="T20" fmla="*/ 3176 w 3320"/>
              <a:gd name="T21" fmla="*/ 2460 h 3714"/>
              <a:gd name="T22" fmla="*/ 3192 w 3320"/>
              <a:gd name="T23" fmla="*/ 2442 h 3714"/>
              <a:gd name="T24" fmla="*/ 3207 w 3320"/>
              <a:gd name="T25" fmla="*/ 2427 h 3714"/>
              <a:gd name="T26" fmla="*/ 3220 w 3320"/>
              <a:gd name="T27" fmla="*/ 2409 h 3714"/>
              <a:gd name="T28" fmla="*/ 3234 w 3320"/>
              <a:gd name="T29" fmla="*/ 2390 h 3714"/>
              <a:gd name="T30" fmla="*/ 3246 w 3320"/>
              <a:gd name="T31" fmla="*/ 2370 h 3714"/>
              <a:gd name="T32" fmla="*/ 3259 w 3320"/>
              <a:gd name="T33" fmla="*/ 2353 h 3714"/>
              <a:gd name="T34" fmla="*/ 3269 w 3320"/>
              <a:gd name="T35" fmla="*/ 2331 h 3714"/>
              <a:gd name="T36" fmla="*/ 3280 w 3320"/>
              <a:gd name="T37" fmla="*/ 2312 h 3714"/>
              <a:gd name="T38" fmla="*/ 3289 w 3320"/>
              <a:gd name="T39" fmla="*/ 2291 h 3714"/>
              <a:gd name="T40" fmla="*/ 3296 w 3320"/>
              <a:gd name="T41" fmla="*/ 2268 h 3714"/>
              <a:gd name="T42" fmla="*/ 3303 w 3320"/>
              <a:gd name="T43" fmla="*/ 2247 h 3714"/>
              <a:gd name="T44" fmla="*/ 3308 w 3320"/>
              <a:gd name="T45" fmla="*/ 2226 h 3714"/>
              <a:gd name="T46" fmla="*/ 3313 w 3320"/>
              <a:gd name="T47" fmla="*/ 2203 h 3714"/>
              <a:gd name="T48" fmla="*/ 3317 w 3320"/>
              <a:gd name="T49" fmla="*/ 2180 h 3714"/>
              <a:gd name="T50" fmla="*/ 3318 w 3320"/>
              <a:gd name="T51" fmla="*/ 2157 h 3714"/>
              <a:gd name="T52" fmla="*/ 3320 w 3320"/>
              <a:gd name="T53" fmla="*/ 2134 h 3714"/>
              <a:gd name="T54" fmla="*/ 3320 w 3320"/>
              <a:gd name="T55" fmla="*/ 2111 h 3714"/>
              <a:gd name="T56" fmla="*/ 3320 w 3320"/>
              <a:gd name="T57" fmla="*/ 2088 h 3714"/>
              <a:gd name="T58" fmla="*/ 3318 w 3320"/>
              <a:gd name="T59" fmla="*/ 2065 h 3714"/>
              <a:gd name="T60" fmla="*/ 3315 w 3320"/>
              <a:gd name="T61" fmla="*/ 2042 h 3714"/>
              <a:gd name="T62" fmla="*/ 3310 w 3320"/>
              <a:gd name="T63" fmla="*/ 2017 h 3714"/>
              <a:gd name="T64" fmla="*/ 3304 w 3320"/>
              <a:gd name="T65" fmla="*/ 1995 h 3714"/>
              <a:gd name="T66" fmla="*/ 3297 w 3320"/>
              <a:gd name="T67" fmla="*/ 1972 h 3714"/>
              <a:gd name="T68" fmla="*/ 3289 w 3320"/>
              <a:gd name="T69" fmla="*/ 1949 h 3714"/>
              <a:gd name="T70" fmla="*/ 3285 w 3320"/>
              <a:gd name="T71" fmla="*/ 1938 h 3714"/>
              <a:gd name="T72" fmla="*/ 3280 w 3320"/>
              <a:gd name="T73" fmla="*/ 1928 h 3714"/>
              <a:gd name="T74" fmla="*/ 3276 w 3320"/>
              <a:gd name="T75" fmla="*/ 1917 h 3714"/>
              <a:gd name="T76" fmla="*/ 3269 w 3320"/>
              <a:gd name="T77" fmla="*/ 1906 h 3714"/>
              <a:gd name="T78" fmla="*/ 3259 w 3320"/>
              <a:gd name="T79" fmla="*/ 1885 h 3714"/>
              <a:gd name="T80" fmla="*/ 3246 w 3320"/>
              <a:gd name="T81" fmla="*/ 1868 h 3714"/>
              <a:gd name="T82" fmla="*/ 3232 w 3320"/>
              <a:gd name="T83" fmla="*/ 1848 h 3714"/>
              <a:gd name="T84" fmla="*/ 3216 w 3320"/>
              <a:gd name="T85" fmla="*/ 1831 h 3714"/>
              <a:gd name="T86" fmla="*/ 3202 w 3320"/>
              <a:gd name="T87" fmla="*/ 1813 h 3714"/>
              <a:gd name="T88" fmla="*/ 3184 w 3320"/>
              <a:gd name="T89" fmla="*/ 1795 h 3714"/>
              <a:gd name="T90" fmla="*/ 3169 w 3320"/>
              <a:gd name="T91" fmla="*/ 1779 h 3714"/>
              <a:gd name="T92" fmla="*/ 3151 w 3320"/>
              <a:gd name="T93" fmla="*/ 1765 h 3714"/>
              <a:gd name="T94" fmla="*/ 3133 w 3320"/>
              <a:gd name="T95" fmla="*/ 1749 h 3714"/>
              <a:gd name="T96" fmla="*/ 3116 w 3320"/>
              <a:gd name="T97" fmla="*/ 1735 h 3714"/>
              <a:gd name="T98" fmla="*/ 3096 w 3320"/>
              <a:gd name="T99" fmla="*/ 1723 h 3714"/>
              <a:gd name="T100" fmla="*/ 3079 w 3320"/>
              <a:gd name="T101" fmla="*/ 1711 h 3714"/>
              <a:gd name="T102" fmla="*/ 3059 w 3320"/>
              <a:gd name="T103" fmla="*/ 1696 h 3714"/>
              <a:gd name="T104" fmla="*/ 3040 w 3320"/>
              <a:gd name="T105" fmla="*/ 1686 h 3714"/>
              <a:gd name="T106" fmla="*/ 0 w 3320"/>
              <a:gd name="T107" fmla="*/ 0 h 3714"/>
              <a:gd name="connsiteX0" fmla="*/ 0 w 10000"/>
              <a:gd name="connsiteY0" fmla="*/ 0 h 10000"/>
              <a:gd name="connsiteX1" fmla="*/ 0 w 10000"/>
              <a:gd name="connsiteY1" fmla="*/ 10000 h 10000"/>
              <a:gd name="connsiteX2" fmla="*/ 9081 w 10000"/>
              <a:gd name="connsiteY2" fmla="*/ 6896 h 10000"/>
              <a:gd name="connsiteX3" fmla="*/ 9151 w 10000"/>
              <a:gd name="connsiteY3" fmla="*/ 6871 h 10000"/>
              <a:gd name="connsiteX4" fmla="*/ 9220 w 10000"/>
              <a:gd name="connsiteY4" fmla="*/ 6842 h 10000"/>
              <a:gd name="connsiteX5" fmla="*/ 9283 w 10000"/>
              <a:gd name="connsiteY5" fmla="*/ 6815 h 10000"/>
              <a:gd name="connsiteX6" fmla="*/ 9343 w 10000"/>
              <a:gd name="connsiteY6" fmla="*/ 6780 h 10000"/>
              <a:gd name="connsiteX7" fmla="*/ 9401 w 10000"/>
              <a:gd name="connsiteY7" fmla="*/ 6742 h 10000"/>
              <a:gd name="connsiteX8" fmla="*/ 9458 w 10000"/>
              <a:gd name="connsiteY8" fmla="*/ 6704 h 10000"/>
              <a:gd name="connsiteX9" fmla="*/ 9512 w 10000"/>
              <a:gd name="connsiteY9" fmla="*/ 6667 h 10000"/>
              <a:gd name="connsiteX10" fmla="*/ 9566 w 10000"/>
              <a:gd name="connsiteY10" fmla="*/ 6624 h 10000"/>
              <a:gd name="connsiteX11" fmla="*/ 9614 w 10000"/>
              <a:gd name="connsiteY11" fmla="*/ 6575 h 10000"/>
              <a:gd name="connsiteX12" fmla="*/ 9660 w 10000"/>
              <a:gd name="connsiteY12" fmla="*/ 6535 h 10000"/>
              <a:gd name="connsiteX13" fmla="*/ 9699 w 10000"/>
              <a:gd name="connsiteY13" fmla="*/ 6486 h 10000"/>
              <a:gd name="connsiteX14" fmla="*/ 9741 w 10000"/>
              <a:gd name="connsiteY14" fmla="*/ 6435 h 10000"/>
              <a:gd name="connsiteX15" fmla="*/ 9777 w 10000"/>
              <a:gd name="connsiteY15" fmla="*/ 6381 h 10000"/>
              <a:gd name="connsiteX16" fmla="*/ 9816 w 10000"/>
              <a:gd name="connsiteY16" fmla="*/ 6335 h 10000"/>
              <a:gd name="connsiteX17" fmla="*/ 9846 w 10000"/>
              <a:gd name="connsiteY17" fmla="*/ 6276 h 10000"/>
              <a:gd name="connsiteX18" fmla="*/ 9880 w 10000"/>
              <a:gd name="connsiteY18" fmla="*/ 6225 h 10000"/>
              <a:gd name="connsiteX19" fmla="*/ 9907 w 10000"/>
              <a:gd name="connsiteY19" fmla="*/ 6169 h 10000"/>
              <a:gd name="connsiteX20" fmla="*/ 9928 w 10000"/>
              <a:gd name="connsiteY20" fmla="*/ 6107 h 10000"/>
              <a:gd name="connsiteX21" fmla="*/ 9949 w 10000"/>
              <a:gd name="connsiteY21" fmla="*/ 6050 h 10000"/>
              <a:gd name="connsiteX22" fmla="*/ 9964 w 10000"/>
              <a:gd name="connsiteY22" fmla="*/ 5994 h 10000"/>
              <a:gd name="connsiteX23" fmla="*/ 9979 w 10000"/>
              <a:gd name="connsiteY23" fmla="*/ 5932 h 10000"/>
              <a:gd name="connsiteX24" fmla="*/ 9991 w 10000"/>
              <a:gd name="connsiteY24" fmla="*/ 5870 h 10000"/>
              <a:gd name="connsiteX25" fmla="*/ 9994 w 10000"/>
              <a:gd name="connsiteY25" fmla="*/ 5808 h 10000"/>
              <a:gd name="connsiteX26" fmla="*/ 10000 w 10000"/>
              <a:gd name="connsiteY26" fmla="*/ 5746 h 10000"/>
              <a:gd name="connsiteX27" fmla="*/ 10000 w 10000"/>
              <a:gd name="connsiteY27" fmla="*/ 5684 h 10000"/>
              <a:gd name="connsiteX28" fmla="*/ 10000 w 10000"/>
              <a:gd name="connsiteY28" fmla="*/ 5622 h 10000"/>
              <a:gd name="connsiteX29" fmla="*/ 9994 w 10000"/>
              <a:gd name="connsiteY29" fmla="*/ 5560 h 10000"/>
              <a:gd name="connsiteX30" fmla="*/ 9985 w 10000"/>
              <a:gd name="connsiteY30" fmla="*/ 5498 h 10000"/>
              <a:gd name="connsiteX31" fmla="*/ 9970 w 10000"/>
              <a:gd name="connsiteY31" fmla="*/ 5431 h 10000"/>
              <a:gd name="connsiteX32" fmla="*/ 9952 w 10000"/>
              <a:gd name="connsiteY32" fmla="*/ 5372 h 10000"/>
              <a:gd name="connsiteX33" fmla="*/ 9931 w 10000"/>
              <a:gd name="connsiteY33" fmla="*/ 5310 h 10000"/>
              <a:gd name="connsiteX34" fmla="*/ 9907 w 10000"/>
              <a:gd name="connsiteY34" fmla="*/ 5248 h 10000"/>
              <a:gd name="connsiteX35" fmla="*/ 9895 w 10000"/>
              <a:gd name="connsiteY35" fmla="*/ 5218 h 10000"/>
              <a:gd name="connsiteX36" fmla="*/ 9880 w 10000"/>
              <a:gd name="connsiteY36" fmla="*/ 5191 h 10000"/>
              <a:gd name="connsiteX37" fmla="*/ 9867 w 10000"/>
              <a:gd name="connsiteY37" fmla="*/ 5162 h 10000"/>
              <a:gd name="connsiteX38" fmla="*/ 9846 w 10000"/>
              <a:gd name="connsiteY38" fmla="*/ 5132 h 10000"/>
              <a:gd name="connsiteX39" fmla="*/ 9816 w 10000"/>
              <a:gd name="connsiteY39" fmla="*/ 5075 h 10000"/>
              <a:gd name="connsiteX40" fmla="*/ 9777 w 10000"/>
              <a:gd name="connsiteY40" fmla="*/ 5030 h 10000"/>
              <a:gd name="connsiteX41" fmla="*/ 9735 w 10000"/>
              <a:gd name="connsiteY41" fmla="*/ 4976 h 10000"/>
              <a:gd name="connsiteX42" fmla="*/ 9687 w 10000"/>
              <a:gd name="connsiteY42" fmla="*/ 4930 h 10000"/>
              <a:gd name="connsiteX43" fmla="*/ 9645 w 10000"/>
              <a:gd name="connsiteY43" fmla="*/ 4882 h 10000"/>
              <a:gd name="connsiteX44" fmla="*/ 9590 w 10000"/>
              <a:gd name="connsiteY44" fmla="*/ 4833 h 10000"/>
              <a:gd name="connsiteX45" fmla="*/ 9545 w 10000"/>
              <a:gd name="connsiteY45" fmla="*/ 4790 h 10000"/>
              <a:gd name="connsiteX46" fmla="*/ 9491 w 10000"/>
              <a:gd name="connsiteY46" fmla="*/ 4752 h 10000"/>
              <a:gd name="connsiteX47" fmla="*/ 9437 w 10000"/>
              <a:gd name="connsiteY47" fmla="*/ 4709 h 10000"/>
              <a:gd name="connsiteX48" fmla="*/ 9386 w 10000"/>
              <a:gd name="connsiteY48" fmla="*/ 4672 h 10000"/>
              <a:gd name="connsiteX49" fmla="*/ 9325 w 10000"/>
              <a:gd name="connsiteY49" fmla="*/ 4639 h 10000"/>
              <a:gd name="connsiteX50" fmla="*/ 9274 w 10000"/>
              <a:gd name="connsiteY50" fmla="*/ 4607 h 10000"/>
              <a:gd name="connsiteX51" fmla="*/ 9214 w 10000"/>
              <a:gd name="connsiteY51" fmla="*/ 4567 h 10000"/>
              <a:gd name="connsiteX52" fmla="*/ 9157 w 10000"/>
              <a:gd name="connsiteY52" fmla="*/ 4540 h 10000"/>
              <a:gd name="connsiteX53" fmla="*/ 3147 w 10000"/>
              <a:gd name="connsiteY53" fmla="*/ 1546 h 10000"/>
              <a:gd name="connsiteX54" fmla="*/ 0 w 10000"/>
              <a:gd name="connsiteY54" fmla="*/ 0 h 10000"/>
              <a:gd name="connsiteX0" fmla="*/ 1031 w 10000"/>
              <a:gd name="connsiteY0" fmla="*/ 24 h 8454"/>
              <a:gd name="connsiteX1" fmla="*/ 0 w 10000"/>
              <a:gd name="connsiteY1" fmla="*/ 8454 h 8454"/>
              <a:gd name="connsiteX2" fmla="*/ 9081 w 10000"/>
              <a:gd name="connsiteY2" fmla="*/ 5350 h 8454"/>
              <a:gd name="connsiteX3" fmla="*/ 9151 w 10000"/>
              <a:gd name="connsiteY3" fmla="*/ 5325 h 8454"/>
              <a:gd name="connsiteX4" fmla="*/ 9220 w 10000"/>
              <a:gd name="connsiteY4" fmla="*/ 5296 h 8454"/>
              <a:gd name="connsiteX5" fmla="*/ 9283 w 10000"/>
              <a:gd name="connsiteY5" fmla="*/ 5269 h 8454"/>
              <a:gd name="connsiteX6" fmla="*/ 9343 w 10000"/>
              <a:gd name="connsiteY6" fmla="*/ 5234 h 8454"/>
              <a:gd name="connsiteX7" fmla="*/ 9401 w 10000"/>
              <a:gd name="connsiteY7" fmla="*/ 5196 h 8454"/>
              <a:gd name="connsiteX8" fmla="*/ 9458 w 10000"/>
              <a:gd name="connsiteY8" fmla="*/ 5158 h 8454"/>
              <a:gd name="connsiteX9" fmla="*/ 9512 w 10000"/>
              <a:gd name="connsiteY9" fmla="*/ 5121 h 8454"/>
              <a:gd name="connsiteX10" fmla="*/ 9566 w 10000"/>
              <a:gd name="connsiteY10" fmla="*/ 5078 h 8454"/>
              <a:gd name="connsiteX11" fmla="*/ 9614 w 10000"/>
              <a:gd name="connsiteY11" fmla="*/ 5029 h 8454"/>
              <a:gd name="connsiteX12" fmla="*/ 9660 w 10000"/>
              <a:gd name="connsiteY12" fmla="*/ 4989 h 8454"/>
              <a:gd name="connsiteX13" fmla="*/ 9699 w 10000"/>
              <a:gd name="connsiteY13" fmla="*/ 4940 h 8454"/>
              <a:gd name="connsiteX14" fmla="*/ 9741 w 10000"/>
              <a:gd name="connsiteY14" fmla="*/ 4889 h 8454"/>
              <a:gd name="connsiteX15" fmla="*/ 9777 w 10000"/>
              <a:gd name="connsiteY15" fmla="*/ 4835 h 8454"/>
              <a:gd name="connsiteX16" fmla="*/ 9816 w 10000"/>
              <a:gd name="connsiteY16" fmla="*/ 4789 h 8454"/>
              <a:gd name="connsiteX17" fmla="*/ 9846 w 10000"/>
              <a:gd name="connsiteY17" fmla="*/ 4730 h 8454"/>
              <a:gd name="connsiteX18" fmla="*/ 9880 w 10000"/>
              <a:gd name="connsiteY18" fmla="*/ 4679 h 8454"/>
              <a:gd name="connsiteX19" fmla="*/ 9907 w 10000"/>
              <a:gd name="connsiteY19" fmla="*/ 4623 h 8454"/>
              <a:gd name="connsiteX20" fmla="*/ 9928 w 10000"/>
              <a:gd name="connsiteY20" fmla="*/ 4561 h 8454"/>
              <a:gd name="connsiteX21" fmla="*/ 9949 w 10000"/>
              <a:gd name="connsiteY21" fmla="*/ 4504 h 8454"/>
              <a:gd name="connsiteX22" fmla="*/ 9964 w 10000"/>
              <a:gd name="connsiteY22" fmla="*/ 4448 h 8454"/>
              <a:gd name="connsiteX23" fmla="*/ 9979 w 10000"/>
              <a:gd name="connsiteY23" fmla="*/ 4386 h 8454"/>
              <a:gd name="connsiteX24" fmla="*/ 9991 w 10000"/>
              <a:gd name="connsiteY24" fmla="*/ 4324 h 8454"/>
              <a:gd name="connsiteX25" fmla="*/ 9994 w 10000"/>
              <a:gd name="connsiteY25" fmla="*/ 4262 h 8454"/>
              <a:gd name="connsiteX26" fmla="*/ 10000 w 10000"/>
              <a:gd name="connsiteY26" fmla="*/ 4200 h 8454"/>
              <a:gd name="connsiteX27" fmla="*/ 10000 w 10000"/>
              <a:gd name="connsiteY27" fmla="*/ 4138 h 8454"/>
              <a:gd name="connsiteX28" fmla="*/ 10000 w 10000"/>
              <a:gd name="connsiteY28" fmla="*/ 4076 h 8454"/>
              <a:gd name="connsiteX29" fmla="*/ 9994 w 10000"/>
              <a:gd name="connsiteY29" fmla="*/ 4014 h 8454"/>
              <a:gd name="connsiteX30" fmla="*/ 9985 w 10000"/>
              <a:gd name="connsiteY30" fmla="*/ 3952 h 8454"/>
              <a:gd name="connsiteX31" fmla="*/ 9970 w 10000"/>
              <a:gd name="connsiteY31" fmla="*/ 3885 h 8454"/>
              <a:gd name="connsiteX32" fmla="*/ 9952 w 10000"/>
              <a:gd name="connsiteY32" fmla="*/ 3826 h 8454"/>
              <a:gd name="connsiteX33" fmla="*/ 9931 w 10000"/>
              <a:gd name="connsiteY33" fmla="*/ 3764 h 8454"/>
              <a:gd name="connsiteX34" fmla="*/ 9907 w 10000"/>
              <a:gd name="connsiteY34" fmla="*/ 3702 h 8454"/>
              <a:gd name="connsiteX35" fmla="*/ 9895 w 10000"/>
              <a:gd name="connsiteY35" fmla="*/ 3672 h 8454"/>
              <a:gd name="connsiteX36" fmla="*/ 9880 w 10000"/>
              <a:gd name="connsiteY36" fmla="*/ 3645 h 8454"/>
              <a:gd name="connsiteX37" fmla="*/ 9867 w 10000"/>
              <a:gd name="connsiteY37" fmla="*/ 3616 h 8454"/>
              <a:gd name="connsiteX38" fmla="*/ 9846 w 10000"/>
              <a:gd name="connsiteY38" fmla="*/ 3586 h 8454"/>
              <a:gd name="connsiteX39" fmla="*/ 9816 w 10000"/>
              <a:gd name="connsiteY39" fmla="*/ 3529 h 8454"/>
              <a:gd name="connsiteX40" fmla="*/ 9777 w 10000"/>
              <a:gd name="connsiteY40" fmla="*/ 3484 h 8454"/>
              <a:gd name="connsiteX41" fmla="*/ 9735 w 10000"/>
              <a:gd name="connsiteY41" fmla="*/ 3430 h 8454"/>
              <a:gd name="connsiteX42" fmla="*/ 9687 w 10000"/>
              <a:gd name="connsiteY42" fmla="*/ 3384 h 8454"/>
              <a:gd name="connsiteX43" fmla="*/ 9645 w 10000"/>
              <a:gd name="connsiteY43" fmla="*/ 3336 h 8454"/>
              <a:gd name="connsiteX44" fmla="*/ 9590 w 10000"/>
              <a:gd name="connsiteY44" fmla="*/ 3287 h 8454"/>
              <a:gd name="connsiteX45" fmla="*/ 9545 w 10000"/>
              <a:gd name="connsiteY45" fmla="*/ 3244 h 8454"/>
              <a:gd name="connsiteX46" fmla="*/ 9491 w 10000"/>
              <a:gd name="connsiteY46" fmla="*/ 3206 h 8454"/>
              <a:gd name="connsiteX47" fmla="*/ 9437 w 10000"/>
              <a:gd name="connsiteY47" fmla="*/ 3163 h 8454"/>
              <a:gd name="connsiteX48" fmla="*/ 9386 w 10000"/>
              <a:gd name="connsiteY48" fmla="*/ 3126 h 8454"/>
              <a:gd name="connsiteX49" fmla="*/ 9325 w 10000"/>
              <a:gd name="connsiteY49" fmla="*/ 3093 h 8454"/>
              <a:gd name="connsiteX50" fmla="*/ 9274 w 10000"/>
              <a:gd name="connsiteY50" fmla="*/ 3061 h 8454"/>
              <a:gd name="connsiteX51" fmla="*/ 9214 w 10000"/>
              <a:gd name="connsiteY51" fmla="*/ 3021 h 8454"/>
              <a:gd name="connsiteX52" fmla="*/ 9157 w 10000"/>
              <a:gd name="connsiteY52" fmla="*/ 2994 h 8454"/>
              <a:gd name="connsiteX53" fmla="*/ 3147 w 10000"/>
              <a:gd name="connsiteY53" fmla="*/ 0 h 8454"/>
              <a:gd name="connsiteX54" fmla="*/ 1031 w 10000"/>
              <a:gd name="connsiteY54" fmla="*/ 24 h 8454"/>
              <a:gd name="connsiteX0" fmla="*/ 1031 w 10000"/>
              <a:gd name="connsiteY0" fmla="*/ 28 h 10000"/>
              <a:gd name="connsiteX1" fmla="*/ 0 w 10000"/>
              <a:gd name="connsiteY1" fmla="*/ 10000 h 10000"/>
              <a:gd name="connsiteX2" fmla="*/ 9081 w 10000"/>
              <a:gd name="connsiteY2" fmla="*/ 6328 h 10000"/>
              <a:gd name="connsiteX3" fmla="*/ 9151 w 10000"/>
              <a:gd name="connsiteY3" fmla="*/ 6299 h 10000"/>
              <a:gd name="connsiteX4" fmla="*/ 9220 w 10000"/>
              <a:gd name="connsiteY4" fmla="*/ 6264 h 10000"/>
              <a:gd name="connsiteX5" fmla="*/ 9283 w 10000"/>
              <a:gd name="connsiteY5" fmla="*/ 6233 h 10000"/>
              <a:gd name="connsiteX6" fmla="*/ 9343 w 10000"/>
              <a:gd name="connsiteY6" fmla="*/ 6191 h 10000"/>
              <a:gd name="connsiteX7" fmla="*/ 9401 w 10000"/>
              <a:gd name="connsiteY7" fmla="*/ 6146 h 10000"/>
              <a:gd name="connsiteX8" fmla="*/ 9458 w 10000"/>
              <a:gd name="connsiteY8" fmla="*/ 6101 h 10000"/>
              <a:gd name="connsiteX9" fmla="*/ 9512 w 10000"/>
              <a:gd name="connsiteY9" fmla="*/ 6057 h 10000"/>
              <a:gd name="connsiteX10" fmla="*/ 9566 w 10000"/>
              <a:gd name="connsiteY10" fmla="*/ 6007 h 10000"/>
              <a:gd name="connsiteX11" fmla="*/ 9614 w 10000"/>
              <a:gd name="connsiteY11" fmla="*/ 5949 h 10000"/>
              <a:gd name="connsiteX12" fmla="*/ 9660 w 10000"/>
              <a:gd name="connsiteY12" fmla="*/ 5901 h 10000"/>
              <a:gd name="connsiteX13" fmla="*/ 9699 w 10000"/>
              <a:gd name="connsiteY13" fmla="*/ 5843 h 10000"/>
              <a:gd name="connsiteX14" fmla="*/ 9741 w 10000"/>
              <a:gd name="connsiteY14" fmla="*/ 5783 h 10000"/>
              <a:gd name="connsiteX15" fmla="*/ 9777 w 10000"/>
              <a:gd name="connsiteY15" fmla="*/ 5719 h 10000"/>
              <a:gd name="connsiteX16" fmla="*/ 9816 w 10000"/>
              <a:gd name="connsiteY16" fmla="*/ 5665 h 10000"/>
              <a:gd name="connsiteX17" fmla="*/ 9846 w 10000"/>
              <a:gd name="connsiteY17" fmla="*/ 5595 h 10000"/>
              <a:gd name="connsiteX18" fmla="*/ 9880 w 10000"/>
              <a:gd name="connsiteY18" fmla="*/ 5535 h 10000"/>
              <a:gd name="connsiteX19" fmla="*/ 9907 w 10000"/>
              <a:gd name="connsiteY19" fmla="*/ 5468 h 10000"/>
              <a:gd name="connsiteX20" fmla="*/ 9928 w 10000"/>
              <a:gd name="connsiteY20" fmla="*/ 5395 h 10000"/>
              <a:gd name="connsiteX21" fmla="*/ 9949 w 10000"/>
              <a:gd name="connsiteY21" fmla="*/ 5328 h 10000"/>
              <a:gd name="connsiteX22" fmla="*/ 9964 w 10000"/>
              <a:gd name="connsiteY22" fmla="*/ 5261 h 10000"/>
              <a:gd name="connsiteX23" fmla="*/ 9979 w 10000"/>
              <a:gd name="connsiteY23" fmla="*/ 5188 h 10000"/>
              <a:gd name="connsiteX24" fmla="*/ 9991 w 10000"/>
              <a:gd name="connsiteY24" fmla="*/ 5115 h 10000"/>
              <a:gd name="connsiteX25" fmla="*/ 9994 w 10000"/>
              <a:gd name="connsiteY25" fmla="*/ 5041 h 10000"/>
              <a:gd name="connsiteX26" fmla="*/ 10000 w 10000"/>
              <a:gd name="connsiteY26" fmla="*/ 4968 h 10000"/>
              <a:gd name="connsiteX27" fmla="*/ 10000 w 10000"/>
              <a:gd name="connsiteY27" fmla="*/ 4895 h 10000"/>
              <a:gd name="connsiteX28" fmla="*/ 10000 w 10000"/>
              <a:gd name="connsiteY28" fmla="*/ 4821 h 10000"/>
              <a:gd name="connsiteX29" fmla="*/ 9994 w 10000"/>
              <a:gd name="connsiteY29" fmla="*/ 4748 h 10000"/>
              <a:gd name="connsiteX30" fmla="*/ 9985 w 10000"/>
              <a:gd name="connsiteY30" fmla="*/ 4675 h 10000"/>
              <a:gd name="connsiteX31" fmla="*/ 9970 w 10000"/>
              <a:gd name="connsiteY31" fmla="*/ 4595 h 10000"/>
              <a:gd name="connsiteX32" fmla="*/ 9952 w 10000"/>
              <a:gd name="connsiteY32" fmla="*/ 4526 h 10000"/>
              <a:gd name="connsiteX33" fmla="*/ 9931 w 10000"/>
              <a:gd name="connsiteY33" fmla="*/ 4452 h 10000"/>
              <a:gd name="connsiteX34" fmla="*/ 9907 w 10000"/>
              <a:gd name="connsiteY34" fmla="*/ 4379 h 10000"/>
              <a:gd name="connsiteX35" fmla="*/ 9895 w 10000"/>
              <a:gd name="connsiteY35" fmla="*/ 4344 h 10000"/>
              <a:gd name="connsiteX36" fmla="*/ 9880 w 10000"/>
              <a:gd name="connsiteY36" fmla="*/ 4312 h 10000"/>
              <a:gd name="connsiteX37" fmla="*/ 9867 w 10000"/>
              <a:gd name="connsiteY37" fmla="*/ 4277 h 10000"/>
              <a:gd name="connsiteX38" fmla="*/ 9846 w 10000"/>
              <a:gd name="connsiteY38" fmla="*/ 4242 h 10000"/>
              <a:gd name="connsiteX39" fmla="*/ 9816 w 10000"/>
              <a:gd name="connsiteY39" fmla="*/ 4174 h 10000"/>
              <a:gd name="connsiteX40" fmla="*/ 9777 w 10000"/>
              <a:gd name="connsiteY40" fmla="*/ 4121 h 10000"/>
              <a:gd name="connsiteX41" fmla="*/ 9735 w 10000"/>
              <a:gd name="connsiteY41" fmla="*/ 4057 h 10000"/>
              <a:gd name="connsiteX42" fmla="*/ 9687 w 10000"/>
              <a:gd name="connsiteY42" fmla="*/ 4003 h 10000"/>
              <a:gd name="connsiteX43" fmla="*/ 9645 w 10000"/>
              <a:gd name="connsiteY43" fmla="*/ 3946 h 10000"/>
              <a:gd name="connsiteX44" fmla="*/ 9590 w 10000"/>
              <a:gd name="connsiteY44" fmla="*/ 3888 h 10000"/>
              <a:gd name="connsiteX45" fmla="*/ 9545 w 10000"/>
              <a:gd name="connsiteY45" fmla="*/ 3837 h 10000"/>
              <a:gd name="connsiteX46" fmla="*/ 9491 w 10000"/>
              <a:gd name="connsiteY46" fmla="*/ 3792 h 10000"/>
              <a:gd name="connsiteX47" fmla="*/ 9437 w 10000"/>
              <a:gd name="connsiteY47" fmla="*/ 3741 h 10000"/>
              <a:gd name="connsiteX48" fmla="*/ 9386 w 10000"/>
              <a:gd name="connsiteY48" fmla="*/ 3698 h 10000"/>
              <a:gd name="connsiteX49" fmla="*/ 9325 w 10000"/>
              <a:gd name="connsiteY49" fmla="*/ 3659 h 10000"/>
              <a:gd name="connsiteX50" fmla="*/ 9274 w 10000"/>
              <a:gd name="connsiteY50" fmla="*/ 3621 h 10000"/>
              <a:gd name="connsiteX51" fmla="*/ 9214 w 10000"/>
              <a:gd name="connsiteY51" fmla="*/ 3573 h 10000"/>
              <a:gd name="connsiteX52" fmla="*/ 9157 w 10000"/>
              <a:gd name="connsiteY52" fmla="*/ 3542 h 10000"/>
              <a:gd name="connsiteX53" fmla="*/ 3147 w 10000"/>
              <a:gd name="connsiteY53" fmla="*/ 0 h 10000"/>
              <a:gd name="connsiteX54" fmla="*/ 1031 w 10000"/>
              <a:gd name="connsiteY54" fmla="*/ 28 h 10000"/>
              <a:gd name="connsiteX0" fmla="*/ 1031 w 10000"/>
              <a:gd name="connsiteY0" fmla="*/ 16 h 10000"/>
              <a:gd name="connsiteX1" fmla="*/ 0 w 10000"/>
              <a:gd name="connsiteY1" fmla="*/ 10000 h 10000"/>
              <a:gd name="connsiteX2" fmla="*/ 9081 w 10000"/>
              <a:gd name="connsiteY2" fmla="*/ 6328 h 10000"/>
              <a:gd name="connsiteX3" fmla="*/ 9151 w 10000"/>
              <a:gd name="connsiteY3" fmla="*/ 6299 h 10000"/>
              <a:gd name="connsiteX4" fmla="*/ 9220 w 10000"/>
              <a:gd name="connsiteY4" fmla="*/ 6264 h 10000"/>
              <a:gd name="connsiteX5" fmla="*/ 9283 w 10000"/>
              <a:gd name="connsiteY5" fmla="*/ 6233 h 10000"/>
              <a:gd name="connsiteX6" fmla="*/ 9343 w 10000"/>
              <a:gd name="connsiteY6" fmla="*/ 6191 h 10000"/>
              <a:gd name="connsiteX7" fmla="*/ 9401 w 10000"/>
              <a:gd name="connsiteY7" fmla="*/ 6146 h 10000"/>
              <a:gd name="connsiteX8" fmla="*/ 9458 w 10000"/>
              <a:gd name="connsiteY8" fmla="*/ 6101 h 10000"/>
              <a:gd name="connsiteX9" fmla="*/ 9512 w 10000"/>
              <a:gd name="connsiteY9" fmla="*/ 6057 h 10000"/>
              <a:gd name="connsiteX10" fmla="*/ 9566 w 10000"/>
              <a:gd name="connsiteY10" fmla="*/ 6007 h 10000"/>
              <a:gd name="connsiteX11" fmla="*/ 9614 w 10000"/>
              <a:gd name="connsiteY11" fmla="*/ 5949 h 10000"/>
              <a:gd name="connsiteX12" fmla="*/ 9660 w 10000"/>
              <a:gd name="connsiteY12" fmla="*/ 5901 h 10000"/>
              <a:gd name="connsiteX13" fmla="*/ 9699 w 10000"/>
              <a:gd name="connsiteY13" fmla="*/ 5843 h 10000"/>
              <a:gd name="connsiteX14" fmla="*/ 9741 w 10000"/>
              <a:gd name="connsiteY14" fmla="*/ 5783 h 10000"/>
              <a:gd name="connsiteX15" fmla="*/ 9777 w 10000"/>
              <a:gd name="connsiteY15" fmla="*/ 5719 h 10000"/>
              <a:gd name="connsiteX16" fmla="*/ 9816 w 10000"/>
              <a:gd name="connsiteY16" fmla="*/ 5665 h 10000"/>
              <a:gd name="connsiteX17" fmla="*/ 9846 w 10000"/>
              <a:gd name="connsiteY17" fmla="*/ 5595 h 10000"/>
              <a:gd name="connsiteX18" fmla="*/ 9880 w 10000"/>
              <a:gd name="connsiteY18" fmla="*/ 5535 h 10000"/>
              <a:gd name="connsiteX19" fmla="*/ 9907 w 10000"/>
              <a:gd name="connsiteY19" fmla="*/ 5468 h 10000"/>
              <a:gd name="connsiteX20" fmla="*/ 9928 w 10000"/>
              <a:gd name="connsiteY20" fmla="*/ 5395 h 10000"/>
              <a:gd name="connsiteX21" fmla="*/ 9949 w 10000"/>
              <a:gd name="connsiteY21" fmla="*/ 5328 h 10000"/>
              <a:gd name="connsiteX22" fmla="*/ 9964 w 10000"/>
              <a:gd name="connsiteY22" fmla="*/ 5261 h 10000"/>
              <a:gd name="connsiteX23" fmla="*/ 9979 w 10000"/>
              <a:gd name="connsiteY23" fmla="*/ 5188 h 10000"/>
              <a:gd name="connsiteX24" fmla="*/ 9991 w 10000"/>
              <a:gd name="connsiteY24" fmla="*/ 5115 h 10000"/>
              <a:gd name="connsiteX25" fmla="*/ 9994 w 10000"/>
              <a:gd name="connsiteY25" fmla="*/ 5041 h 10000"/>
              <a:gd name="connsiteX26" fmla="*/ 10000 w 10000"/>
              <a:gd name="connsiteY26" fmla="*/ 4968 h 10000"/>
              <a:gd name="connsiteX27" fmla="*/ 10000 w 10000"/>
              <a:gd name="connsiteY27" fmla="*/ 4895 h 10000"/>
              <a:gd name="connsiteX28" fmla="*/ 10000 w 10000"/>
              <a:gd name="connsiteY28" fmla="*/ 4821 h 10000"/>
              <a:gd name="connsiteX29" fmla="*/ 9994 w 10000"/>
              <a:gd name="connsiteY29" fmla="*/ 4748 h 10000"/>
              <a:gd name="connsiteX30" fmla="*/ 9985 w 10000"/>
              <a:gd name="connsiteY30" fmla="*/ 4675 h 10000"/>
              <a:gd name="connsiteX31" fmla="*/ 9970 w 10000"/>
              <a:gd name="connsiteY31" fmla="*/ 4595 h 10000"/>
              <a:gd name="connsiteX32" fmla="*/ 9952 w 10000"/>
              <a:gd name="connsiteY32" fmla="*/ 4526 h 10000"/>
              <a:gd name="connsiteX33" fmla="*/ 9931 w 10000"/>
              <a:gd name="connsiteY33" fmla="*/ 4452 h 10000"/>
              <a:gd name="connsiteX34" fmla="*/ 9907 w 10000"/>
              <a:gd name="connsiteY34" fmla="*/ 4379 h 10000"/>
              <a:gd name="connsiteX35" fmla="*/ 9895 w 10000"/>
              <a:gd name="connsiteY35" fmla="*/ 4344 h 10000"/>
              <a:gd name="connsiteX36" fmla="*/ 9880 w 10000"/>
              <a:gd name="connsiteY36" fmla="*/ 4312 h 10000"/>
              <a:gd name="connsiteX37" fmla="*/ 9867 w 10000"/>
              <a:gd name="connsiteY37" fmla="*/ 4277 h 10000"/>
              <a:gd name="connsiteX38" fmla="*/ 9846 w 10000"/>
              <a:gd name="connsiteY38" fmla="*/ 4242 h 10000"/>
              <a:gd name="connsiteX39" fmla="*/ 9816 w 10000"/>
              <a:gd name="connsiteY39" fmla="*/ 4174 h 10000"/>
              <a:gd name="connsiteX40" fmla="*/ 9777 w 10000"/>
              <a:gd name="connsiteY40" fmla="*/ 4121 h 10000"/>
              <a:gd name="connsiteX41" fmla="*/ 9735 w 10000"/>
              <a:gd name="connsiteY41" fmla="*/ 4057 h 10000"/>
              <a:gd name="connsiteX42" fmla="*/ 9687 w 10000"/>
              <a:gd name="connsiteY42" fmla="*/ 4003 h 10000"/>
              <a:gd name="connsiteX43" fmla="*/ 9645 w 10000"/>
              <a:gd name="connsiteY43" fmla="*/ 3946 h 10000"/>
              <a:gd name="connsiteX44" fmla="*/ 9590 w 10000"/>
              <a:gd name="connsiteY44" fmla="*/ 3888 h 10000"/>
              <a:gd name="connsiteX45" fmla="*/ 9545 w 10000"/>
              <a:gd name="connsiteY45" fmla="*/ 3837 h 10000"/>
              <a:gd name="connsiteX46" fmla="*/ 9491 w 10000"/>
              <a:gd name="connsiteY46" fmla="*/ 3792 h 10000"/>
              <a:gd name="connsiteX47" fmla="*/ 9437 w 10000"/>
              <a:gd name="connsiteY47" fmla="*/ 3741 h 10000"/>
              <a:gd name="connsiteX48" fmla="*/ 9386 w 10000"/>
              <a:gd name="connsiteY48" fmla="*/ 3698 h 10000"/>
              <a:gd name="connsiteX49" fmla="*/ 9325 w 10000"/>
              <a:gd name="connsiteY49" fmla="*/ 3659 h 10000"/>
              <a:gd name="connsiteX50" fmla="*/ 9274 w 10000"/>
              <a:gd name="connsiteY50" fmla="*/ 3621 h 10000"/>
              <a:gd name="connsiteX51" fmla="*/ 9214 w 10000"/>
              <a:gd name="connsiteY51" fmla="*/ 3573 h 10000"/>
              <a:gd name="connsiteX52" fmla="*/ 9157 w 10000"/>
              <a:gd name="connsiteY52" fmla="*/ 3542 h 10000"/>
              <a:gd name="connsiteX53" fmla="*/ 3147 w 10000"/>
              <a:gd name="connsiteY53" fmla="*/ 0 h 10000"/>
              <a:gd name="connsiteX54" fmla="*/ 1031 w 10000"/>
              <a:gd name="connsiteY54" fmla="*/ 16 h 10000"/>
              <a:gd name="connsiteX0" fmla="*/ 1031 w 10000"/>
              <a:gd name="connsiteY0" fmla="*/ 16 h 10000"/>
              <a:gd name="connsiteX1" fmla="*/ 0 w 10000"/>
              <a:gd name="connsiteY1" fmla="*/ 10000 h 10000"/>
              <a:gd name="connsiteX2" fmla="*/ 1005 w 10000"/>
              <a:gd name="connsiteY2" fmla="*/ 9560 h 10000"/>
              <a:gd name="connsiteX3" fmla="*/ 9081 w 10000"/>
              <a:gd name="connsiteY3" fmla="*/ 6328 h 10000"/>
              <a:gd name="connsiteX4" fmla="*/ 9151 w 10000"/>
              <a:gd name="connsiteY4" fmla="*/ 6299 h 10000"/>
              <a:gd name="connsiteX5" fmla="*/ 9220 w 10000"/>
              <a:gd name="connsiteY5" fmla="*/ 6264 h 10000"/>
              <a:gd name="connsiteX6" fmla="*/ 9283 w 10000"/>
              <a:gd name="connsiteY6" fmla="*/ 6233 h 10000"/>
              <a:gd name="connsiteX7" fmla="*/ 9343 w 10000"/>
              <a:gd name="connsiteY7" fmla="*/ 6191 h 10000"/>
              <a:gd name="connsiteX8" fmla="*/ 9401 w 10000"/>
              <a:gd name="connsiteY8" fmla="*/ 6146 h 10000"/>
              <a:gd name="connsiteX9" fmla="*/ 9458 w 10000"/>
              <a:gd name="connsiteY9" fmla="*/ 6101 h 10000"/>
              <a:gd name="connsiteX10" fmla="*/ 9512 w 10000"/>
              <a:gd name="connsiteY10" fmla="*/ 6057 h 10000"/>
              <a:gd name="connsiteX11" fmla="*/ 9566 w 10000"/>
              <a:gd name="connsiteY11" fmla="*/ 6007 h 10000"/>
              <a:gd name="connsiteX12" fmla="*/ 9614 w 10000"/>
              <a:gd name="connsiteY12" fmla="*/ 5949 h 10000"/>
              <a:gd name="connsiteX13" fmla="*/ 9660 w 10000"/>
              <a:gd name="connsiteY13" fmla="*/ 5901 h 10000"/>
              <a:gd name="connsiteX14" fmla="*/ 9699 w 10000"/>
              <a:gd name="connsiteY14" fmla="*/ 5843 h 10000"/>
              <a:gd name="connsiteX15" fmla="*/ 9741 w 10000"/>
              <a:gd name="connsiteY15" fmla="*/ 5783 h 10000"/>
              <a:gd name="connsiteX16" fmla="*/ 9777 w 10000"/>
              <a:gd name="connsiteY16" fmla="*/ 5719 h 10000"/>
              <a:gd name="connsiteX17" fmla="*/ 9816 w 10000"/>
              <a:gd name="connsiteY17" fmla="*/ 5665 h 10000"/>
              <a:gd name="connsiteX18" fmla="*/ 9846 w 10000"/>
              <a:gd name="connsiteY18" fmla="*/ 5595 h 10000"/>
              <a:gd name="connsiteX19" fmla="*/ 9880 w 10000"/>
              <a:gd name="connsiteY19" fmla="*/ 5535 h 10000"/>
              <a:gd name="connsiteX20" fmla="*/ 9907 w 10000"/>
              <a:gd name="connsiteY20" fmla="*/ 5468 h 10000"/>
              <a:gd name="connsiteX21" fmla="*/ 9928 w 10000"/>
              <a:gd name="connsiteY21" fmla="*/ 5395 h 10000"/>
              <a:gd name="connsiteX22" fmla="*/ 9949 w 10000"/>
              <a:gd name="connsiteY22" fmla="*/ 5328 h 10000"/>
              <a:gd name="connsiteX23" fmla="*/ 9964 w 10000"/>
              <a:gd name="connsiteY23" fmla="*/ 5261 h 10000"/>
              <a:gd name="connsiteX24" fmla="*/ 9979 w 10000"/>
              <a:gd name="connsiteY24" fmla="*/ 5188 h 10000"/>
              <a:gd name="connsiteX25" fmla="*/ 9991 w 10000"/>
              <a:gd name="connsiteY25" fmla="*/ 5115 h 10000"/>
              <a:gd name="connsiteX26" fmla="*/ 9994 w 10000"/>
              <a:gd name="connsiteY26" fmla="*/ 5041 h 10000"/>
              <a:gd name="connsiteX27" fmla="*/ 10000 w 10000"/>
              <a:gd name="connsiteY27" fmla="*/ 4968 h 10000"/>
              <a:gd name="connsiteX28" fmla="*/ 10000 w 10000"/>
              <a:gd name="connsiteY28" fmla="*/ 4895 h 10000"/>
              <a:gd name="connsiteX29" fmla="*/ 10000 w 10000"/>
              <a:gd name="connsiteY29" fmla="*/ 4821 h 10000"/>
              <a:gd name="connsiteX30" fmla="*/ 9994 w 10000"/>
              <a:gd name="connsiteY30" fmla="*/ 4748 h 10000"/>
              <a:gd name="connsiteX31" fmla="*/ 9985 w 10000"/>
              <a:gd name="connsiteY31" fmla="*/ 4675 h 10000"/>
              <a:gd name="connsiteX32" fmla="*/ 9970 w 10000"/>
              <a:gd name="connsiteY32" fmla="*/ 4595 h 10000"/>
              <a:gd name="connsiteX33" fmla="*/ 9952 w 10000"/>
              <a:gd name="connsiteY33" fmla="*/ 4526 h 10000"/>
              <a:gd name="connsiteX34" fmla="*/ 9931 w 10000"/>
              <a:gd name="connsiteY34" fmla="*/ 4452 h 10000"/>
              <a:gd name="connsiteX35" fmla="*/ 9907 w 10000"/>
              <a:gd name="connsiteY35" fmla="*/ 4379 h 10000"/>
              <a:gd name="connsiteX36" fmla="*/ 9895 w 10000"/>
              <a:gd name="connsiteY36" fmla="*/ 4344 h 10000"/>
              <a:gd name="connsiteX37" fmla="*/ 9880 w 10000"/>
              <a:gd name="connsiteY37" fmla="*/ 4312 h 10000"/>
              <a:gd name="connsiteX38" fmla="*/ 9867 w 10000"/>
              <a:gd name="connsiteY38" fmla="*/ 4277 h 10000"/>
              <a:gd name="connsiteX39" fmla="*/ 9846 w 10000"/>
              <a:gd name="connsiteY39" fmla="*/ 4242 h 10000"/>
              <a:gd name="connsiteX40" fmla="*/ 9816 w 10000"/>
              <a:gd name="connsiteY40" fmla="*/ 4174 h 10000"/>
              <a:gd name="connsiteX41" fmla="*/ 9777 w 10000"/>
              <a:gd name="connsiteY41" fmla="*/ 4121 h 10000"/>
              <a:gd name="connsiteX42" fmla="*/ 9735 w 10000"/>
              <a:gd name="connsiteY42" fmla="*/ 4057 h 10000"/>
              <a:gd name="connsiteX43" fmla="*/ 9687 w 10000"/>
              <a:gd name="connsiteY43" fmla="*/ 4003 h 10000"/>
              <a:gd name="connsiteX44" fmla="*/ 9645 w 10000"/>
              <a:gd name="connsiteY44" fmla="*/ 3946 h 10000"/>
              <a:gd name="connsiteX45" fmla="*/ 9590 w 10000"/>
              <a:gd name="connsiteY45" fmla="*/ 3888 h 10000"/>
              <a:gd name="connsiteX46" fmla="*/ 9545 w 10000"/>
              <a:gd name="connsiteY46" fmla="*/ 3837 h 10000"/>
              <a:gd name="connsiteX47" fmla="*/ 9491 w 10000"/>
              <a:gd name="connsiteY47" fmla="*/ 3792 h 10000"/>
              <a:gd name="connsiteX48" fmla="*/ 9437 w 10000"/>
              <a:gd name="connsiteY48" fmla="*/ 3741 h 10000"/>
              <a:gd name="connsiteX49" fmla="*/ 9386 w 10000"/>
              <a:gd name="connsiteY49" fmla="*/ 3698 h 10000"/>
              <a:gd name="connsiteX50" fmla="*/ 9325 w 10000"/>
              <a:gd name="connsiteY50" fmla="*/ 3659 h 10000"/>
              <a:gd name="connsiteX51" fmla="*/ 9274 w 10000"/>
              <a:gd name="connsiteY51" fmla="*/ 3621 h 10000"/>
              <a:gd name="connsiteX52" fmla="*/ 9214 w 10000"/>
              <a:gd name="connsiteY52" fmla="*/ 3573 h 10000"/>
              <a:gd name="connsiteX53" fmla="*/ 9157 w 10000"/>
              <a:gd name="connsiteY53" fmla="*/ 3542 h 10000"/>
              <a:gd name="connsiteX54" fmla="*/ 3147 w 10000"/>
              <a:gd name="connsiteY54" fmla="*/ 0 h 10000"/>
              <a:gd name="connsiteX55" fmla="*/ 1031 w 10000"/>
              <a:gd name="connsiteY55" fmla="*/ 16 h 10000"/>
              <a:gd name="connsiteX0" fmla="*/ 26 w 8995"/>
              <a:gd name="connsiteY0" fmla="*/ 16 h 9560"/>
              <a:gd name="connsiteX1" fmla="*/ 0 w 8995"/>
              <a:gd name="connsiteY1" fmla="*/ 9560 h 9560"/>
              <a:gd name="connsiteX2" fmla="*/ 8076 w 8995"/>
              <a:gd name="connsiteY2" fmla="*/ 6328 h 9560"/>
              <a:gd name="connsiteX3" fmla="*/ 8146 w 8995"/>
              <a:gd name="connsiteY3" fmla="*/ 6299 h 9560"/>
              <a:gd name="connsiteX4" fmla="*/ 8215 w 8995"/>
              <a:gd name="connsiteY4" fmla="*/ 6264 h 9560"/>
              <a:gd name="connsiteX5" fmla="*/ 8278 w 8995"/>
              <a:gd name="connsiteY5" fmla="*/ 6233 h 9560"/>
              <a:gd name="connsiteX6" fmla="*/ 8338 w 8995"/>
              <a:gd name="connsiteY6" fmla="*/ 6191 h 9560"/>
              <a:gd name="connsiteX7" fmla="*/ 8396 w 8995"/>
              <a:gd name="connsiteY7" fmla="*/ 6146 h 9560"/>
              <a:gd name="connsiteX8" fmla="*/ 8453 w 8995"/>
              <a:gd name="connsiteY8" fmla="*/ 6101 h 9560"/>
              <a:gd name="connsiteX9" fmla="*/ 8507 w 8995"/>
              <a:gd name="connsiteY9" fmla="*/ 6057 h 9560"/>
              <a:gd name="connsiteX10" fmla="*/ 8561 w 8995"/>
              <a:gd name="connsiteY10" fmla="*/ 6007 h 9560"/>
              <a:gd name="connsiteX11" fmla="*/ 8609 w 8995"/>
              <a:gd name="connsiteY11" fmla="*/ 5949 h 9560"/>
              <a:gd name="connsiteX12" fmla="*/ 8655 w 8995"/>
              <a:gd name="connsiteY12" fmla="*/ 5901 h 9560"/>
              <a:gd name="connsiteX13" fmla="*/ 8694 w 8995"/>
              <a:gd name="connsiteY13" fmla="*/ 5843 h 9560"/>
              <a:gd name="connsiteX14" fmla="*/ 8736 w 8995"/>
              <a:gd name="connsiteY14" fmla="*/ 5783 h 9560"/>
              <a:gd name="connsiteX15" fmla="*/ 8772 w 8995"/>
              <a:gd name="connsiteY15" fmla="*/ 5719 h 9560"/>
              <a:gd name="connsiteX16" fmla="*/ 8811 w 8995"/>
              <a:gd name="connsiteY16" fmla="*/ 5665 h 9560"/>
              <a:gd name="connsiteX17" fmla="*/ 8841 w 8995"/>
              <a:gd name="connsiteY17" fmla="*/ 5595 h 9560"/>
              <a:gd name="connsiteX18" fmla="*/ 8875 w 8995"/>
              <a:gd name="connsiteY18" fmla="*/ 5535 h 9560"/>
              <a:gd name="connsiteX19" fmla="*/ 8902 w 8995"/>
              <a:gd name="connsiteY19" fmla="*/ 5468 h 9560"/>
              <a:gd name="connsiteX20" fmla="*/ 8923 w 8995"/>
              <a:gd name="connsiteY20" fmla="*/ 5395 h 9560"/>
              <a:gd name="connsiteX21" fmla="*/ 8944 w 8995"/>
              <a:gd name="connsiteY21" fmla="*/ 5328 h 9560"/>
              <a:gd name="connsiteX22" fmla="*/ 8959 w 8995"/>
              <a:gd name="connsiteY22" fmla="*/ 5261 h 9560"/>
              <a:gd name="connsiteX23" fmla="*/ 8974 w 8995"/>
              <a:gd name="connsiteY23" fmla="*/ 5188 h 9560"/>
              <a:gd name="connsiteX24" fmla="*/ 8986 w 8995"/>
              <a:gd name="connsiteY24" fmla="*/ 5115 h 9560"/>
              <a:gd name="connsiteX25" fmla="*/ 8989 w 8995"/>
              <a:gd name="connsiteY25" fmla="*/ 5041 h 9560"/>
              <a:gd name="connsiteX26" fmla="*/ 8995 w 8995"/>
              <a:gd name="connsiteY26" fmla="*/ 4968 h 9560"/>
              <a:gd name="connsiteX27" fmla="*/ 8995 w 8995"/>
              <a:gd name="connsiteY27" fmla="*/ 4895 h 9560"/>
              <a:gd name="connsiteX28" fmla="*/ 8995 w 8995"/>
              <a:gd name="connsiteY28" fmla="*/ 4821 h 9560"/>
              <a:gd name="connsiteX29" fmla="*/ 8989 w 8995"/>
              <a:gd name="connsiteY29" fmla="*/ 4748 h 9560"/>
              <a:gd name="connsiteX30" fmla="*/ 8980 w 8995"/>
              <a:gd name="connsiteY30" fmla="*/ 4675 h 9560"/>
              <a:gd name="connsiteX31" fmla="*/ 8965 w 8995"/>
              <a:gd name="connsiteY31" fmla="*/ 4595 h 9560"/>
              <a:gd name="connsiteX32" fmla="*/ 8947 w 8995"/>
              <a:gd name="connsiteY32" fmla="*/ 4526 h 9560"/>
              <a:gd name="connsiteX33" fmla="*/ 8926 w 8995"/>
              <a:gd name="connsiteY33" fmla="*/ 4452 h 9560"/>
              <a:gd name="connsiteX34" fmla="*/ 8902 w 8995"/>
              <a:gd name="connsiteY34" fmla="*/ 4379 h 9560"/>
              <a:gd name="connsiteX35" fmla="*/ 8890 w 8995"/>
              <a:gd name="connsiteY35" fmla="*/ 4344 h 9560"/>
              <a:gd name="connsiteX36" fmla="*/ 8875 w 8995"/>
              <a:gd name="connsiteY36" fmla="*/ 4312 h 9560"/>
              <a:gd name="connsiteX37" fmla="*/ 8862 w 8995"/>
              <a:gd name="connsiteY37" fmla="*/ 4277 h 9560"/>
              <a:gd name="connsiteX38" fmla="*/ 8841 w 8995"/>
              <a:gd name="connsiteY38" fmla="*/ 4242 h 9560"/>
              <a:gd name="connsiteX39" fmla="*/ 8811 w 8995"/>
              <a:gd name="connsiteY39" fmla="*/ 4174 h 9560"/>
              <a:gd name="connsiteX40" fmla="*/ 8772 w 8995"/>
              <a:gd name="connsiteY40" fmla="*/ 4121 h 9560"/>
              <a:gd name="connsiteX41" fmla="*/ 8730 w 8995"/>
              <a:gd name="connsiteY41" fmla="*/ 4057 h 9560"/>
              <a:gd name="connsiteX42" fmla="*/ 8682 w 8995"/>
              <a:gd name="connsiteY42" fmla="*/ 4003 h 9560"/>
              <a:gd name="connsiteX43" fmla="*/ 8640 w 8995"/>
              <a:gd name="connsiteY43" fmla="*/ 3946 h 9560"/>
              <a:gd name="connsiteX44" fmla="*/ 8585 w 8995"/>
              <a:gd name="connsiteY44" fmla="*/ 3888 h 9560"/>
              <a:gd name="connsiteX45" fmla="*/ 8540 w 8995"/>
              <a:gd name="connsiteY45" fmla="*/ 3837 h 9560"/>
              <a:gd name="connsiteX46" fmla="*/ 8486 w 8995"/>
              <a:gd name="connsiteY46" fmla="*/ 3792 h 9560"/>
              <a:gd name="connsiteX47" fmla="*/ 8432 w 8995"/>
              <a:gd name="connsiteY47" fmla="*/ 3741 h 9560"/>
              <a:gd name="connsiteX48" fmla="*/ 8381 w 8995"/>
              <a:gd name="connsiteY48" fmla="*/ 3698 h 9560"/>
              <a:gd name="connsiteX49" fmla="*/ 8320 w 8995"/>
              <a:gd name="connsiteY49" fmla="*/ 3659 h 9560"/>
              <a:gd name="connsiteX50" fmla="*/ 8269 w 8995"/>
              <a:gd name="connsiteY50" fmla="*/ 3621 h 9560"/>
              <a:gd name="connsiteX51" fmla="*/ 8209 w 8995"/>
              <a:gd name="connsiteY51" fmla="*/ 3573 h 9560"/>
              <a:gd name="connsiteX52" fmla="*/ 8152 w 8995"/>
              <a:gd name="connsiteY52" fmla="*/ 3542 h 9560"/>
              <a:gd name="connsiteX53" fmla="*/ 2142 w 8995"/>
              <a:gd name="connsiteY53" fmla="*/ 0 h 9560"/>
              <a:gd name="connsiteX54" fmla="*/ 26 w 8995"/>
              <a:gd name="connsiteY54" fmla="*/ 16 h 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995" h="9560">
                <a:moveTo>
                  <a:pt x="26" y="16"/>
                </a:moveTo>
                <a:cubicBezTo>
                  <a:pt x="17" y="3197"/>
                  <a:pt x="9" y="6379"/>
                  <a:pt x="0" y="9560"/>
                </a:cubicBezTo>
                <a:lnTo>
                  <a:pt x="8076" y="6328"/>
                </a:lnTo>
                <a:cubicBezTo>
                  <a:pt x="8099" y="6318"/>
                  <a:pt x="8123" y="6309"/>
                  <a:pt x="8146" y="6299"/>
                </a:cubicBezTo>
                <a:cubicBezTo>
                  <a:pt x="8169" y="6287"/>
                  <a:pt x="8192" y="6276"/>
                  <a:pt x="8215" y="6264"/>
                </a:cubicBezTo>
                <a:cubicBezTo>
                  <a:pt x="8236" y="6254"/>
                  <a:pt x="8257" y="6243"/>
                  <a:pt x="8278" y="6233"/>
                </a:cubicBezTo>
                <a:cubicBezTo>
                  <a:pt x="8298" y="6218"/>
                  <a:pt x="8318" y="6205"/>
                  <a:pt x="8338" y="6191"/>
                </a:cubicBezTo>
                <a:cubicBezTo>
                  <a:pt x="8357" y="6176"/>
                  <a:pt x="8377" y="6162"/>
                  <a:pt x="8396" y="6146"/>
                </a:cubicBezTo>
                <a:cubicBezTo>
                  <a:pt x="8415" y="6131"/>
                  <a:pt x="8434" y="6117"/>
                  <a:pt x="8453" y="6101"/>
                </a:cubicBezTo>
                <a:cubicBezTo>
                  <a:pt x="8471" y="6087"/>
                  <a:pt x="8489" y="6072"/>
                  <a:pt x="8507" y="6057"/>
                </a:cubicBezTo>
                <a:cubicBezTo>
                  <a:pt x="8525" y="6041"/>
                  <a:pt x="8543" y="6023"/>
                  <a:pt x="8561" y="6007"/>
                </a:cubicBezTo>
                <a:cubicBezTo>
                  <a:pt x="8577" y="5988"/>
                  <a:pt x="8593" y="5968"/>
                  <a:pt x="8609" y="5949"/>
                </a:cubicBezTo>
                <a:cubicBezTo>
                  <a:pt x="8624" y="5933"/>
                  <a:pt x="8640" y="5917"/>
                  <a:pt x="8655" y="5901"/>
                </a:cubicBezTo>
                <a:cubicBezTo>
                  <a:pt x="8668" y="5882"/>
                  <a:pt x="8681" y="5862"/>
                  <a:pt x="8694" y="5843"/>
                </a:cubicBezTo>
                <a:lnTo>
                  <a:pt x="8736" y="5783"/>
                </a:lnTo>
                <a:cubicBezTo>
                  <a:pt x="8748" y="5762"/>
                  <a:pt x="8760" y="5740"/>
                  <a:pt x="8772" y="5719"/>
                </a:cubicBezTo>
                <a:lnTo>
                  <a:pt x="8811" y="5665"/>
                </a:lnTo>
                <a:cubicBezTo>
                  <a:pt x="8821" y="5641"/>
                  <a:pt x="8831" y="5619"/>
                  <a:pt x="8841" y="5595"/>
                </a:cubicBezTo>
                <a:cubicBezTo>
                  <a:pt x="8852" y="5575"/>
                  <a:pt x="8864" y="5555"/>
                  <a:pt x="8875" y="5535"/>
                </a:cubicBezTo>
                <a:cubicBezTo>
                  <a:pt x="8884" y="5512"/>
                  <a:pt x="8893" y="5491"/>
                  <a:pt x="8902" y="5468"/>
                </a:cubicBezTo>
                <a:cubicBezTo>
                  <a:pt x="8909" y="5444"/>
                  <a:pt x="8916" y="5420"/>
                  <a:pt x="8923" y="5395"/>
                </a:cubicBezTo>
                <a:cubicBezTo>
                  <a:pt x="8930" y="5373"/>
                  <a:pt x="8937" y="5350"/>
                  <a:pt x="8944" y="5328"/>
                </a:cubicBezTo>
                <a:cubicBezTo>
                  <a:pt x="8949" y="5305"/>
                  <a:pt x="8954" y="5284"/>
                  <a:pt x="8959" y="5261"/>
                </a:cubicBezTo>
                <a:cubicBezTo>
                  <a:pt x="8964" y="5237"/>
                  <a:pt x="8969" y="5213"/>
                  <a:pt x="8974" y="5188"/>
                </a:cubicBezTo>
                <a:cubicBezTo>
                  <a:pt x="8978" y="5163"/>
                  <a:pt x="8982" y="5140"/>
                  <a:pt x="8986" y="5115"/>
                </a:cubicBezTo>
                <a:cubicBezTo>
                  <a:pt x="8987" y="5090"/>
                  <a:pt x="8988" y="5066"/>
                  <a:pt x="8989" y="5041"/>
                </a:cubicBezTo>
                <a:cubicBezTo>
                  <a:pt x="8991" y="5017"/>
                  <a:pt x="8993" y="4993"/>
                  <a:pt x="8995" y="4968"/>
                </a:cubicBezTo>
                <a:lnTo>
                  <a:pt x="8995" y="4895"/>
                </a:lnTo>
                <a:lnTo>
                  <a:pt x="8995" y="4821"/>
                </a:lnTo>
                <a:cubicBezTo>
                  <a:pt x="8993" y="4797"/>
                  <a:pt x="8991" y="4773"/>
                  <a:pt x="8989" y="4748"/>
                </a:cubicBezTo>
                <a:cubicBezTo>
                  <a:pt x="8986" y="4723"/>
                  <a:pt x="8983" y="4700"/>
                  <a:pt x="8980" y="4675"/>
                </a:cubicBezTo>
                <a:cubicBezTo>
                  <a:pt x="8975" y="4649"/>
                  <a:pt x="8970" y="4621"/>
                  <a:pt x="8965" y="4595"/>
                </a:cubicBezTo>
                <a:lnTo>
                  <a:pt x="8947" y="4526"/>
                </a:lnTo>
                <a:cubicBezTo>
                  <a:pt x="8940" y="4501"/>
                  <a:pt x="8933" y="4477"/>
                  <a:pt x="8926" y="4452"/>
                </a:cubicBezTo>
                <a:cubicBezTo>
                  <a:pt x="8918" y="4427"/>
                  <a:pt x="8910" y="4404"/>
                  <a:pt x="8902" y="4379"/>
                </a:cubicBezTo>
                <a:cubicBezTo>
                  <a:pt x="8898" y="4367"/>
                  <a:pt x="8894" y="4356"/>
                  <a:pt x="8890" y="4344"/>
                </a:cubicBezTo>
                <a:cubicBezTo>
                  <a:pt x="8885" y="4333"/>
                  <a:pt x="8880" y="4323"/>
                  <a:pt x="8875" y="4312"/>
                </a:cubicBezTo>
                <a:cubicBezTo>
                  <a:pt x="8871" y="4300"/>
                  <a:pt x="8866" y="4289"/>
                  <a:pt x="8862" y="4277"/>
                </a:cubicBezTo>
                <a:cubicBezTo>
                  <a:pt x="8855" y="4265"/>
                  <a:pt x="8848" y="4254"/>
                  <a:pt x="8841" y="4242"/>
                </a:cubicBezTo>
                <a:cubicBezTo>
                  <a:pt x="8831" y="4219"/>
                  <a:pt x="8821" y="4197"/>
                  <a:pt x="8811" y="4174"/>
                </a:cubicBezTo>
                <a:cubicBezTo>
                  <a:pt x="8798" y="4156"/>
                  <a:pt x="8785" y="4139"/>
                  <a:pt x="8772" y="4121"/>
                </a:cubicBezTo>
                <a:cubicBezTo>
                  <a:pt x="8758" y="4100"/>
                  <a:pt x="8744" y="4078"/>
                  <a:pt x="8730" y="4057"/>
                </a:cubicBezTo>
                <a:cubicBezTo>
                  <a:pt x="8714" y="4040"/>
                  <a:pt x="8698" y="4021"/>
                  <a:pt x="8682" y="4003"/>
                </a:cubicBezTo>
                <a:lnTo>
                  <a:pt x="8640" y="3946"/>
                </a:lnTo>
                <a:lnTo>
                  <a:pt x="8585" y="3888"/>
                </a:lnTo>
                <a:cubicBezTo>
                  <a:pt x="8570" y="3872"/>
                  <a:pt x="8555" y="3854"/>
                  <a:pt x="8540" y="3837"/>
                </a:cubicBezTo>
                <a:cubicBezTo>
                  <a:pt x="8522" y="3822"/>
                  <a:pt x="8504" y="3808"/>
                  <a:pt x="8486" y="3792"/>
                </a:cubicBezTo>
                <a:cubicBezTo>
                  <a:pt x="8468" y="3776"/>
                  <a:pt x="8450" y="3758"/>
                  <a:pt x="8432" y="3741"/>
                </a:cubicBezTo>
                <a:cubicBezTo>
                  <a:pt x="8415" y="3727"/>
                  <a:pt x="8398" y="3712"/>
                  <a:pt x="8381" y="3698"/>
                </a:cubicBezTo>
                <a:cubicBezTo>
                  <a:pt x="8361" y="3685"/>
                  <a:pt x="8340" y="3672"/>
                  <a:pt x="8320" y="3659"/>
                </a:cubicBezTo>
                <a:cubicBezTo>
                  <a:pt x="8303" y="3646"/>
                  <a:pt x="8286" y="3634"/>
                  <a:pt x="8269" y="3621"/>
                </a:cubicBezTo>
                <a:lnTo>
                  <a:pt x="8209" y="3573"/>
                </a:lnTo>
                <a:cubicBezTo>
                  <a:pt x="8190" y="3563"/>
                  <a:pt x="8171" y="3552"/>
                  <a:pt x="8152" y="3542"/>
                </a:cubicBezTo>
                <a:lnTo>
                  <a:pt x="2142" y="0"/>
                </a:lnTo>
                <a:lnTo>
                  <a:pt x="26" y="16"/>
                </a:lnTo>
                <a:close/>
              </a:path>
            </a:pathLst>
          </a:custGeom>
          <a:solidFill>
            <a:srgbClr val="005EB8">
              <a:alpha val="80000"/>
            </a:srgbClr>
          </a:solidFill>
          <a:ln>
            <a:noFill/>
          </a:ln>
        </p:spPr>
        <p:txBody>
          <a:bodyPr vert="horz" wrap="square" lIns="91440" tIns="45720" rIns="91440" bIns="45720" numCol="1" anchor="t" anchorCtr="0" compatLnSpc="1">
            <a:prstTxWarp prst="textNoShape">
              <a:avLst/>
            </a:prstTxWarp>
          </a:bodyPr>
          <a:lstStyle/>
          <a:p>
            <a:endParaRPr lang="fr-FR" dirty="0">
              <a:solidFill>
                <a:schemeClr val="bg1"/>
              </a:solidFill>
            </a:endParaRPr>
          </a:p>
        </p:txBody>
      </p:sp>
      <p:sp>
        <p:nvSpPr>
          <p:cNvPr id="17" name="Marcador de pie de página 16"/>
          <p:cNvSpPr>
            <a:spLocks noGrp="1"/>
          </p:cNvSpPr>
          <p:nvPr>
            <p:ph type="ftr" sz="quarter" idx="3"/>
          </p:nvPr>
        </p:nvSpPr>
        <p:spPr/>
        <p:txBody>
          <a:bodyPr/>
          <a:lstStyle/>
          <a:p>
            <a:r>
              <a:rPr lang="en-GB" dirty="0"/>
              <a:t>© Amadeus IT Group and its affiliates and subsidiaries</a:t>
            </a:r>
          </a:p>
        </p:txBody>
      </p:sp>
      <p:sp>
        <p:nvSpPr>
          <p:cNvPr id="31" name="Freeform 5"/>
          <p:cNvSpPr>
            <a:spLocks noEditPoints="1"/>
          </p:cNvSpPr>
          <p:nvPr/>
        </p:nvSpPr>
        <p:spPr bwMode="auto">
          <a:xfrm>
            <a:off x="10554900" y="410012"/>
            <a:ext cx="1267005" cy="175624"/>
          </a:xfrm>
          <a:custGeom>
            <a:avLst/>
            <a:gdLst>
              <a:gd name="T0" fmla="*/ 246 w 363"/>
              <a:gd name="T1" fmla="*/ 48 h 48"/>
              <a:gd name="T2" fmla="*/ 262 w 363"/>
              <a:gd name="T3" fmla="*/ 39 h 48"/>
              <a:gd name="T4" fmla="*/ 238 w 363"/>
              <a:gd name="T5" fmla="*/ 39 h 48"/>
              <a:gd name="T6" fmla="*/ 259 w 363"/>
              <a:gd name="T7" fmla="*/ 27 h 48"/>
              <a:gd name="T8" fmla="*/ 238 w 363"/>
              <a:gd name="T9" fmla="*/ 19 h 48"/>
              <a:gd name="T10" fmla="*/ 248 w 363"/>
              <a:gd name="T11" fmla="*/ 8 h 48"/>
              <a:gd name="T12" fmla="*/ 261 w 363"/>
              <a:gd name="T13" fmla="*/ 1 h 48"/>
              <a:gd name="T14" fmla="*/ 228 w 363"/>
              <a:gd name="T15" fmla="*/ 2 h 48"/>
              <a:gd name="T16" fmla="*/ 81 w 363"/>
              <a:gd name="T17" fmla="*/ 27 h 48"/>
              <a:gd name="T18" fmla="*/ 79 w 363"/>
              <a:gd name="T19" fmla="*/ 27 h 48"/>
              <a:gd name="T20" fmla="*/ 62 w 363"/>
              <a:gd name="T21" fmla="*/ 0 h 48"/>
              <a:gd name="T22" fmla="*/ 52 w 363"/>
              <a:gd name="T23" fmla="*/ 47 h 48"/>
              <a:gd name="T24" fmla="*/ 65 w 363"/>
              <a:gd name="T25" fmla="*/ 15 h 48"/>
              <a:gd name="T26" fmla="*/ 80 w 363"/>
              <a:gd name="T27" fmla="*/ 42 h 48"/>
              <a:gd name="T28" fmla="*/ 95 w 363"/>
              <a:gd name="T29" fmla="*/ 15 h 48"/>
              <a:gd name="T30" fmla="*/ 108 w 363"/>
              <a:gd name="T31" fmla="*/ 47 h 48"/>
              <a:gd name="T32" fmla="*/ 98 w 363"/>
              <a:gd name="T33" fmla="*/ 0 h 48"/>
              <a:gd name="T34" fmla="*/ 81 w 363"/>
              <a:gd name="T35" fmla="*/ 27 h 48"/>
              <a:gd name="T36" fmla="*/ 17 w 363"/>
              <a:gd name="T37" fmla="*/ 40 h 48"/>
              <a:gd name="T38" fmla="*/ 18 w 363"/>
              <a:gd name="T39" fmla="*/ 27 h 48"/>
              <a:gd name="T40" fmla="*/ 29 w 363"/>
              <a:gd name="T41" fmla="*/ 37 h 48"/>
              <a:gd name="T42" fmla="*/ 3 w 363"/>
              <a:gd name="T43" fmla="*/ 3 h 48"/>
              <a:gd name="T44" fmla="*/ 20 w 363"/>
              <a:gd name="T45" fmla="*/ 9 h 48"/>
              <a:gd name="T46" fmla="*/ 29 w 363"/>
              <a:gd name="T47" fmla="*/ 19 h 48"/>
              <a:gd name="T48" fmla="*/ 0 w 363"/>
              <a:gd name="T49" fmla="*/ 34 h 48"/>
              <a:gd name="T50" fmla="*/ 29 w 363"/>
              <a:gd name="T51" fmla="*/ 44 h 48"/>
              <a:gd name="T52" fmla="*/ 39 w 363"/>
              <a:gd name="T53" fmla="*/ 13 h 48"/>
              <a:gd name="T54" fmla="*/ 147 w 363"/>
              <a:gd name="T55" fmla="*/ 37 h 48"/>
              <a:gd name="T56" fmla="*/ 128 w 363"/>
              <a:gd name="T57" fmla="*/ 34 h 48"/>
              <a:gd name="T58" fmla="*/ 147 w 363"/>
              <a:gd name="T59" fmla="*/ 26 h 48"/>
              <a:gd name="T60" fmla="*/ 141 w 363"/>
              <a:gd name="T61" fmla="*/ 0 h 48"/>
              <a:gd name="T62" fmla="*/ 124 w 363"/>
              <a:gd name="T63" fmla="*/ 11 h 48"/>
              <a:gd name="T64" fmla="*/ 147 w 363"/>
              <a:gd name="T65" fmla="*/ 16 h 48"/>
              <a:gd name="T66" fmla="*/ 138 w 363"/>
              <a:gd name="T67" fmla="*/ 19 h 48"/>
              <a:gd name="T68" fmla="*/ 133 w 363"/>
              <a:gd name="T69" fmla="*/ 48 h 48"/>
              <a:gd name="T70" fmla="*/ 158 w 363"/>
              <a:gd name="T71" fmla="*/ 46 h 48"/>
              <a:gd name="T72" fmla="*/ 141 w 363"/>
              <a:gd name="T73" fmla="*/ 0 h 48"/>
              <a:gd name="T74" fmla="*/ 293 w 363"/>
              <a:gd name="T75" fmla="*/ 39 h 48"/>
              <a:gd name="T76" fmla="*/ 284 w 363"/>
              <a:gd name="T77" fmla="*/ 0 h 48"/>
              <a:gd name="T78" fmla="*/ 274 w 363"/>
              <a:gd name="T79" fmla="*/ 1 h 48"/>
              <a:gd name="T80" fmla="*/ 290 w 363"/>
              <a:gd name="T81" fmla="*/ 48 h 48"/>
              <a:gd name="T82" fmla="*/ 316 w 363"/>
              <a:gd name="T83" fmla="*/ 46 h 48"/>
              <a:gd name="T84" fmla="*/ 308 w 363"/>
              <a:gd name="T85" fmla="*/ 0 h 48"/>
              <a:gd name="T86" fmla="*/ 305 w 363"/>
              <a:gd name="T87" fmla="*/ 35 h 48"/>
              <a:gd name="T88" fmla="*/ 344 w 363"/>
              <a:gd name="T89" fmla="*/ 48 h 48"/>
              <a:gd name="T90" fmla="*/ 348 w 363"/>
              <a:gd name="T91" fmla="*/ 19 h 48"/>
              <a:gd name="T92" fmla="*/ 347 w 363"/>
              <a:gd name="T93" fmla="*/ 8 h 48"/>
              <a:gd name="T94" fmla="*/ 361 w 363"/>
              <a:gd name="T95" fmla="*/ 3 h 48"/>
              <a:gd name="T96" fmla="*/ 329 w 363"/>
              <a:gd name="T97" fmla="*/ 13 h 48"/>
              <a:gd name="T98" fmla="*/ 352 w 363"/>
              <a:gd name="T99" fmla="*/ 34 h 48"/>
              <a:gd name="T100" fmla="*/ 330 w 363"/>
              <a:gd name="T101" fmla="*/ 38 h 48"/>
              <a:gd name="T102" fmla="*/ 183 w 363"/>
              <a:gd name="T103" fmla="*/ 9 h 48"/>
              <a:gd name="T104" fmla="*/ 205 w 363"/>
              <a:gd name="T105" fmla="*/ 23 h 48"/>
              <a:gd name="T106" fmla="*/ 183 w 363"/>
              <a:gd name="T107" fmla="*/ 39 h 48"/>
              <a:gd name="T108" fmla="*/ 192 w 363"/>
              <a:gd name="T109" fmla="*/ 0 h 48"/>
              <a:gd name="T110" fmla="*/ 173 w 363"/>
              <a:gd name="T111" fmla="*/ 46 h 48"/>
              <a:gd name="T112" fmla="*/ 216 w 363"/>
              <a:gd name="T113"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3" h="48">
                <a:moveTo>
                  <a:pt x="228" y="46"/>
                </a:moveTo>
                <a:cubicBezTo>
                  <a:pt x="228" y="46"/>
                  <a:pt x="236" y="48"/>
                  <a:pt x="246" y="48"/>
                </a:cubicBezTo>
                <a:cubicBezTo>
                  <a:pt x="257" y="48"/>
                  <a:pt x="262" y="47"/>
                  <a:pt x="262" y="47"/>
                </a:cubicBezTo>
                <a:cubicBezTo>
                  <a:pt x="262" y="39"/>
                  <a:pt x="262" y="39"/>
                  <a:pt x="262" y="39"/>
                </a:cubicBezTo>
                <a:cubicBezTo>
                  <a:pt x="262" y="39"/>
                  <a:pt x="257" y="40"/>
                  <a:pt x="249" y="40"/>
                </a:cubicBezTo>
                <a:cubicBezTo>
                  <a:pt x="242" y="40"/>
                  <a:pt x="238" y="39"/>
                  <a:pt x="238" y="39"/>
                </a:cubicBezTo>
                <a:cubicBezTo>
                  <a:pt x="238" y="27"/>
                  <a:pt x="238" y="27"/>
                  <a:pt x="238" y="27"/>
                </a:cubicBezTo>
                <a:cubicBezTo>
                  <a:pt x="259" y="27"/>
                  <a:pt x="259" y="27"/>
                  <a:pt x="259" y="27"/>
                </a:cubicBezTo>
                <a:cubicBezTo>
                  <a:pt x="259" y="19"/>
                  <a:pt x="259" y="19"/>
                  <a:pt x="259" y="19"/>
                </a:cubicBezTo>
                <a:cubicBezTo>
                  <a:pt x="238" y="19"/>
                  <a:pt x="238" y="19"/>
                  <a:pt x="238" y="19"/>
                </a:cubicBezTo>
                <a:cubicBezTo>
                  <a:pt x="238" y="9"/>
                  <a:pt x="238" y="9"/>
                  <a:pt x="238" y="9"/>
                </a:cubicBezTo>
                <a:cubicBezTo>
                  <a:pt x="238" y="9"/>
                  <a:pt x="242" y="8"/>
                  <a:pt x="248" y="8"/>
                </a:cubicBezTo>
                <a:cubicBezTo>
                  <a:pt x="255" y="8"/>
                  <a:pt x="261" y="9"/>
                  <a:pt x="261" y="9"/>
                </a:cubicBezTo>
                <a:cubicBezTo>
                  <a:pt x="261" y="1"/>
                  <a:pt x="261" y="1"/>
                  <a:pt x="261" y="1"/>
                </a:cubicBezTo>
                <a:cubicBezTo>
                  <a:pt x="261" y="1"/>
                  <a:pt x="256" y="0"/>
                  <a:pt x="247" y="0"/>
                </a:cubicBezTo>
                <a:cubicBezTo>
                  <a:pt x="236" y="0"/>
                  <a:pt x="228" y="2"/>
                  <a:pt x="228" y="2"/>
                </a:cubicBezTo>
                <a:lnTo>
                  <a:pt x="228" y="46"/>
                </a:lnTo>
                <a:close/>
                <a:moveTo>
                  <a:pt x="81" y="27"/>
                </a:moveTo>
                <a:cubicBezTo>
                  <a:pt x="81" y="28"/>
                  <a:pt x="80" y="29"/>
                  <a:pt x="80" y="30"/>
                </a:cubicBezTo>
                <a:cubicBezTo>
                  <a:pt x="80" y="29"/>
                  <a:pt x="80" y="28"/>
                  <a:pt x="79" y="27"/>
                </a:cubicBezTo>
                <a:cubicBezTo>
                  <a:pt x="70" y="4"/>
                  <a:pt x="70" y="4"/>
                  <a:pt x="70" y="4"/>
                </a:cubicBezTo>
                <a:cubicBezTo>
                  <a:pt x="69" y="0"/>
                  <a:pt x="66" y="0"/>
                  <a:pt x="62" y="0"/>
                </a:cubicBezTo>
                <a:cubicBezTo>
                  <a:pt x="60" y="0"/>
                  <a:pt x="57" y="0"/>
                  <a:pt x="57" y="0"/>
                </a:cubicBezTo>
                <a:cubicBezTo>
                  <a:pt x="52" y="47"/>
                  <a:pt x="52" y="47"/>
                  <a:pt x="52" y="47"/>
                </a:cubicBezTo>
                <a:cubicBezTo>
                  <a:pt x="63" y="47"/>
                  <a:pt x="63" y="47"/>
                  <a:pt x="63" y="47"/>
                </a:cubicBezTo>
                <a:cubicBezTo>
                  <a:pt x="65" y="15"/>
                  <a:pt x="65" y="15"/>
                  <a:pt x="65" y="15"/>
                </a:cubicBezTo>
                <a:cubicBezTo>
                  <a:pt x="75" y="39"/>
                  <a:pt x="75" y="39"/>
                  <a:pt x="75" y="39"/>
                </a:cubicBezTo>
                <a:cubicBezTo>
                  <a:pt x="76" y="41"/>
                  <a:pt x="77" y="42"/>
                  <a:pt x="80" y="42"/>
                </a:cubicBezTo>
                <a:cubicBezTo>
                  <a:pt x="83" y="42"/>
                  <a:pt x="85" y="41"/>
                  <a:pt x="85" y="39"/>
                </a:cubicBezTo>
                <a:cubicBezTo>
                  <a:pt x="95" y="15"/>
                  <a:pt x="95" y="15"/>
                  <a:pt x="95" y="15"/>
                </a:cubicBezTo>
                <a:cubicBezTo>
                  <a:pt x="97" y="47"/>
                  <a:pt x="97" y="47"/>
                  <a:pt x="97" y="47"/>
                </a:cubicBezTo>
                <a:cubicBezTo>
                  <a:pt x="108" y="47"/>
                  <a:pt x="108" y="47"/>
                  <a:pt x="108" y="47"/>
                </a:cubicBezTo>
                <a:cubicBezTo>
                  <a:pt x="103" y="0"/>
                  <a:pt x="103" y="0"/>
                  <a:pt x="103" y="0"/>
                </a:cubicBezTo>
                <a:cubicBezTo>
                  <a:pt x="103" y="0"/>
                  <a:pt x="100" y="0"/>
                  <a:pt x="98" y="0"/>
                </a:cubicBezTo>
                <a:cubicBezTo>
                  <a:pt x="94" y="0"/>
                  <a:pt x="92" y="0"/>
                  <a:pt x="90" y="4"/>
                </a:cubicBezTo>
                <a:lnTo>
                  <a:pt x="81" y="27"/>
                </a:lnTo>
                <a:close/>
                <a:moveTo>
                  <a:pt x="29" y="37"/>
                </a:moveTo>
                <a:cubicBezTo>
                  <a:pt x="27" y="38"/>
                  <a:pt x="21" y="40"/>
                  <a:pt x="17" y="40"/>
                </a:cubicBezTo>
                <a:cubicBezTo>
                  <a:pt x="13" y="40"/>
                  <a:pt x="10" y="38"/>
                  <a:pt x="10" y="34"/>
                </a:cubicBezTo>
                <a:cubicBezTo>
                  <a:pt x="10" y="29"/>
                  <a:pt x="12" y="27"/>
                  <a:pt x="18" y="27"/>
                </a:cubicBezTo>
                <a:cubicBezTo>
                  <a:pt x="29" y="26"/>
                  <a:pt x="29" y="26"/>
                  <a:pt x="29" y="26"/>
                </a:cubicBezTo>
                <a:lnTo>
                  <a:pt x="29" y="37"/>
                </a:lnTo>
                <a:close/>
                <a:moveTo>
                  <a:pt x="23" y="0"/>
                </a:moveTo>
                <a:cubicBezTo>
                  <a:pt x="14" y="0"/>
                  <a:pt x="6" y="2"/>
                  <a:pt x="3" y="3"/>
                </a:cubicBezTo>
                <a:cubicBezTo>
                  <a:pt x="6" y="11"/>
                  <a:pt x="6" y="11"/>
                  <a:pt x="6" y="11"/>
                </a:cubicBezTo>
                <a:cubicBezTo>
                  <a:pt x="6" y="11"/>
                  <a:pt x="13" y="9"/>
                  <a:pt x="20" y="9"/>
                </a:cubicBezTo>
                <a:cubicBezTo>
                  <a:pt x="26" y="9"/>
                  <a:pt x="29" y="10"/>
                  <a:pt x="29" y="16"/>
                </a:cubicBezTo>
                <a:cubicBezTo>
                  <a:pt x="29" y="19"/>
                  <a:pt x="29" y="19"/>
                  <a:pt x="29" y="19"/>
                </a:cubicBezTo>
                <a:cubicBezTo>
                  <a:pt x="20" y="19"/>
                  <a:pt x="20" y="19"/>
                  <a:pt x="20" y="19"/>
                </a:cubicBezTo>
                <a:cubicBezTo>
                  <a:pt x="4" y="19"/>
                  <a:pt x="0" y="26"/>
                  <a:pt x="0" y="34"/>
                </a:cubicBezTo>
                <a:cubicBezTo>
                  <a:pt x="0" y="45"/>
                  <a:pt x="8" y="48"/>
                  <a:pt x="15" y="48"/>
                </a:cubicBezTo>
                <a:cubicBezTo>
                  <a:pt x="24" y="48"/>
                  <a:pt x="29" y="44"/>
                  <a:pt x="29" y="44"/>
                </a:cubicBezTo>
                <a:cubicBezTo>
                  <a:pt x="30" y="44"/>
                  <a:pt x="31" y="46"/>
                  <a:pt x="39" y="46"/>
                </a:cubicBezTo>
                <a:cubicBezTo>
                  <a:pt x="39" y="13"/>
                  <a:pt x="39" y="13"/>
                  <a:pt x="39" y="13"/>
                </a:cubicBezTo>
                <a:cubicBezTo>
                  <a:pt x="39" y="4"/>
                  <a:pt x="33" y="0"/>
                  <a:pt x="23" y="0"/>
                </a:cubicBezTo>
                <a:moveTo>
                  <a:pt x="147" y="37"/>
                </a:moveTo>
                <a:cubicBezTo>
                  <a:pt x="145" y="38"/>
                  <a:pt x="140" y="40"/>
                  <a:pt x="136" y="40"/>
                </a:cubicBezTo>
                <a:cubicBezTo>
                  <a:pt x="131" y="40"/>
                  <a:pt x="128" y="38"/>
                  <a:pt x="128" y="34"/>
                </a:cubicBezTo>
                <a:cubicBezTo>
                  <a:pt x="128" y="29"/>
                  <a:pt x="130" y="27"/>
                  <a:pt x="136" y="27"/>
                </a:cubicBezTo>
                <a:cubicBezTo>
                  <a:pt x="147" y="26"/>
                  <a:pt x="147" y="26"/>
                  <a:pt x="147" y="26"/>
                </a:cubicBezTo>
                <a:lnTo>
                  <a:pt x="147" y="37"/>
                </a:lnTo>
                <a:close/>
                <a:moveTo>
                  <a:pt x="141" y="0"/>
                </a:moveTo>
                <a:cubicBezTo>
                  <a:pt x="132" y="0"/>
                  <a:pt x="125" y="2"/>
                  <a:pt x="122" y="3"/>
                </a:cubicBezTo>
                <a:cubicBezTo>
                  <a:pt x="124" y="11"/>
                  <a:pt x="124" y="11"/>
                  <a:pt x="124" y="11"/>
                </a:cubicBezTo>
                <a:cubicBezTo>
                  <a:pt x="124" y="11"/>
                  <a:pt x="131" y="9"/>
                  <a:pt x="138" y="9"/>
                </a:cubicBezTo>
                <a:cubicBezTo>
                  <a:pt x="144" y="9"/>
                  <a:pt x="147" y="10"/>
                  <a:pt x="147" y="16"/>
                </a:cubicBezTo>
                <a:cubicBezTo>
                  <a:pt x="147" y="19"/>
                  <a:pt x="147" y="19"/>
                  <a:pt x="147" y="19"/>
                </a:cubicBezTo>
                <a:cubicBezTo>
                  <a:pt x="138" y="19"/>
                  <a:pt x="138" y="19"/>
                  <a:pt x="138" y="19"/>
                </a:cubicBezTo>
                <a:cubicBezTo>
                  <a:pt x="123" y="19"/>
                  <a:pt x="118" y="26"/>
                  <a:pt x="118" y="34"/>
                </a:cubicBezTo>
                <a:cubicBezTo>
                  <a:pt x="118" y="45"/>
                  <a:pt x="126" y="48"/>
                  <a:pt x="133" y="48"/>
                </a:cubicBezTo>
                <a:cubicBezTo>
                  <a:pt x="142" y="48"/>
                  <a:pt x="147" y="44"/>
                  <a:pt x="148" y="44"/>
                </a:cubicBezTo>
                <a:cubicBezTo>
                  <a:pt x="148" y="44"/>
                  <a:pt x="150" y="46"/>
                  <a:pt x="158" y="46"/>
                </a:cubicBezTo>
                <a:cubicBezTo>
                  <a:pt x="158" y="13"/>
                  <a:pt x="158" y="13"/>
                  <a:pt x="158" y="13"/>
                </a:cubicBezTo>
                <a:cubicBezTo>
                  <a:pt x="158" y="4"/>
                  <a:pt x="151" y="0"/>
                  <a:pt x="141" y="0"/>
                </a:cubicBezTo>
                <a:moveTo>
                  <a:pt x="305" y="35"/>
                </a:moveTo>
                <a:cubicBezTo>
                  <a:pt x="303" y="37"/>
                  <a:pt x="298" y="39"/>
                  <a:pt x="293" y="39"/>
                </a:cubicBezTo>
                <a:cubicBezTo>
                  <a:pt x="286" y="39"/>
                  <a:pt x="284" y="35"/>
                  <a:pt x="284" y="28"/>
                </a:cubicBezTo>
                <a:cubicBezTo>
                  <a:pt x="284" y="0"/>
                  <a:pt x="284" y="0"/>
                  <a:pt x="284" y="0"/>
                </a:cubicBezTo>
                <a:cubicBezTo>
                  <a:pt x="283" y="0"/>
                  <a:pt x="283" y="0"/>
                  <a:pt x="283" y="0"/>
                </a:cubicBezTo>
                <a:cubicBezTo>
                  <a:pt x="281" y="0"/>
                  <a:pt x="275" y="0"/>
                  <a:pt x="274" y="1"/>
                </a:cubicBezTo>
                <a:cubicBezTo>
                  <a:pt x="274" y="29"/>
                  <a:pt x="274" y="29"/>
                  <a:pt x="274" y="29"/>
                </a:cubicBezTo>
                <a:cubicBezTo>
                  <a:pt x="274" y="42"/>
                  <a:pt x="277" y="48"/>
                  <a:pt x="290" y="48"/>
                </a:cubicBezTo>
                <a:cubicBezTo>
                  <a:pt x="300" y="48"/>
                  <a:pt x="305" y="44"/>
                  <a:pt x="306" y="44"/>
                </a:cubicBezTo>
                <a:cubicBezTo>
                  <a:pt x="306" y="44"/>
                  <a:pt x="309" y="46"/>
                  <a:pt x="316" y="46"/>
                </a:cubicBezTo>
                <a:cubicBezTo>
                  <a:pt x="316" y="1"/>
                  <a:pt x="316" y="1"/>
                  <a:pt x="316" y="1"/>
                </a:cubicBezTo>
                <a:cubicBezTo>
                  <a:pt x="315" y="1"/>
                  <a:pt x="310" y="0"/>
                  <a:pt x="308" y="0"/>
                </a:cubicBezTo>
                <a:cubicBezTo>
                  <a:pt x="305" y="0"/>
                  <a:pt x="305" y="0"/>
                  <a:pt x="305" y="0"/>
                </a:cubicBezTo>
                <a:lnTo>
                  <a:pt x="305" y="35"/>
                </a:lnTo>
                <a:close/>
                <a:moveTo>
                  <a:pt x="328" y="46"/>
                </a:moveTo>
                <a:cubicBezTo>
                  <a:pt x="328" y="46"/>
                  <a:pt x="335" y="48"/>
                  <a:pt x="344" y="48"/>
                </a:cubicBezTo>
                <a:cubicBezTo>
                  <a:pt x="352" y="48"/>
                  <a:pt x="363" y="45"/>
                  <a:pt x="363" y="33"/>
                </a:cubicBezTo>
                <a:cubicBezTo>
                  <a:pt x="363" y="26"/>
                  <a:pt x="357" y="23"/>
                  <a:pt x="348" y="19"/>
                </a:cubicBezTo>
                <a:cubicBezTo>
                  <a:pt x="343" y="18"/>
                  <a:pt x="339" y="16"/>
                  <a:pt x="339" y="13"/>
                </a:cubicBezTo>
                <a:cubicBezTo>
                  <a:pt x="339" y="11"/>
                  <a:pt x="340" y="8"/>
                  <a:pt x="347" y="8"/>
                </a:cubicBezTo>
                <a:cubicBezTo>
                  <a:pt x="352" y="8"/>
                  <a:pt x="358" y="11"/>
                  <a:pt x="358" y="11"/>
                </a:cubicBezTo>
                <a:cubicBezTo>
                  <a:pt x="361" y="3"/>
                  <a:pt x="361" y="3"/>
                  <a:pt x="361" y="3"/>
                </a:cubicBezTo>
                <a:cubicBezTo>
                  <a:pt x="359" y="2"/>
                  <a:pt x="354" y="0"/>
                  <a:pt x="346" y="0"/>
                </a:cubicBezTo>
                <a:cubicBezTo>
                  <a:pt x="337" y="0"/>
                  <a:pt x="329" y="4"/>
                  <a:pt x="329" y="13"/>
                </a:cubicBezTo>
                <a:cubicBezTo>
                  <a:pt x="329" y="23"/>
                  <a:pt x="337" y="26"/>
                  <a:pt x="344" y="28"/>
                </a:cubicBezTo>
                <a:cubicBezTo>
                  <a:pt x="349" y="29"/>
                  <a:pt x="352" y="31"/>
                  <a:pt x="352" y="34"/>
                </a:cubicBezTo>
                <a:cubicBezTo>
                  <a:pt x="352" y="37"/>
                  <a:pt x="351" y="40"/>
                  <a:pt x="343" y="40"/>
                </a:cubicBezTo>
                <a:cubicBezTo>
                  <a:pt x="337" y="40"/>
                  <a:pt x="330" y="38"/>
                  <a:pt x="330" y="38"/>
                </a:cubicBezTo>
                <a:lnTo>
                  <a:pt x="328" y="46"/>
                </a:lnTo>
                <a:close/>
                <a:moveTo>
                  <a:pt x="183" y="9"/>
                </a:moveTo>
                <a:cubicBezTo>
                  <a:pt x="185" y="8"/>
                  <a:pt x="188" y="8"/>
                  <a:pt x="191" y="8"/>
                </a:cubicBezTo>
                <a:cubicBezTo>
                  <a:pt x="199" y="8"/>
                  <a:pt x="205" y="12"/>
                  <a:pt x="205" y="23"/>
                </a:cubicBezTo>
                <a:cubicBezTo>
                  <a:pt x="205" y="34"/>
                  <a:pt x="202" y="40"/>
                  <a:pt x="190" y="40"/>
                </a:cubicBezTo>
                <a:cubicBezTo>
                  <a:pt x="187" y="40"/>
                  <a:pt x="183" y="39"/>
                  <a:pt x="183" y="39"/>
                </a:cubicBezTo>
                <a:lnTo>
                  <a:pt x="183" y="9"/>
                </a:lnTo>
                <a:close/>
                <a:moveTo>
                  <a:pt x="192" y="0"/>
                </a:moveTo>
                <a:cubicBezTo>
                  <a:pt x="186" y="0"/>
                  <a:pt x="178" y="1"/>
                  <a:pt x="173" y="2"/>
                </a:cubicBezTo>
                <a:cubicBezTo>
                  <a:pt x="173" y="46"/>
                  <a:pt x="173" y="46"/>
                  <a:pt x="173" y="46"/>
                </a:cubicBezTo>
                <a:cubicBezTo>
                  <a:pt x="177" y="47"/>
                  <a:pt x="185" y="48"/>
                  <a:pt x="190" y="48"/>
                </a:cubicBezTo>
                <a:cubicBezTo>
                  <a:pt x="208" y="48"/>
                  <a:pt x="216" y="41"/>
                  <a:pt x="216" y="23"/>
                </a:cubicBezTo>
                <a:cubicBezTo>
                  <a:pt x="216" y="9"/>
                  <a:pt x="207" y="0"/>
                  <a:pt x="192"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 dirty="0"/>
          </a:p>
        </p:txBody>
      </p:sp>
      <p:sp>
        <p:nvSpPr>
          <p:cNvPr id="39" name="Rectangle 38"/>
          <p:cNvSpPr/>
          <p:nvPr/>
        </p:nvSpPr>
        <p:spPr>
          <a:xfrm rot="5400000">
            <a:off x="12069601" y="6539750"/>
            <a:ext cx="481264" cy="107722"/>
          </a:xfrm>
          <a:prstGeom prst="rect">
            <a:avLst/>
          </a:prstGeom>
        </p:spPr>
        <p:txBody>
          <a:bodyPr wrap="square">
            <a:spAutoFit/>
          </a:bodyPr>
          <a:lstStyle>
            <a:defPPr>
              <a:defRPr lang="en-GB"/>
            </a:defPPr>
            <a:lvl1pPr algn="l" rtl="0" fontAlgn="base">
              <a:spcBef>
                <a:spcPct val="0"/>
              </a:spcBef>
              <a:spcAft>
                <a:spcPct val="0"/>
              </a:spcAft>
              <a:defRPr sz="20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20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20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20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2000" b="1" kern="1200">
                <a:solidFill>
                  <a:schemeClr val="tx1"/>
                </a:solidFill>
                <a:latin typeface="Arial" pitchFamily="34" charset="0"/>
                <a:ea typeface="+mn-ea"/>
                <a:cs typeface="Arial" pitchFamily="34" charset="0"/>
              </a:defRPr>
            </a:lvl5pPr>
            <a:lvl6pPr marL="2286000" algn="l" defTabSz="914400" rtl="0" eaLnBrk="1" latinLnBrk="0" hangingPunct="1">
              <a:defRPr sz="2000" b="1" kern="1200">
                <a:solidFill>
                  <a:schemeClr val="tx1"/>
                </a:solidFill>
                <a:latin typeface="Arial" pitchFamily="34" charset="0"/>
                <a:ea typeface="+mn-ea"/>
                <a:cs typeface="Arial" pitchFamily="34" charset="0"/>
              </a:defRPr>
            </a:lvl6pPr>
            <a:lvl7pPr marL="2743200" algn="l" defTabSz="914400" rtl="0" eaLnBrk="1" latinLnBrk="0" hangingPunct="1">
              <a:defRPr sz="2000" b="1" kern="1200">
                <a:solidFill>
                  <a:schemeClr val="tx1"/>
                </a:solidFill>
                <a:latin typeface="Arial" pitchFamily="34" charset="0"/>
                <a:ea typeface="+mn-ea"/>
                <a:cs typeface="Arial" pitchFamily="34" charset="0"/>
              </a:defRPr>
            </a:lvl7pPr>
            <a:lvl8pPr marL="3200400" algn="l" defTabSz="914400" rtl="0" eaLnBrk="1" latinLnBrk="0" hangingPunct="1">
              <a:defRPr sz="2000" b="1" kern="1200">
                <a:solidFill>
                  <a:schemeClr val="tx1"/>
                </a:solidFill>
                <a:latin typeface="Arial" pitchFamily="34" charset="0"/>
                <a:ea typeface="+mn-ea"/>
                <a:cs typeface="Arial" pitchFamily="34" charset="0"/>
              </a:defRPr>
            </a:lvl8pPr>
            <a:lvl9pPr marL="3657600" algn="l" defTabSz="914400" rtl="0" eaLnBrk="1" latinLnBrk="0" hangingPunct="1">
              <a:defRPr sz="2000" b="1" kern="1200">
                <a:solidFill>
                  <a:schemeClr val="tx1"/>
                </a:solidFill>
                <a:latin typeface="Arial" pitchFamily="34" charset="0"/>
                <a:ea typeface="+mn-ea"/>
                <a:cs typeface="Arial" pitchFamily="34" charset="0"/>
              </a:defRPr>
            </a:lvl9pPr>
          </a:lstStyle>
          <a:p>
            <a:r>
              <a:rPr lang="en-GB" sz="100" b="0" dirty="0">
                <a:solidFill>
                  <a:schemeClr val="bg1">
                    <a:lumMod val="95000"/>
                  </a:schemeClr>
                </a:solidFill>
              </a:rPr>
              <a:t>265ced1609a17cf1a5979880a2ad364653895ae8</a:t>
            </a:r>
            <a:endParaRPr lang="en-GB" sz="100" dirty="0">
              <a:solidFill>
                <a:schemeClr val="bg1">
                  <a:lumMod val="95000"/>
                </a:schemeClr>
              </a:solidFill>
            </a:endParaRPr>
          </a:p>
        </p:txBody>
      </p:sp>
      <p:pic>
        <p:nvPicPr>
          <p:cNvPr id="30" name="Imagen 29"/>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77911" y="1330715"/>
            <a:ext cx="3366989" cy="1173775"/>
          </a:xfrm>
          <a:prstGeom prst="rect">
            <a:avLst/>
          </a:prstGeom>
        </p:spPr>
      </p:pic>
      <p:sp>
        <p:nvSpPr>
          <p:cNvPr id="13" name="Marcador de texto 4"/>
          <p:cNvSpPr>
            <a:spLocks noGrp="1"/>
          </p:cNvSpPr>
          <p:nvPr>
            <p:ph type="body" sz="quarter" idx="15"/>
          </p:nvPr>
        </p:nvSpPr>
        <p:spPr>
          <a:xfrm>
            <a:off x="762138" y="5549977"/>
            <a:ext cx="3565729" cy="1058862"/>
          </a:xfrm>
        </p:spPr>
        <p:txBody>
          <a:bodyPr/>
          <a:lstStyle/>
          <a:p>
            <a:r>
              <a:rPr lang="en-GB" dirty="0"/>
              <a:t>NECSE Hospitality &amp; Ground Transportation </a:t>
            </a:r>
          </a:p>
          <a:p>
            <a:r>
              <a:rPr lang="en-GB" dirty="0"/>
              <a:t>March 2019</a:t>
            </a:r>
          </a:p>
          <a:p>
            <a:endParaRPr lang="en-GB" dirty="0"/>
          </a:p>
        </p:txBody>
      </p:sp>
      <p:pic>
        <p:nvPicPr>
          <p:cNvPr id="14" name="Imagen 29"/>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77911" y="1330715"/>
            <a:ext cx="3366989" cy="1173775"/>
          </a:xfrm>
          <a:prstGeom prst="rect">
            <a:avLst/>
          </a:prstGeom>
        </p:spPr>
      </p:pic>
      <p:sp>
        <p:nvSpPr>
          <p:cNvPr id="15" name="Title 3"/>
          <p:cNvSpPr txBox="1">
            <a:spLocks/>
          </p:cNvSpPr>
          <p:nvPr/>
        </p:nvSpPr>
        <p:spPr>
          <a:xfrm>
            <a:off x="576481" y="2162602"/>
            <a:ext cx="4774590" cy="1658899"/>
          </a:xfrm>
          <a:prstGeom prst="rect">
            <a:avLst/>
          </a:prstGeom>
        </p:spPr>
        <p:txBody>
          <a:bodyPr vert="horz" lIns="91440" tIns="0" rIns="91440" bIns="45720" rtlCol="0" anchor="b">
            <a:noAutofit/>
          </a:bodyPr>
          <a:lstStyle>
            <a:lvl1pPr algn="l" defTabSz="914400" rtl="0" eaLnBrk="1" latinLnBrk="0" hangingPunct="1">
              <a:lnSpc>
                <a:spcPct val="100000"/>
              </a:lnSpc>
              <a:spcBef>
                <a:spcPct val="0"/>
              </a:spcBef>
              <a:buNone/>
              <a:defRPr sz="2800" kern="1200" baseline="0">
                <a:solidFill>
                  <a:schemeClr val="bg1"/>
                </a:solidFill>
                <a:latin typeface="+mj-lt"/>
                <a:ea typeface="+mj-ea"/>
                <a:cs typeface="+mj-cs"/>
              </a:defRPr>
            </a:lvl1pPr>
          </a:lstStyle>
          <a:p>
            <a:endParaRPr lang="en-GB" dirty="0"/>
          </a:p>
          <a:p>
            <a:endParaRPr lang="en-GB" dirty="0"/>
          </a:p>
          <a:p>
            <a:r>
              <a:rPr lang="en-GB" dirty="0"/>
              <a:t>Your Window to Hospitality</a:t>
            </a:r>
          </a:p>
          <a:p>
            <a:r>
              <a:rPr lang="en-GB" dirty="0"/>
              <a:t>and Beyond</a:t>
            </a:r>
          </a:p>
        </p:txBody>
      </p:sp>
      <p:pic>
        <p:nvPicPr>
          <p:cNvPr id="3" name="Picture 2">
            <a:hlinkClick r:id="rId9"/>
          </p:cNvPr>
          <p:cNvPicPr>
            <a:picLocks noChangeAspect="1"/>
          </p:cNvPicPr>
          <p:nvPr/>
        </p:nvPicPr>
        <p:blipFill>
          <a:blip r:embed="rId10"/>
          <a:stretch>
            <a:fillRect/>
          </a:stretch>
        </p:blipFill>
        <p:spPr>
          <a:xfrm>
            <a:off x="8657831" y="5123824"/>
            <a:ext cx="1470006" cy="1395305"/>
          </a:xfrm>
          <a:prstGeom prst="rect">
            <a:avLst/>
          </a:prstGeom>
        </p:spPr>
      </p:pic>
    </p:spTree>
    <p:extLst>
      <p:ext uri="{BB962C8B-B14F-4D97-AF65-F5344CB8AC3E}">
        <p14:creationId xmlns:p14="http://schemas.microsoft.com/office/powerpoint/2010/main" val="3095201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4"/>
          </p:nvPr>
        </p:nvSpPr>
        <p:spPr/>
        <p:txBody>
          <a:bodyPr/>
          <a:lstStyle/>
          <a:p>
            <a:fld id="{E57627FB-D816-4EA7-98E3-793F2D9BC93A}" type="slidenum">
              <a:rPr lang="es-ES" smtClean="0">
                <a:solidFill>
                  <a:srgbClr val="FFFFFF">
                    <a:lumMod val="50000"/>
                  </a:srgbClr>
                </a:solidFill>
              </a:rPr>
              <a:pPr/>
              <a:t>3</a:t>
            </a:fld>
            <a:endParaRPr lang="es-ES" dirty="0">
              <a:solidFill>
                <a:srgbClr val="FFFFFF">
                  <a:lumMod val="50000"/>
                </a:srgbClr>
              </a:solidFill>
            </a:endParaRPr>
          </a:p>
        </p:txBody>
      </p:sp>
      <p:sp>
        <p:nvSpPr>
          <p:cNvPr id="3" name="Marcador de pie de página 2"/>
          <p:cNvSpPr>
            <a:spLocks noGrp="1"/>
          </p:cNvSpPr>
          <p:nvPr>
            <p:ph type="ftr" sz="quarter" idx="3"/>
          </p:nvPr>
        </p:nvSpPr>
        <p:spPr/>
        <p:txBody>
          <a:bodyPr/>
          <a:lstStyle/>
          <a:p>
            <a:r>
              <a:rPr lang="en-US" dirty="0">
                <a:solidFill>
                  <a:srgbClr val="FFFFFF">
                    <a:lumMod val="65000"/>
                  </a:srgbClr>
                </a:solidFill>
              </a:rPr>
              <a:t>© 2016 Amadeus IT Group and its affiliates and subsidiaries</a:t>
            </a:r>
            <a:endParaRPr lang="es-ES" dirty="0">
              <a:solidFill>
                <a:srgbClr val="FFFFFF">
                  <a:lumMod val="65000"/>
                </a:srgbClr>
              </a:solidFill>
            </a:endParaRPr>
          </a:p>
        </p:txBody>
      </p:sp>
      <p:sp>
        <p:nvSpPr>
          <p:cNvPr id="4" name="Título 3"/>
          <p:cNvSpPr>
            <a:spLocks noGrp="1"/>
          </p:cNvSpPr>
          <p:nvPr>
            <p:ph type="title"/>
          </p:nvPr>
        </p:nvSpPr>
        <p:spPr>
          <a:xfrm>
            <a:off x="1725168" y="105793"/>
            <a:ext cx="8439912" cy="482549"/>
          </a:xfrm>
        </p:spPr>
        <p:txBody>
          <a:bodyPr/>
          <a:lstStyle/>
          <a:p>
            <a:r>
              <a:rPr lang="en-GB" dirty="0"/>
              <a:t>Challenges: Traveller</a:t>
            </a:r>
          </a:p>
        </p:txBody>
      </p:sp>
      <p:cxnSp>
        <p:nvCxnSpPr>
          <p:cNvPr id="9" name="Conector recto 8"/>
          <p:cNvCxnSpPr/>
          <p:nvPr/>
        </p:nvCxnSpPr>
        <p:spPr>
          <a:xfrm flipV="1">
            <a:off x="1951348" y="3445389"/>
            <a:ext cx="2161928" cy="14405"/>
          </a:xfrm>
          <a:prstGeom prst="line">
            <a:avLst/>
          </a:prstGeom>
          <a:ln w="19050" cmpd="sng">
            <a:solidFill>
              <a:srgbClr val="E95326"/>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10" name="Conector recto 9"/>
          <p:cNvCxnSpPr/>
          <p:nvPr/>
        </p:nvCxnSpPr>
        <p:spPr>
          <a:xfrm>
            <a:off x="4113275" y="1299447"/>
            <a:ext cx="0" cy="2145943"/>
          </a:xfrm>
          <a:prstGeom prst="line">
            <a:avLst/>
          </a:prstGeom>
          <a:ln w="19050" cmpd="sng">
            <a:solidFill>
              <a:srgbClr val="E95326"/>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12" name="object 11"/>
          <p:cNvSpPr txBox="1"/>
          <p:nvPr/>
        </p:nvSpPr>
        <p:spPr>
          <a:xfrm>
            <a:off x="4206164" y="1127991"/>
            <a:ext cx="2528902" cy="2331803"/>
          </a:xfrm>
          <a:prstGeom prst="rect">
            <a:avLst/>
          </a:prstGeom>
        </p:spPr>
        <p:txBody>
          <a:bodyPr vert="horz" wrap="square" lIns="0" tIns="0" rIns="0" bIns="0" rtlCol="0">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90000"/>
              </a:lnSpc>
              <a:tabLst>
                <a:tab pos="121285" algn="l"/>
              </a:tabLst>
            </a:pPr>
            <a:r>
              <a:rPr lang="en-GB" sz="2200" dirty="0">
                <a:solidFill>
                  <a:srgbClr val="E95326"/>
                </a:solidFill>
                <a:latin typeface="Calibri Light"/>
                <a:cs typeface="Calibri Light"/>
              </a:rPr>
              <a:t>Time</a:t>
            </a:r>
          </a:p>
          <a:p>
            <a:pPr marL="12700">
              <a:lnSpc>
                <a:spcPct val="90000"/>
              </a:lnSpc>
              <a:tabLst>
                <a:tab pos="121285" algn="l"/>
              </a:tabLst>
            </a:pPr>
            <a:r>
              <a:rPr lang="en-GB" sz="1600" dirty="0">
                <a:solidFill>
                  <a:srgbClr val="323232"/>
                </a:solidFill>
                <a:latin typeface="Calibri Light"/>
                <a:cs typeface="Calibri Light"/>
              </a:rPr>
              <a:t>There is too much choices</a:t>
            </a:r>
          </a:p>
        </p:txBody>
      </p:sp>
      <p:sp>
        <p:nvSpPr>
          <p:cNvPr id="13" name="object 11"/>
          <p:cNvSpPr txBox="1"/>
          <p:nvPr/>
        </p:nvSpPr>
        <p:spPr>
          <a:xfrm>
            <a:off x="7194868" y="1127990"/>
            <a:ext cx="3161852" cy="2496028"/>
          </a:xfrm>
          <a:prstGeom prst="rect">
            <a:avLst/>
          </a:prstGeom>
        </p:spPr>
        <p:txBody>
          <a:bodyPr vert="horz" wrap="square" lIns="0" tIns="0" rIns="0" bIns="0"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90000"/>
              </a:lnSpc>
              <a:spcBef>
                <a:spcPts val="120"/>
              </a:spcBef>
              <a:tabLst>
                <a:tab pos="121285" algn="l"/>
              </a:tabLst>
            </a:pPr>
            <a:r>
              <a:rPr lang="en-GB" sz="2200" dirty="0">
                <a:solidFill>
                  <a:srgbClr val="CE0058"/>
                </a:solidFill>
                <a:latin typeface="Calibri Light"/>
                <a:cs typeface="Calibri Light"/>
              </a:rPr>
              <a:t>Value for money</a:t>
            </a:r>
          </a:p>
          <a:p>
            <a:pPr marL="12700">
              <a:lnSpc>
                <a:spcPct val="90000"/>
              </a:lnSpc>
              <a:spcBef>
                <a:spcPts val="120"/>
              </a:spcBef>
              <a:tabLst>
                <a:tab pos="121285" algn="l"/>
              </a:tabLst>
            </a:pPr>
            <a:r>
              <a:rPr lang="en-GB" sz="1600" dirty="0">
                <a:solidFill>
                  <a:srgbClr val="323232"/>
                </a:solidFill>
                <a:latin typeface="Calibri Light"/>
                <a:cs typeface="Calibri Light"/>
              </a:rPr>
              <a:t>Depending on the traveller type</a:t>
            </a:r>
            <a:endParaRPr lang="en-US" sz="1600" dirty="0">
              <a:solidFill>
                <a:srgbClr val="323232"/>
              </a:solidFill>
              <a:latin typeface="Calibri Light"/>
              <a:cs typeface="Calibri Light"/>
            </a:endParaRPr>
          </a:p>
        </p:txBody>
      </p:sp>
      <p:sp>
        <p:nvSpPr>
          <p:cNvPr id="14" name="object 11"/>
          <p:cNvSpPr txBox="1"/>
          <p:nvPr/>
        </p:nvSpPr>
        <p:spPr>
          <a:xfrm>
            <a:off x="5361078" y="4266858"/>
            <a:ext cx="2693118" cy="2591142"/>
          </a:xfrm>
          <a:prstGeom prst="rect">
            <a:avLst/>
          </a:prstGeom>
        </p:spPr>
        <p:txBody>
          <a:bodyPr vert="horz" wrap="square" lIns="0" tIns="0" rIns="0" bIns="0" rtlCol="0">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90000"/>
              </a:lnSpc>
              <a:spcBef>
                <a:spcPts val="120"/>
              </a:spcBef>
              <a:tabLst>
                <a:tab pos="121285" algn="l"/>
              </a:tabLst>
            </a:pPr>
            <a:r>
              <a:rPr lang="en-GB" sz="2200" dirty="0">
                <a:solidFill>
                  <a:srgbClr val="00A34E"/>
                </a:solidFill>
                <a:latin typeface="Calibri Light"/>
                <a:cs typeface="Calibri Light"/>
              </a:rPr>
              <a:t>Agility</a:t>
            </a:r>
          </a:p>
          <a:p>
            <a:pPr marL="12700">
              <a:lnSpc>
                <a:spcPct val="90000"/>
              </a:lnSpc>
              <a:spcBef>
                <a:spcPts val="120"/>
              </a:spcBef>
              <a:tabLst>
                <a:tab pos="121285" algn="l"/>
              </a:tabLst>
            </a:pPr>
            <a:r>
              <a:rPr lang="en-US" sz="1600" dirty="0">
                <a:solidFill>
                  <a:srgbClr val="323232"/>
                </a:solidFill>
                <a:latin typeface="Calibri Light"/>
                <a:cs typeface="Calibri Light"/>
              </a:rPr>
              <a:t>Unexpected events</a:t>
            </a:r>
          </a:p>
        </p:txBody>
      </p:sp>
      <p:sp>
        <p:nvSpPr>
          <p:cNvPr id="15" name="object 11"/>
          <p:cNvSpPr txBox="1"/>
          <p:nvPr/>
        </p:nvSpPr>
        <p:spPr>
          <a:xfrm>
            <a:off x="8394931" y="4575280"/>
            <a:ext cx="3240849" cy="2632820"/>
          </a:xfrm>
          <a:prstGeom prst="rect">
            <a:avLst/>
          </a:prstGeom>
        </p:spPr>
        <p:txBody>
          <a:bodyPr vert="horz" wrap="square" lIns="0" tIns="0" rIns="0" bIns="0"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nSpc>
                <a:spcPct val="90000"/>
              </a:lnSpc>
              <a:spcBef>
                <a:spcPts val="120"/>
              </a:spcBef>
              <a:tabLst>
                <a:tab pos="121285" algn="l"/>
              </a:tabLst>
            </a:pPr>
            <a:r>
              <a:rPr lang="en-GB" sz="2200" dirty="0">
                <a:solidFill>
                  <a:srgbClr val="6F2B8D"/>
                </a:solidFill>
                <a:latin typeface="Calibri Light"/>
                <a:cs typeface="Calibri Light"/>
              </a:rPr>
              <a:t>Expectation of personalisation</a:t>
            </a:r>
          </a:p>
          <a:p>
            <a:pPr marL="12700">
              <a:lnSpc>
                <a:spcPct val="90000"/>
              </a:lnSpc>
              <a:spcBef>
                <a:spcPts val="120"/>
              </a:spcBef>
              <a:tabLst>
                <a:tab pos="121285" algn="l"/>
              </a:tabLst>
            </a:pPr>
            <a:r>
              <a:rPr lang="en-US" sz="1600" dirty="0">
                <a:solidFill>
                  <a:srgbClr val="323232"/>
                </a:solidFill>
                <a:latin typeface="Calibri Light"/>
                <a:cs typeface="Calibri Light"/>
              </a:rPr>
              <a:t>Personalization can drive relevance, convenience and value. </a:t>
            </a:r>
          </a:p>
        </p:txBody>
      </p:sp>
      <p:cxnSp>
        <p:nvCxnSpPr>
          <p:cNvPr id="16" name="Conector recto 15"/>
          <p:cNvCxnSpPr/>
          <p:nvPr/>
        </p:nvCxnSpPr>
        <p:spPr>
          <a:xfrm>
            <a:off x="2085956" y="3719106"/>
            <a:ext cx="5010712" cy="0"/>
          </a:xfrm>
          <a:prstGeom prst="line">
            <a:avLst/>
          </a:prstGeom>
          <a:ln w="19050" cmpd="sng">
            <a:solidFill>
              <a:schemeClr val="accent6"/>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17" name="Conector recto 16"/>
          <p:cNvCxnSpPr/>
          <p:nvPr/>
        </p:nvCxnSpPr>
        <p:spPr>
          <a:xfrm>
            <a:off x="7096667" y="1299446"/>
            <a:ext cx="0" cy="2419660"/>
          </a:xfrm>
          <a:prstGeom prst="line">
            <a:avLst/>
          </a:prstGeom>
          <a:ln w="19050" cmpd="sng">
            <a:solidFill>
              <a:schemeClr val="accent6"/>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18" name="Conector recto 17"/>
          <p:cNvCxnSpPr/>
          <p:nvPr/>
        </p:nvCxnSpPr>
        <p:spPr>
          <a:xfrm>
            <a:off x="2179508" y="5377245"/>
            <a:ext cx="6106627" cy="0"/>
          </a:xfrm>
          <a:prstGeom prst="line">
            <a:avLst/>
          </a:prstGeom>
          <a:ln w="19050" cmpd="sng">
            <a:solidFill>
              <a:srgbClr val="6F2B8D"/>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19" name="Conector recto 18"/>
          <p:cNvCxnSpPr/>
          <p:nvPr/>
        </p:nvCxnSpPr>
        <p:spPr>
          <a:xfrm>
            <a:off x="8286135" y="4740219"/>
            <a:ext cx="0" cy="637026"/>
          </a:xfrm>
          <a:prstGeom prst="line">
            <a:avLst/>
          </a:prstGeom>
          <a:ln w="19050" cmpd="sng">
            <a:solidFill>
              <a:srgbClr val="6F2B8D"/>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1" name="Conector recto 20"/>
          <p:cNvCxnSpPr/>
          <p:nvPr/>
        </p:nvCxnSpPr>
        <p:spPr>
          <a:xfrm flipH="1">
            <a:off x="2179508" y="4431796"/>
            <a:ext cx="3088682" cy="15344"/>
          </a:xfrm>
          <a:prstGeom prst="line">
            <a:avLst/>
          </a:prstGeom>
          <a:ln w="19050" cmpd="sng">
            <a:solidFill>
              <a:srgbClr val="00A34E"/>
            </a:solidFill>
            <a:headEnd type="oval"/>
            <a:tailEnd type="oval"/>
          </a:ln>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p:nvPicPr>
        <p:blipFill rotWithShape="1">
          <a:blip r:embed="rId3"/>
          <a:srcRect l="78690" t="77384"/>
          <a:stretch/>
        </p:blipFill>
        <p:spPr>
          <a:xfrm>
            <a:off x="2420487" y="2448696"/>
            <a:ext cx="610249" cy="507364"/>
          </a:xfrm>
          <a:prstGeom prst="rect">
            <a:avLst/>
          </a:prstGeom>
        </p:spPr>
      </p:pic>
      <p:pic>
        <p:nvPicPr>
          <p:cNvPr id="22" name="Picture 21"/>
          <p:cNvPicPr>
            <a:picLocks noChangeAspect="1"/>
          </p:cNvPicPr>
          <p:nvPr/>
        </p:nvPicPr>
        <p:blipFill rotWithShape="1">
          <a:blip r:embed="rId3"/>
          <a:srcRect l="80708" t="54663" b="22381"/>
          <a:stretch/>
        </p:blipFill>
        <p:spPr>
          <a:xfrm>
            <a:off x="2482751" y="1942593"/>
            <a:ext cx="552442" cy="515007"/>
          </a:xfrm>
          <a:prstGeom prst="rect">
            <a:avLst/>
          </a:prstGeom>
        </p:spPr>
      </p:pic>
      <p:pic>
        <p:nvPicPr>
          <p:cNvPr id="23" name="Picture 22"/>
          <p:cNvPicPr>
            <a:picLocks noChangeAspect="1"/>
          </p:cNvPicPr>
          <p:nvPr/>
        </p:nvPicPr>
        <p:blipFill rotWithShape="1">
          <a:blip r:embed="rId3"/>
          <a:srcRect l="79424" t="30067" b="45103"/>
          <a:stretch/>
        </p:blipFill>
        <p:spPr>
          <a:xfrm>
            <a:off x="2445863" y="1386804"/>
            <a:ext cx="589228" cy="557048"/>
          </a:xfrm>
          <a:prstGeom prst="rect">
            <a:avLst/>
          </a:prstGeom>
        </p:spPr>
      </p:pic>
      <p:pic>
        <p:nvPicPr>
          <p:cNvPr id="24" name="Picture 23"/>
          <p:cNvPicPr>
            <a:picLocks noChangeAspect="1"/>
          </p:cNvPicPr>
          <p:nvPr/>
        </p:nvPicPr>
        <p:blipFill rotWithShape="1">
          <a:blip r:embed="rId3"/>
          <a:srcRect l="66762" t="11561" r="14520" b="65951"/>
          <a:stretch/>
        </p:blipFill>
        <p:spPr>
          <a:xfrm>
            <a:off x="2084108" y="968978"/>
            <a:ext cx="536028" cy="504497"/>
          </a:xfrm>
          <a:prstGeom prst="rect">
            <a:avLst/>
          </a:prstGeom>
        </p:spPr>
      </p:pic>
      <p:pic>
        <p:nvPicPr>
          <p:cNvPr id="25" name="Picture 24"/>
          <p:cNvPicPr>
            <a:picLocks noChangeAspect="1"/>
          </p:cNvPicPr>
          <p:nvPr/>
        </p:nvPicPr>
        <p:blipFill rotWithShape="1">
          <a:blip r:embed="rId3"/>
          <a:srcRect l="49694" r="31220" b="77898"/>
          <a:stretch/>
        </p:blipFill>
        <p:spPr>
          <a:xfrm>
            <a:off x="1593117" y="702633"/>
            <a:ext cx="546538" cy="495847"/>
          </a:xfrm>
          <a:prstGeom prst="rect">
            <a:avLst/>
          </a:prstGeom>
        </p:spPr>
      </p:pic>
      <p:pic>
        <p:nvPicPr>
          <p:cNvPr id="26" name="Picture 25"/>
          <p:cNvPicPr>
            <a:picLocks noChangeAspect="1"/>
          </p:cNvPicPr>
          <p:nvPr/>
        </p:nvPicPr>
        <p:blipFill rotWithShape="1">
          <a:blip r:embed="rId3"/>
          <a:srcRect l="30426" r="50489" b="77664"/>
          <a:stretch/>
        </p:blipFill>
        <p:spPr>
          <a:xfrm>
            <a:off x="1039597" y="714811"/>
            <a:ext cx="546539" cy="501101"/>
          </a:xfrm>
          <a:prstGeom prst="rect">
            <a:avLst/>
          </a:prstGeom>
        </p:spPr>
      </p:pic>
      <p:pic>
        <p:nvPicPr>
          <p:cNvPr id="27" name="Picture 26"/>
          <p:cNvPicPr>
            <a:picLocks noChangeAspect="1"/>
          </p:cNvPicPr>
          <p:nvPr/>
        </p:nvPicPr>
        <p:blipFill rotWithShape="1">
          <a:blip r:embed="rId3"/>
          <a:srcRect l="13727" t="12264" r="67555" b="65717"/>
          <a:stretch/>
        </p:blipFill>
        <p:spPr>
          <a:xfrm>
            <a:off x="556867" y="984994"/>
            <a:ext cx="536029" cy="493987"/>
          </a:xfrm>
          <a:prstGeom prst="rect">
            <a:avLst/>
          </a:prstGeom>
        </p:spPr>
      </p:pic>
      <p:pic>
        <p:nvPicPr>
          <p:cNvPr id="28" name="Picture 27"/>
          <p:cNvPicPr>
            <a:picLocks noChangeAspect="1"/>
          </p:cNvPicPr>
          <p:nvPr/>
        </p:nvPicPr>
        <p:blipFill rotWithShape="1">
          <a:blip r:embed="rId3"/>
          <a:srcRect l="1064" t="30300" r="77281" b="44869"/>
          <a:stretch/>
        </p:blipFill>
        <p:spPr>
          <a:xfrm>
            <a:off x="191521" y="1390666"/>
            <a:ext cx="620110" cy="557049"/>
          </a:xfrm>
          <a:prstGeom prst="rect">
            <a:avLst/>
          </a:prstGeom>
        </p:spPr>
      </p:pic>
      <p:pic>
        <p:nvPicPr>
          <p:cNvPr id="29" name="Picture 28"/>
          <p:cNvPicPr>
            <a:picLocks noChangeAspect="1"/>
          </p:cNvPicPr>
          <p:nvPr/>
        </p:nvPicPr>
        <p:blipFill rotWithShape="1">
          <a:blip r:embed="rId3"/>
          <a:srcRect t="54897" r="79300" b="21678"/>
          <a:stretch/>
        </p:blipFill>
        <p:spPr>
          <a:xfrm>
            <a:off x="166613" y="1942901"/>
            <a:ext cx="592770" cy="525518"/>
          </a:xfrm>
          <a:prstGeom prst="rect">
            <a:avLst/>
          </a:prstGeom>
        </p:spPr>
      </p:pic>
      <p:pic>
        <p:nvPicPr>
          <p:cNvPr id="30" name="Picture 29"/>
          <p:cNvPicPr>
            <a:picLocks noChangeAspect="1"/>
          </p:cNvPicPr>
          <p:nvPr/>
        </p:nvPicPr>
        <p:blipFill rotWithShape="1">
          <a:blip r:embed="rId3"/>
          <a:srcRect t="76952" r="76881"/>
          <a:stretch/>
        </p:blipFill>
        <p:spPr>
          <a:xfrm>
            <a:off x="157147" y="2435940"/>
            <a:ext cx="662043" cy="517078"/>
          </a:xfrm>
          <a:prstGeom prst="rect">
            <a:avLst/>
          </a:prstGeom>
        </p:spPr>
      </p:pic>
      <p:grpSp>
        <p:nvGrpSpPr>
          <p:cNvPr id="40" name="Group 39"/>
          <p:cNvGrpSpPr/>
          <p:nvPr/>
        </p:nvGrpSpPr>
        <p:grpSpPr>
          <a:xfrm>
            <a:off x="0" y="1215856"/>
            <a:ext cx="3077198" cy="4848255"/>
            <a:chOff x="0" y="1215856"/>
            <a:chExt cx="3077198" cy="4848255"/>
          </a:xfrm>
        </p:grpSpPr>
        <p:grpSp>
          <p:nvGrpSpPr>
            <p:cNvPr id="11" name="Group 10"/>
            <p:cNvGrpSpPr/>
            <p:nvPr/>
          </p:nvGrpSpPr>
          <p:grpSpPr>
            <a:xfrm>
              <a:off x="0" y="1215856"/>
              <a:ext cx="3077198" cy="4848255"/>
              <a:chOff x="0" y="1215856"/>
              <a:chExt cx="3077198" cy="4848255"/>
            </a:xfrm>
          </p:grpSpPr>
          <p:pic>
            <p:nvPicPr>
              <p:cNvPr id="5" name="Imagen 4" descr="traveller.png"/>
              <p:cNvPicPr>
                <a:picLocks noChangeAspect="1"/>
              </p:cNvPicPr>
              <p:nvPr/>
            </p:nvPicPr>
            <p:blipFill rotWithShape="1">
              <a:blip r:embed="rId4" cstate="print">
                <a:extLst>
                  <a:ext uri="{28A0092B-C50C-407E-A947-70E740481C1C}">
                    <a14:useLocalDpi xmlns:a14="http://schemas.microsoft.com/office/drawing/2010/main" val="0"/>
                  </a:ext>
                </a:extLst>
              </a:blip>
              <a:srcRect l="10746" b="2518"/>
              <a:stretch/>
            </p:blipFill>
            <p:spPr>
              <a:xfrm>
                <a:off x="10758" y="1215856"/>
                <a:ext cx="3066440" cy="4843437"/>
              </a:xfrm>
              <a:prstGeom prst="rect">
                <a:avLst/>
              </a:prstGeom>
            </p:spPr>
          </p:pic>
          <p:grpSp>
            <p:nvGrpSpPr>
              <p:cNvPr id="8" name="Group 7"/>
              <p:cNvGrpSpPr/>
              <p:nvPr/>
            </p:nvGrpSpPr>
            <p:grpSpPr>
              <a:xfrm>
                <a:off x="0" y="1215912"/>
                <a:ext cx="3066440" cy="4843437"/>
                <a:chOff x="0" y="1215912"/>
                <a:chExt cx="3066440" cy="4843437"/>
              </a:xfrm>
            </p:grpSpPr>
            <p:pic>
              <p:nvPicPr>
                <p:cNvPr id="31" name="Imagen 4" descr="traveller.png"/>
                <p:cNvPicPr>
                  <a:picLocks noChangeAspect="1"/>
                </p:cNvPicPr>
                <p:nvPr/>
              </p:nvPicPr>
              <p:blipFill rotWithShape="1">
                <a:blip r:embed="rId5" cstate="print">
                  <a:biLevel thresh="75000"/>
                  <a:extLst>
                    <a:ext uri="{BEBA8EAE-BF5A-486C-A8C5-ECC9F3942E4B}">
                      <a14:imgProps xmlns:a14="http://schemas.microsoft.com/office/drawing/2010/main">
                        <a14:imgLayer r:embed="rId6">
                          <a14:imgEffect>
                            <a14:backgroundRemoval t="9664" b="55333" l="19669" r="92340">
                              <a14:foregroundMark x1="72671" y1="33858" x2="87164" y2="44452"/>
                              <a14:foregroundMark x1="91822" y1="44238" x2="92340" y2="45956"/>
                              <a14:backgroundMark x1="46894" y1="22477" x2="43685" y2="23264"/>
                              <a14:backgroundMark x1="48965" y1="22405" x2="48965" y2="30208"/>
                              <a14:backgroundMark x1="53727" y1="20115" x2="41201" y2="24839"/>
                              <a14:backgroundMark x1="60766" y1="20258" x2="67081" y2="23980"/>
                              <a14:backgroundMark x1="66460" y1="24052" x2="70186" y2="30852"/>
                              <a14:backgroundMark x1="49275" y1="30064" x2="47101" y2="36865"/>
                              <a14:backgroundMark x1="46687" y1="37223" x2="45756" y2="39012"/>
                              <a14:backgroundMark x1="70186" y1="31496" x2="70704" y2="34646"/>
                              <a14:backgroundMark x1="41304" y1="23407" x2="36749" y2="33142"/>
                              <a14:backgroundMark x1="71014" y1="34789" x2="71118" y2="37581"/>
                              <a14:backgroundMark x1="36749" y1="33142" x2="35611" y2="37867"/>
                            </a14:backgroundRemoval>
                          </a14:imgEffect>
                          <a14:imgEffect>
                            <a14:brightnessContrast bright="20000" contrast="-40000"/>
                          </a14:imgEffect>
                        </a14:imgLayer>
                      </a14:imgProps>
                    </a:ext>
                    <a:ext uri="{28A0092B-C50C-407E-A947-70E740481C1C}">
                      <a14:useLocalDpi xmlns:a14="http://schemas.microsoft.com/office/drawing/2010/main" val="0"/>
                    </a:ext>
                  </a:extLst>
                </a:blip>
                <a:srcRect l="10746" b="2518"/>
                <a:stretch/>
              </p:blipFill>
              <p:spPr>
                <a:xfrm>
                  <a:off x="0" y="1215912"/>
                  <a:ext cx="3066440" cy="4843437"/>
                </a:xfrm>
                <a:prstGeom prst="rect">
                  <a:avLst/>
                </a:prstGeom>
              </p:spPr>
            </p:pic>
            <p:sp>
              <p:nvSpPr>
                <p:cNvPr id="6" name="Diamond 5"/>
                <p:cNvSpPr/>
                <p:nvPr/>
              </p:nvSpPr>
              <p:spPr>
                <a:xfrm>
                  <a:off x="1561049" y="2448696"/>
                  <a:ext cx="164119" cy="950518"/>
                </a:xfrm>
                <a:prstGeom prst="diamon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iamond 6"/>
                <p:cNvSpPr/>
                <p:nvPr/>
              </p:nvSpPr>
              <p:spPr>
                <a:xfrm>
                  <a:off x="1539504" y="2457600"/>
                  <a:ext cx="204605" cy="124387"/>
                </a:xfrm>
                <a:prstGeom prst="diamon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4" name="Imagen 4" descr="traveller.png"/>
              <p:cNvPicPr>
                <a:picLocks noChangeAspect="1"/>
              </p:cNvPicPr>
              <p:nvPr/>
            </p:nvPicPr>
            <p:blipFill rotWithShape="1">
              <a:blip r:embed="rId7" cstate="print">
                <a:biLevel thresh="75000"/>
                <a:extLst>
                  <a:ext uri="{BEBA8EAE-BF5A-486C-A8C5-ECC9F3942E4B}">
                    <a14:imgProps xmlns:a14="http://schemas.microsoft.com/office/drawing/2010/main">
                      <a14:imgLayer r:embed="rId6">
                        <a14:imgEffect>
                          <a14:backgroundRemoval t="49678" b="53830" l="36439" r="46998">
                            <a14:foregroundMark x1="72671" y1="33858" x2="87164" y2="44452"/>
                            <a14:foregroundMark x1="91822" y1="44238" x2="92340" y2="45956"/>
                            <a14:foregroundMark x1="38716" y1="51181" x2="43996" y2="51825"/>
                            <a14:foregroundMark x1="37681" y1="50322" x2="38406" y2="50752"/>
                            <a14:foregroundMark x1="45652" y1="50322" x2="45135" y2="50322"/>
                            <a14:backgroundMark x1="46894" y1="22477" x2="43685" y2="23264"/>
                            <a14:backgroundMark x1="48965" y1="22405" x2="48965" y2="30208"/>
                            <a14:backgroundMark x1="53727" y1="20115" x2="41201" y2="24839"/>
                            <a14:backgroundMark x1="60766" y1="20258" x2="67081" y2="23980"/>
                            <a14:backgroundMark x1="66460" y1="24052" x2="70186" y2="30852"/>
                            <a14:backgroundMark x1="49275" y1="30064" x2="47101" y2="36865"/>
                            <a14:backgroundMark x1="46687" y1="37223" x2="45756" y2="39012"/>
                            <a14:backgroundMark x1="70186" y1="31496" x2="70704" y2="34646"/>
                            <a14:backgroundMark x1="41304" y1="23407" x2="36749" y2="33142"/>
                            <a14:backgroundMark x1="71014" y1="34789" x2="71118" y2="37581"/>
                            <a14:backgroundMark x1="36749" y1="33142" x2="35611" y2="37867"/>
                            <a14:backgroundMark x1="38199" y1="49964" x2="40787" y2="50251"/>
                            <a14:backgroundMark x1="41097" y1="50322" x2="43271" y2="50179"/>
                            <a14:backgroundMark x1="43996" y1="50322" x2="45652" y2="49535"/>
                          </a14:backgroundRemoval>
                        </a14:imgEffect>
                        <a14:imgEffect>
                          <a14:brightnessContrast bright="40000" contrast="-40000"/>
                        </a14:imgEffect>
                      </a14:imgLayer>
                    </a14:imgProps>
                  </a:ext>
                  <a:ext uri="{28A0092B-C50C-407E-A947-70E740481C1C}">
                    <a14:useLocalDpi xmlns:a14="http://schemas.microsoft.com/office/drawing/2010/main" val="0"/>
                  </a:ext>
                </a:extLst>
              </a:blip>
              <a:srcRect l="10746" b="2518"/>
              <a:stretch/>
            </p:blipFill>
            <p:spPr>
              <a:xfrm>
                <a:off x="3969" y="1220674"/>
                <a:ext cx="3066440" cy="4843437"/>
              </a:xfrm>
              <a:prstGeom prst="rect">
                <a:avLst/>
              </a:prstGeom>
            </p:spPr>
          </p:pic>
          <p:pic>
            <p:nvPicPr>
              <p:cNvPr id="35" name="Imagen 4" descr="traveller.png"/>
              <p:cNvPicPr>
                <a:picLocks noChangeAspect="1"/>
              </p:cNvPicPr>
              <p:nvPr/>
            </p:nvPicPr>
            <p:blipFill rotWithShape="1">
              <a:blip r:embed="rId7" cstate="print">
                <a:biLevel thresh="75000"/>
                <a:extLst>
                  <a:ext uri="{BEBA8EAE-BF5A-486C-A8C5-ECC9F3942E4B}">
                    <a14:imgProps xmlns:a14="http://schemas.microsoft.com/office/drawing/2010/main">
                      <a14:imgLayer r:embed="rId6">
                        <a14:imgEffect>
                          <a14:backgroundRemoval t="49678" b="53830" l="36439" r="46998">
                            <a14:foregroundMark x1="72671" y1="33858" x2="87164" y2="44452"/>
                            <a14:foregroundMark x1="91822" y1="44238" x2="92340" y2="45956"/>
                            <a14:foregroundMark x1="38716" y1="51181" x2="43996" y2="51825"/>
                            <a14:foregroundMark x1="37681" y1="50322" x2="38406" y2="50752"/>
                            <a14:foregroundMark x1="45652" y1="50322" x2="45135" y2="50322"/>
                            <a14:backgroundMark x1="46894" y1="22477" x2="43685" y2="23264"/>
                            <a14:backgroundMark x1="48965" y1="22405" x2="48965" y2="30208"/>
                            <a14:backgroundMark x1="53727" y1="20115" x2="41201" y2="24839"/>
                            <a14:backgroundMark x1="60766" y1="20258" x2="67081" y2="23980"/>
                            <a14:backgroundMark x1="66460" y1="24052" x2="70186" y2="30852"/>
                            <a14:backgroundMark x1="49275" y1="30064" x2="47101" y2="36865"/>
                            <a14:backgroundMark x1="46687" y1="37223" x2="45756" y2="39012"/>
                            <a14:backgroundMark x1="70186" y1="31496" x2="70704" y2="34646"/>
                            <a14:backgroundMark x1="41304" y1="23407" x2="36749" y2="33142"/>
                            <a14:backgroundMark x1="71014" y1="34789" x2="71118" y2="37581"/>
                            <a14:backgroundMark x1="36749" y1="33142" x2="35611" y2="37867"/>
                            <a14:backgroundMark x1="38199" y1="49964" x2="40787" y2="50251"/>
                            <a14:backgroundMark x1="41097" y1="50322" x2="43271" y2="50179"/>
                            <a14:backgroundMark x1="43996" y1="50322" x2="45652" y2="49535"/>
                          </a14:backgroundRemoval>
                        </a14:imgEffect>
                        <a14:imgEffect>
                          <a14:brightnessContrast bright="40000" contrast="-40000"/>
                        </a14:imgEffect>
                      </a14:imgLayer>
                    </a14:imgProps>
                  </a:ext>
                  <a:ext uri="{28A0092B-C50C-407E-A947-70E740481C1C}">
                    <a14:useLocalDpi xmlns:a14="http://schemas.microsoft.com/office/drawing/2010/main" val="0"/>
                  </a:ext>
                </a:extLst>
              </a:blip>
              <a:srcRect l="35374" t="47417" r="49655" b="44915"/>
              <a:stretch/>
            </p:blipFill>
            <p:spPr>
              <a:xfrm rot="18412204">
                <a:off x="2504971" y="3253419"/>
                <a:ext cx="514350" cy="381000"/>
              </a:xfrm>
              <a:prstGeom prst="rect">
                <a:avLst/>
              </a:prstGeom>
            </p:spPr>
          </p:pic>
        </p:grpSp>
        <p:sp>
          <p:nvSpPr>
            <p:cNvPr id="36" name="Oval 35"/>
            <p:cNvSpPr/>
            <p:nvPr/>
          </p:nvSpPr>
          <p:spPr>
            <a:xfrm>
              <a:off x="1616298" y="3502819"/>
              <a:ext cx="72580" cy="60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Block Arc 37"/>
            <p:cNvSpPr/>
            <p:nvPr/>
          </p:nvSpPr>
          <p:spPr>
            <a:xfrm rot="10800000">
              <a:off x="1213630" y="3660154"/>
              <a:ext cx="836685" cy="98449"/>
            </a:xfrm>
            <a:prstGeom prst="blockArc">
              <a:avLst/>
            </a:prstGeom>
            <a:solidFill>
              <a:schemeClr val="accent4">
                <a:lumMod val="10000"/>
              </a:schemeClr>
            </a:solidFill>
            <a:ln>
              <a:solidFill>
                <a:schemeClr val="accent4">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Rectangle 38"/>
            <p:cNvSpPr/>
            <p:nvPr/>
          </p:nvSpPr>
          <p:spPr>
            <a:xfrm>
              <a:off x="1616298" y="3719106"/>
              <a:ext cx="72580" cy="4571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34107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par>
                          <p:cTn id="8" fill="hold">
                            <p:stCondLst>
                              <p:cond delay="1000"/>
                            </p:stCondLst>
                            <p:childTnLst>
                              <p:par>
                                <p:cTn id="9" presetID="10" presetClass="entr" presetSubtype="0" fill="hold" nodeType="afterEffect">
                                  <p:stCondLst>
                                    <p:cond delay="50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par>
                          <p:cTn id="12" fill="hold">
                            <p:stCondLst>
                              <p:cond delay="2000"/>
                            </p:stCondLst>
                            <p:childTnLst>
                              <p:par>
                                <p:cTn id="13" presetID="10" presetClass="entr" presetSubtype="0" fill="hold" nodeType="afterEffect">
                                  <p:stCondLst>
                                    <p:cond delay="5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par>
                          <p:cTn id="16" fill="hold">
                            <p:stCondLst>
                              <p:cond delay="3000"/>
                            </p:stCondLst>
                            <p:childTnLst>
                              <p:par>
                                <p:cTn id="17" presetID="10" presetClass="entr" presetSubtype="0" fill="hold" nodeType="afterEffect">
                                  <p:stCondLst>
                                    <p:cond delay="50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par>
                          <p:cTn id="20" fill="hold">
                            <p:stCondLst>
                              <p:cond delay="4000"/>
                            </p:stCondLst>
                            <p:childTnLst>
                              <p:par>
                                <p:cTn id="21" presetID="10" presetClass="entr" presetSubtype="0" fill="hold" nodeType="afterEffect">
                                  <p:stCondLst>
                                    <p:cond delay="50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childTnLst>
                          </p:cTn>
                        </p:par>
                        <p:par>
                          <p:cTn id="24" fill="hold">
                            <p:stCondLst>
                              <p:cond delay="5000"/>
                            </p:stCondLst>
                            <p:childTnLst>
                              <p:par>
                                <p:cTn id="25" presetID="10" presetClass="entr" presetSubtype="0" fill="hold" nodeType="afterEffect">
                                  <p:stCondLst>
                                    <p:cond delay="50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par>
                          <p:cTn id="28" fill="hold">
                            <p:stCondLst>
                              <p:cond delay="6000"/>
                            </p:stCondLst>
                            <p:childTnLst>
                              <p:par>
                                <p:cTn id="29" presetID="10" presetClass="entr" presetSubtype="0" fill="hold" nodeType="afterEffect">
                                  <p:stCondLst>
                                    <p:cond delay="50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7000"/>
                            </p:stCondLst>
                            <p:childTnLst>
                              <p:par>
                                <p:cTn id="33" presetID="10" presetClass="entr" presetSubtype="0" fill="hold" nodeType="afterEffect">
                                  <p:stCondLst>
                                    <p:cond delay="50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par>
                          <p:cTn id="36" fill="hold">
                            <p:stCondLst>
                              <p:cond delay="8000"/>
                            </p:stCondLst>
                            <p:childTnLst>
                              <p:par>
                                <p:cTn id="37" presetID="10" presetClass="entr" presetSubtype="0" fill="hold" nodeType="afterEffect">
                                  <p:stCondLst>
                                    <p:cond delay="50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childTnLst>
                          </p:cTn>
                        </p:par>
                        <p:par>
                          <p:cTn id="40" fill="hold">
                            <p:stCondLst>
                              <p:cond delay="9000"/>
                            </p:stCondLst>
                            <p:childTnLst>
                              <p:par>
                                <p:cTn id="41" presetID="10" presetClass="entr" presetSubtype="0" fill="hold" nodeType="afterEffect">
                                  <p:stCondLst>
                                    <p:cond delay="50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E57627FB-D816-4EA7-98E3-793F2D9BC93A}" type="slidenum">
              <a:rPr lang="es-ES" smtClean="0">
                <a:solidFill>
                  <a:srgbClr val="FFFFFF">
                    <a:lumMod val="50000"/>
                  </a:srgbClr>
                </a:solidFill>
              </a:rPr>
              <a:pPr/>
              <a:t>4</a:t>
            </a:fld>
            <a:endParaRPr lang="es-ES" dirty="0">
              <a:solidFill>
                <a:srgbClr val="FFFFFF">
                  <a:lumMod val="50000"/>
                </a:srgbClr>
              </a:solidFill>
            </a:endParaRPr>
          </a:p>
        </p:txBody>
      </p:sp>
      <p:sp>
        <p:nvSpPr>
          <p:cNvPr id="3" name="Footer Placeholder 2"/>
          <p:cNvSpPr>
            <a:spLocks noGrp="1"/>
          </p:cNvSpPr>
          <p:nvPr>
            <p:ph type="ftr" sz="quarter" idx="3"/>
          </p:nvPr>
        </p:nvSpPr>
        <p:spPr/>
        <p:txBody>
          <a:bodyPr/>
          <a:lstStyle/>
          <a:p>
            <a:r>
              <a:rPr lang="en-US" dirty="0">
                <a:solidFill>
                  <a:srgbClr val="FFFFFF">
                    <a:lumMod val="65000"/>
                  </a:srgbClr>
                </a:solidFill>
              </a:rPr>
              <a:t>© 2016 Amadeus IT Group and its affiliates and subsidiaries</a:t>
            </a:r>
            <a:endParaRPr lang="es-ES" dirty="0">
              <a:solidFill>
                <a:srgbClr val="FFFFFF">
                  <a:lumMod val="65000"/>
                </a:srgbClr>
              </a:solidFill>
            </a:endParaRPr>
          </a:p>
        </p:txBody>
      </p:sp>
      <p:sp>
        <p:nvSpPr>
          <p:cNvPr id="6" name="Title 33"/>
          <p:cNvSpPr txBox="1">
            <a:spLocks/>
          </p:cNvSpPr>
          <p:nvPr/>
        </p:nvSpPr>
        <p:spPr>
          <a:xfrm>
            <a:off x="4540673" y="2931723"/>
            <a:ext cx="2715749" cy="788098"/>
          </a:xfrm>
          <a:prstGeom prst="rect">
            <a:avLst/>
          </a:prstGeom>
        </p:spPr>
        <p:txBody>
          <a:bodyPr/>
          <a:lstStyle>
            <a:lvl1pPr algn="l" defTabSz="914400" rtl="0" eaLnBrk="1" latinLnBrk="0" hangingPunct="1">
              <a:spcBef>
                <a:spcPct val="0"/>
              </a:spcBef>
              <a:buNone/>
              <a:defRPr sz="2800" b="0" kern="1200">
                <a:solidFill>
                  <a:schemeClr val="accent1"/>
                </a:solidFill>
                <a:latin typeface="+mj-lt"/>
                <a:ea typeface="+mj-ea"/>
                <a:cs typeface="+mj-cs"/>
              </a:defRPr>
            </a:lvl1pPr>
          </a:lstStyle>
          <a:p>
            <a:pPr algn="ctr">
              <a:lnSpc>
                <a:spcPct val="90000"/>
              </a:lnSpc>
            </a:pPr>
            <a:r>
              <a:rPr lang="en-GB" sz="3200" dirty="0">
                <a:solidFill>
                  <a:srgbClr val="005EB8"/>
                </a:solidFill>
                <a:cs typeface="Amadeus-Regular"/>
              </a:rPr>
              <a:t>We Deliver</a:t>
            </a:r>
          </a:p>
          <a:p>
            <a:pPr algn="ctr">
              <a:lnSpc>
                <a:spcPct val="90000"/>
              </a:lnSpc>
            </a:pPr>
            <a:r>
              <a:rPr lang="en-GB" sz="3600" b="1" dirty="0">
                <a:solidFill>
                  <a:srgbClr val="005EB8"/>
                </a:solidFill>
                <a:cs typeface="Amadeus-Bold"/>
              </a:rPr>
              <a:t>clear v</a:t>
            </a:r>
            <a:r>
              <a:rPr lang="en-GB" sz="3600" b="1" dirty="0">
                <a:solidFill>
                  <a:srgbClr val="005EB8"/>
                </a:solidFill>
                <a:cs typeface="Amadeus-Regular"/>
              </a:rPr>
              <a:t>alue</a:t>
            </a:r>
          </a:p>
        </p:txBody>
      </p:sp>
      <p:sp>
        <p:nvSpPr>
          <p:cNvPr id="7" name="Rectangle 6"/>
          <p:cNvSpPr/>
          <p:nvPr/>
        </p:nvSpPr>
        <p:spPr>
          <a:xfrm>
            <a:off x="2262214" y="3719821"/>
            <a:ext cx="1931863" cy="923330"/>
          </a:xfrm>
          <a:prstGeom prst="rect">
            <a:avLst/>
          </a:prstGeom>
        </p:spPr>
        <p:txBody>
          <a:bodyPr wrap="square">
            <a:spAutoFit/>
          </a:bodyPr>
          <a:lstStyle/>
          <a:p>
            <a:pPr algn="ctr"/>
            <a:r>
              <a:rPr lang="en-GB" dirty="0">
                <a:solidFill>
                  <a:srgbClr val="4D4D4D"/>
                </a:solidFill>
                <a:latin typeface="Calibri Light" panose="020F0302020204030204"/>
              </a:rPr>
              <a:t>Our </a:t>
            </a:r>
            <a:r>
              <a:rPr lang="en-GB" b="1" dirty="0">
                <a:solidFill>
                  <a:srgbClr val="CE0058"/>
                </a:solidFill>
              </a:rPr>
              <a:t>strategy</a:t>
            </a:r>
            <a:r>
              <a:rPr lang="en-GB" dirty="0">
                <a:solidFill>
                  <a:srgbClr val="4D4D4D"/>
                </a:solidFill>
                <a:latin typeface="Calibri Light" panose="020F0302020204030204"/>
              </a:rPr>
              <a:t> is focused and progressive</a:t>
            </a:r>
          </a:p>
        </p:txBody>
      </p:sp>
      <p:sp>
        <p:nvSpPr>
          <p:cNvPr id="8" name="Rectangle 7"/>
          <p:cNvSpPr/>
          <p:nvPr/>
        </p:nvSpPr>
        <p:spPr>
          <a:xfrm>
            <a:off x="476814" y="1231409"/>
            <a:ext cx="2615482" cy="1200329"/>
          </a:xfrm>
          <a:prstGeom prst="rect">
            <a:avLst/>
          </a:prstGeom>
        </p:spPr>
        <p:txBody>
          <a:bodyPr wrap="square">
            <a:spAutoFit/>
          </a:bodyPr>
          <a:lstStyle/>
          <a:p>
            <a:pPr algn="ctr"/>
            <a:r>
              <a:rPr lang="en-GB" dirty="0">
                <a:solidFill>
                  <a:srgbClr val="4D4D4D"/>
                </a:solidFill>
                <a:latin typeface="Calibri Light" panose="020F0302020204030204"/>
              </a:rPr>
              <a:t>Our </a:t>
            </a:r>
            <a:r>
              <a:rPr lang="en-GB" b="1" dirty="0">
                <a:solidFill>
                  <a:srgbClr val="00A34E"/>
                </a:solidFill>
                <a:latin typeface="Calibri Light" panose="020F0302020204030204"/>
              </a:rPr>
              <a:t>mission</a:t>
            </a:r>
            <a:r>
              <a:rPr lang="en-GB" dirty="0">
                <a:solidFill>
                  <a:srgbClr val="4D4D4D"/>
                </a:solidFill>
                <a:latin typeface="Calibri Light" panose="020F0302020204030204"/>
              </a:rPr>
              <a:t> is to make things simple, </a:t>
            </a:r>
          </a:p>
          <a:p>
            <a:pPr algn="ctr"/>
            <a:r>
              <a:rPr lang="en-GB" dirty="0">
                <a:solidFill>
                  <a:srgbClr val="4D4D4D"/>
                </a:solidFill>
                <a:latin typeface="Calibri Light" panose="020F0302020204030204"/>
              </a:rPr>
              <a:t>for our travellers experience.</a:t>
            </a:r>
          </a:p>
        </p:txBody>
      </p:sp>
      <p:sp>
        <p:nvSpPr>
          <p:cNvPr id="9" name="Forma en L 7"/>
          <p:cNvSpPr/>
          <p:nvPr/>
        </p:nvSpPr>
        <p:spPr>
          <a:xfrm>
            <a:off x="4291927" y="4546877"/>
            <a:ext cx="527354" cy="527354"/>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10" name="Forma en L 136"/>
          <p:cNvSpPr/>
          <p:nvPr/>
        </p:nvSpPr>
        <p:spPr>
          <a:xfrm rot="5400000">
            <a:off x="4291927" y="1904384"/>
            <a:ext cx="527354" cy="527354"/>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11" name="Forma en L 137"/>
          <p:cNvSpPr/>
          <p:nvPr/>
        </p:nvSpPr>
        <p:spPr>
          <a:xfrm rot="16200000">
            <a:off x="7103134" y="4518005"/>
            <a:ext cx="527354" cy="527354"/>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12" name="Forma en L 144"/>
          <p:cNvSpPr/>
          <p:nvPr/>
        </p:nvSpPr>
        <p:spPr>
          <a:xfrm rot="10800000">
            <a:off x="7103134" y="1904384"/>
            <a:ext cx="527354" cy="527354"/>
          </a:xfrm>
          <a:prstGeom prst="corner">
            <a:avLst>
              <a:gd name="adj1" fmla="val 10870"/>
              <a:gd name="adj2" fmla="val 9305"/>
            </a:avLst>
          </a:prstGeom>
          <a:solidFill>
            <a:srgbClr val="00A9E0"/>
          </a:solidFill>
          <a:ln w="19050">
            <a:solidFill>
              <a:srgbClr val="00A9E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pic>
        <p:nvPicPr>
          <p:cNvPr id="13" name="Imagen 8"/>
          <p:cNvPicPr>
            <a:picLocks noChangeAspect="1"/>
          </p:cNvPicPr>
          <p:nvPr/>
        </p:nvPicPr>
        <p:blipFill rotWithShape="1">
          <a:blip r:embed="rId3" cstate="screen">
            <a:extLst>
              <a:ext uri="{28A0092B-C50C-407E-A947-70E740481C1C}">
                <a14:useLocalDpi xmlns:a14="http://schemas.microsoft.com/office/drawing/2010/main"/>
              </a:ext>
            </a:extLst>
          </a:blip>
          <a:srcRect l="27487"/>
          <a:stretch/>
        </p:blipFill>
        <p:spPr>
          <a:xfrm>
            <a:off x="287951" y="2507391"/>
            <a:ext cx="3974544" cy="1232341"/>
          </a:xfrm>
          <a:prstGeom prst="rect">
            <a:avLst/>
          </a:prstGeom>
        </p:spPr>
      </p:pic>
      <p:pic>
        <p:nvPicPr>
          <p:cNvPr id="14" name="Imagen 22"/>
          <p:cNvPicPr>
            <a:picLocks noChangeAspect="1"/>
          </p:cNvPicPr>
          <p:nvPr/>
        </p:nvPicPr>
        <p:blipFill rotWithShape="1">
          <a:blip r:embed="rId4" cstate="screen">
            <a:extLst>
              <a:ext uri="{28A0092B-C50C-407E-A947-70E740481C1C}">
                <a14:useLocalDpi xmlns:a14="http://schemas.microsoft.com/office/drawing/2010/main"/>
              </a:ext>
            </a:extLst>
          </a:blip>
          <a:srcRect r="28124"/>
          <a:stretch/>
        </p:blipFill>
        <p:spPr>
          <a:xfrm rot="669882">
            <a:off x="7398088" y="1959070"/>
            <a:ext cx="5241862" cy="2385631"/>
          </a:xfrm>
          <a:prstGeom prst="rect">
            <a:avLst/>
          </a:prstGeom>
        </p:spPr>
      </p:pic>
      <p:pic>
        <p:nvPicPr>
          <p:cNvPr id="15" name="Imagen 23"/>
          <p:cNvPicPr>
            <a:picLocks noChangeAspect="1"/>
          </p:cNvPicPr>
          <p:nvPr/>
        </p:nvPicPr>
        <p:blipFill rotWithShape="1">
          <a:blip r:embed="rId5" cstate="screen">
            <a:extLst>
              <a:ext uri="{28A0092B-C50C-407E-A947-70E740481C1C}">
                <a14:useLocalDpi xmlns:a14="http://schemas.microsoft.com/office/drawing/2010/main"/>
              </a:ext>
            </a:extLst>
          </a:blip>
          <a:srcRect r="29489"/>
          <a:stretch/>
        </p:blipFill>
        <p:spPr>
          <a:xfrm rot="669882">
            <a:off x="7571539" y="2510589"/>
            <a:ext cx="5111269" cy="1889074"/>
          </a:xfrm>
          <a:prstGeom prst="rect">
            <a:avLst/>
          </a:prstGeom>
        </p:spPr>
      </p:pic>
      <p:pic>
        <p:nvPicPr>
          <p:cNvPr id="16" name="Imagen 24"/>
          <p:cNvPicPr>
            <a:picLocks noChangeAspect="1"/>
          </p:cNvPicPr>
          <p:nvPr/>
        </p:nvPicPr>
        <p:blipFill rotWithShape="1">
          <a:blip r:embed="rId6" cstate="screen">
            <a:extLst>
              <a:ext uri="{28A0092B-C50C-407E-A947-70E740481C1C}">
                <a14:useLocalDpi xmlns:a14="http://schemas.microsoft.com/office/drawing/2010/main"/>
              </a:ext>
            </a:extLst>
          </a:blip>
          <a:srcRect r="30278"/>
          <a:stretch/>
        </p:blipFill>
        <p:spPr>
          <a:xfrm rot="669882">
            <a:off x="7784057" y="1389796"/>
            <a:ext cx="4854351" cy="2882187"/>
          </a:xfrm>
          <a:prstGeom prst="rect">
            <a:avLst/>
          </a:prstGeom>
        </p:spPr>
      </p:pic>
      <p:pic>
        <p:nvPicPr>
          <p:cNvPr id="17" name="Imagen 25"/>
          <p:cNvPicPr>
            <a:picLocks noChangeAspect="1"/>
          </p:cNvPicPr>
          <p:nvPr/>
        </p:nvPicPr>
        <p:blipFill rotWithShape="1">
          <a:blip r:embed="rId7" cstate="screen">
            <a:extLst>
              <a:ext uri="{28A0092B-C50C-407E-A947-70E740481C1C}">
                <a14:useLocalDpi xmlns:a14="http://schemas.microsoft.com/office/drawing/2010/main"/>
              </a:ext>
            </a:extLst>
          </a:blip>
          <a:srcRect r="26232"/>
          <a:stretch/>
        </p:blipFill>
        <p:spPr>
          <a:xfrm rot="669882">
            <a:off x="7423606" y="1366617"/>
            <a:ext cx="5225428" cy="3044107"/>
          </a:xfrm>
          <a:prstGeom prst="rect">
            <a:avLst/>
          </a:prstGeom>
        </p:spPr>
      </p:pic>
      <p:pic>
        <p:nvPicPr>
          <p:cNvPr id="18" name="Imagen 26"/>
          <p:cNvPicPr>
            <a:picLocks noChangeAspect="1"/>
          </p:cNvPicPr>
          <p:nvPr/>
        </p:nvPicPr>
        <p:blipFill rotWithShape="1">
          <a:blip r:embed="rId8" cstate="screen">
            <a:extLst>
              <a:ext uri="{28A0092B-C50C-407E-A947-70E740481C1C}">
                <a14:useLocalDpi xmlns:a14="http://schemas.microsoft.com/office/drawing/2010/main"/>
              </a:ext>
            </a:extLst>
          </a:blip>
          <a:srcRect r="27355"/>
          <a:stretch/>
        </p:blipFill>
        <p:spPr>
          <a:xfrm rot="669882">
            <a:off x="7482269" y="2043043"/>
            <a:ext cx="5177891" cy="2428810"/>
          </a:xfrm>
          <a:prstGeom prst="rect">
            <a:avLst/>
          </a:prstGeom>
        </p:spPr>
      </p:pic>
      <p:pic>
        <p:nvPicPr>
          <p:cNvPr id="19" name="Imagen 27"/>
          <p:cNvPicPr>
            <a:picLocks noChangeAspect="1"/>
          </p:cNvPicPr>
          <p:nvPr/>
        </p:nvPicPr>
        <p:blipFill rotWithShape="1">
          <a:blip r:embed="rId9" cstate="screen">
            <a:extLst>
              <a:ext uri="{28A0092B-C50C-407E-A947-70E740481C1C}">
                <a14:useLocalDpi xmlns:a14="http://schemas.microsoft.com/office/drawing/2010/main"/>
              </a:ext>
            </a:extLst>
          </a:blip>
          <a:srcRect r="29680"/>
          <a:stretch/>
        </p:blipFill>
        <p:spPr>
          <a:xfrm rot="669882">
            <a:off x="7585131" y="2058055"/>
            <a:ext cx="5097353" cy="2040200"/>
          </a:xfrm>
          <a:prstGeom prst="rect">
            <a:avLst/>
          </a:prstGeom>
        </p:spPr>
      </p:pic>
      <p:pic>
        <p:nvPicPr>
          <p:cNvPr id="20" name="Imagen 28"/>
          <p:cNvPicPr>
            <a:picLocks noChangeAspect="1"/>
          </p:cNvPicPr>
          <p:nvPr/>
        </p:nvPicPr>
        <p:blipFill rotWithShape="1">
          <a:blip r:embed="rId10" cstate="screen">
            <a:extLst>
              <a:ext uri="{28A0092B-C50C-407E-A947-70E740481C1C}">
                <a14:useLocalDpi xmlns:a14="http://schemas.microsoft.com/office/drawing/2010/main"/>
              </a:ext>
            </a:extLst>
          </a:blip>
          <a:srcRect r="33437"/>
          <a:stretch/>
        </p:blipFill>
        <p:spPr>
          <a:xfrm rot="669882">
            <a:off x="7747374" y="1858365"/>
            <a:ext cx="4854351" cy="2040200"/>
          </a:xfrm>
          <a:prstGeom prst="rect">
            <a:avLst/>
          </a:prstGeom>
        </p:spPr>
      </p:pic>
      <p:sp>
        <p:nvSpPr>
          <p:cNvPr id="21" name="Rectángulo 33"/>
          <p:cNvSpPr/>
          <p:nvPr/>
        </p:nvSpPr>
        <p:spPr>
          <a:xfrm>
            <a:off x="7058779" y="3014332"/>
            <a:ext cx="637238" cy="9624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22" name="Oval 21"/>
          <p:cNvSpPr/>
          <p:nvPr/>
        </p:nvSpPr>
        <p:spPr>
          <a:xfrm>
            <a:off x="1710813" y="2507391"/>
            <a:ext cx="147484" cy="157151"/>
          </a:xfrm>
          <a:prstGeom prst="ellipse">
            <a:avLst/>
          </a:prstGeom>
          <a:solidFill>
            <a:srgbClr val="00A3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Oval 22"/>
          <p:cNvSpPr/>
          <p:nvPr/>
        </p:nvSpPr>
        <p:spPr>
          <a:xfrm>
            <a:off x="3271538" y="3530173"/>
            <a:ext cx="147484" cy="15715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136955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par>
                                <p:cTn id="28" presetID="10" presetClass="entr" presetSubtype="0"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par>
                                <p:cTn id="46" presetID="10" presetClass="entr" presetSubtype="0" fill="hold"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animBg="1"/>
      <p:bldP spid="10" grpId="0" animBg="1"/>
      <p:bldP spid="11" grpId="0" animBg="1"/>
      <p:bldP spid="12" grpId="0" animBg="1"/>
      <p:bldP spid="21" grpId="0" animBg="1"/>
      <p:bldP spid="2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E57627FB-D816-4EA7-98E3-793F2D9BC93A}" type="slidenum">
              <a:rPr kumimoji="0" lang="es-ES" sz="800" b="0" i="0" u="none" strike="noStrike" kern="1200" cap="none" spc="0" normalizeH="0" baseline="0" noProof="0" smtClean="0">
                <a:ln>
                  <a:noFill/>
                </a:ln>
                <a:solidFill>
                  <a:srgbClr val="FFFFFF">
                    <a:lumMod val="50000"/>
                  </a:srgbClr>
                </a:solidFill>
                <a:effectLst/>
                <a:uLnTx/>
                <a:uFillTx/>
                <a:latin typeface="Calibri Light" panose="020F030202020403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5</a:t>
            </a:fld>
            <a:endParaRPr kumimoji="0" lang="es-ES" sz="800" b="0" i="0" u="none" strike="noStrike" kern="1200" cap="none" spc="0" normalizeH="0" baseline="0" noProof="0" dirty="0">
              <a:ln>
                <a:noFill/>
              </a:ln>
              <a:solidFill>
                <a:srgbClr val="FFFFFF">
                  <a:lumMod val="50000"/>
                </a:srgbClr>
              </a:solidFill>
              <a:effectLst/>
              <a:uLnTx/>
              <a:uFillTx/>
              <a:latin typeface="Calibri Light" panose="020F0302020204030204"/>
              <a:ea typeface="+mn-ea"/>
              <a:cs typeface="+mn-cs"/>
            </a:endParaRPr>
          </a:p>
        </p:txBody>
      </p:sp>
      <p:sp>
        <p:nvSpPr>
          <p:cNvPr id="3" name="Marcador de pie de página 2"/>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rPr>
              <a:t>© 2016 Amadeus IT Group and its affiliates and subsidiaries</a:t>
            </a:r>
            <a:endParaRPr kumimoji="0" lang="es-E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endParaRPr>
          </a:p>
        </p:txBody>
      </p:sp>
      <p:sp>
        <p:nvSpPr>
          <p:cNvPr id="13" name="Rectangle 12"/>
          <p:cNvSpPr/>
          <p:nvPr/>
        </p:nvSpPr>
        <p:spPr>
          <a:xfrm>
            <a:off x="10061401" y="0"/>
            <a:ext cx="2130599" cy="5381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Rectangle 18"/>
          <p:cNvSpPr/>
          <p:nvPr/>
        </p:nvSpPr>
        <p:spPr>
          <a:xfrm>
            <a:off x="6477001" y="6198757"/>
            <a:ext cx="4231078" cy="5381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backgroundRemoval t="10000" b="98491" l="2829" r="97171">
                        <a14:foregroundMark x1="34244" y1="28302" x2="66049" y2="46698"/>
                        <a14:foregroundMark x1="64390" y1="28962" x2="39902" y2="56415"/>
                        <a14:foregroundMark x1="61561" y1="28868" x2="53463" y2="28868"/>
                        <a14:foregroundMark x1="64585" y1="32075" x2="64585" y2="40943"/>
                        <a14:foregroundMark x1="34049" y1="29528" x2="34146" y2="39245"/>
                        <a14:foregroundMark x1="33951" y1="39528" x2="34732" y2="45472"/>
                        <a14:foregroundMark x1="97171" y1="46226" x2="93171" y2="92736"/>
                        <a14:foregroundMark x1="4195" y1="75849" x2="9659" y2="95189"/>
                        <a14:foregroundMark x1="20098" y1="96226" x2="70537" y2="98491"/>
                        <a14:foregroundMark x1="3024" y1="77170" x2="2829" y2="90755"/>
                        <a14:foregroundMark x1="64488" y1="29528" x2="64585" y2="32264"/>
                        <a14:foregroundMark x1="63805" y1="28585" x2="53268" y2="28585"/>
                        <a14:backgroundMark x1="70146" y1="37830" x2="83317" y2="44528"/>
                        <a14:backgroundMark x1="52780" y1="28208" x2="70341" y2="28491"/>
                        <a14:backgroundMark x1="69268" y1="40283" x2="76976" y2="47075"/>
                        <a14:backgroundMark x1="88585" y1="37925" x2="90049" y2="41604"/>
                        <a14:backgroundMark x1="75024" y1="41509" x2="76293" y2="44245"/>
                      </a14:backgroundRemoval>
                    </a14:imgEffect>
                  </a14:imgLayer>
                </a14:imgProps>
              </a:ext>
            </a:extLst>
          </a:blip>
          <a:stretch>
            <a:fillRect/>
          </a:stretch>
        </p:blipFill>
        <p:spPr>
          <a:xfrm>
            <a:off x="1619250" y="-2063840"/>
            <a:ext cx="8442151" cy="8730419"/>
          </a:xfrm>
          <a:prstGeom prst="rect">
            <a:avLst/>
          </a:prstGeom>
        </p:spPr>
      </p:pic>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21960" t="84967" r="58448" b="11805"/>
          <a:stretch/>
        </p:blipFill>
        <p:spPr>
          <a:xfrm>
            <a:off x="3157542" y="5943600"/>
            <a:ext cx="1939547" cy="439271"/>
          </a:xfrm>
          <a:prstGeom prst="rect">
            <a:avLst/>
          </a:prstGeom>
        </p:spPr>
      </p:pic>
    </p:spTree>
    <p:extLst>
      <p:ext uri="{BB962C8B-B14F-4D97-AF65-F5344CB8AC3E}">
        <p14:creationId xmlns:p14="http://schemas.microsoft.com/office/powerpoint/2010/main" val="36133942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E57627FB-D816-4EA7-98E3-793F2D9BC93A}" type="slidenum">
              <a:rPr kumimoji="0" lang="es-ES" sz="800" b="0" i="0" u="none" strike="noStrike" kern="1200" cap="none" spc="0" normalizeH="0" baseline="0" noProof="0" smtClean="0">
                <a:ln>
                  <a:noFill/>
                </a:ln>
                <a:solidFill>
                  <a:srgbClr val="FFFFFF">
                    <a:lumMod val="50000"/>
                  </a:srgbClr>
                </a:solidFill>
                <a:effectLst/>
                <a:uLnTx/>
                <a:uFillTx/>
                <a:latin typeface="Calibri Light" panose="020F030202020403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es-ES" sz="800" b="0" i="0" u="none" strike="noStrike" kern="1200" cap="none" spc="0" normalizeH="0" baseline="0" noProof="0" dirty="0">
              <a:ln>
                <a:noFill/>
              </a:ln>
              <a:solidFill>
                <a:srgbClr val="FFFFFF">
                  <a:lumMod val="50000"/>
                </a:srgbClr>
              </a:solidFill>
              <a:effectLst/>
              <a:uLnTx/>
              <a:uFillTx/>
              <a:latin typeface="Calibri Light" panose="020F0302020204030204"/>
              <a:ea typeface="+mn-ea"/>
              <a:cs typeface="+mn-cs"/>
            </a:endParaRPr>
          </a:p>
        </p:txBody>
      </p:sp>
      <p:sp>
        <p:nvSpPr>
          <p:cNvPr id="3" name="Marcador de pie de página 2"/>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rPr>
              <a:t>© 2016 Amadeus IT Group and its affiliates and subsidiaries</a:t>
            </a:r>
            <a:endParaRPr kumimoji="0" lang="es-E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endParaRPr>
          </a:p>
        </p:txBody>
      </p:sp>
      <p:sp>
        <p:nvSpPr>
          <p:cNvPr id="4" name="Título 3"/>
          <p:cNvSpPr>
            <a:spLocks noGrp="1"/>
          </p:cNvSpPr>
          <p:nvPr>
            <p:ph type="title"/>
          </p:nvPr>
        </p:nvSpPr>
        <p:spPr>
          <a:xfrm>
            <a:off x="1725168" y="296865"/>
            <a:ext cx="8439912" cy="482549"/>
          </a:xfrm>
        </p:spPr>
        <p:txBody>
          <a:bodyPr/>
          <a:lstStyle/>
          <a:p>
            <a:r>
              <a:rPr lang="en-GB" dirty="0"/>
              <a:t>Our Value proposition in a nutshell</a:t>
            </a:r>
          </a:p>
        </p:txBody>
      </p:sp>
      <p:sp>
        <p:nvSpPr>
          <p:cNvPr id="5" name="Marcador de texto 4"/>
          <p:cNvSpPr>
            <a:spLocks noGrp="1"/>
          </p:cNvSpPr>
          <p:nvPr>
            <p:ph type="body" sz="quarter" idx="13"/>
          </p:nvPr>
        </p:nvSpPr>
        <p:spPr>
          <a:xfrm>
            <a:off x="1725168" y="961211"/>
            <a:ext cx="9599780" cy="543379"/>
          </a:xfrm>
        </p:spPr>
        <p:txBody>
          <a:bodyPr/>
          <a:lstStyle/>
          <a:p>
            <a:pPr>
              <a:lnSpc>
                <a:spcPct val="90000"/>
              </a:lnSpc>
            </a:pPr>
            <a:r>
              <a:rPr lang="en-GB" dirty="0"/>
              <a:t>2.5+ million hotel shopping options. 618K unique properties.</a:t>
            </a:r>
          </a:p>
        </p:txBody>
      </p:sp>
      <p:sp>
        <p:nvSpPr>
          <p:cNvPr id="13" name="Rectangle 12"/>
          <p:cNvSpPr/>
          <p:nvPr/>
        </p:nvSpPr>
        <p:spPr>
          <a:xfrm>
            <a:off x="10061401" y="0"/>
            <a:ext cx="2130599" cy="5381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Elipse 16"/>
          <p:cNvSpPr>
            <a:spLocks noChangeAspect="1"/>
          </p:cNvSpPr>
          <p:nvPr/>
        </p:nvSpPr>
        <p:spPr>
          <a:xfrm>
            <a:off x="4651355" y="3095442"/>
            <a:ext cx="3086101" cy="3086101"/>
          </a:xfrm>
          <a:prstGeom prst="ellipse">
            <a:avLst/>
          </a:prstGeom>
          <a:noFill/>
          <a:ln w="19050" cmpd="sng">
            <a:solidFill>
              <a:srgbClr val="005EB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7" name="Rectángulo 19"/>
          <p:cNvSpPr>
            <a:spLocks noChangeAspect="1"/>
          </p:cNvSpPr>
          <p:nvPr/>
        </p:nvSpPr>
        <p:spPr>
          <a:xfrm>
            <a:off x="5808953" y="5330680"/>
            <a:ext cx="876300" cy="208027"/>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8" name="Text Placeholder 8"/>
          <p:cNvSpPr txBox="1">
            <a:spLocks/>
          </p:cNvSpPr>
          <p:nvPr/>
        </p:nvSpPr>
        <p:spPr>
          <a:xfrm>
            <a:off x="4984682" y="2071847"/>
            <a:ext cx="2419448" cy="442470"/>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5EB8"/>
              </a:buClr>
              <a:buSzPct val="120000"/>
              <a:buFont typeface="Calibri" panose="020F0502020204030204" pitchFamily="34" charset="0"/>
              <a:buNone/>
              <a:tabLst/>
              <a:defRPr/>
            </a:pPr>
            <a:r>
              <a:rPr kumimoji="0" lang="en-GB" sz="2400" b="1" i="0" u="none" strike="noStrike" kern="1200" cap="none" spc="0" normalizeH="0" baseline="0" noProof="0" dirty="0">
                <a:ln>
                  <a:noFill/>
                </a:ln>
                <a:solidFill>
                  <a:srgbClr val="005EB8"/>
                </a:solidFill>
                <a:effectLst/>
                <a:uLnTx/>
                <a:uFillTx/>
                <a:latin typeface="Calibri Light" panose="020F0302020204030204"/>
                <a:ea typeface="+mn-ea"/>
                <a:cs typeface="+mn-cs"/>
              </a:rPr>
              <a:t>Amadeus Value Hotels</a:t>
            </a:r>
          </a:p>
          <a:p>
            <a:pPr marL="0" marR="0" lvl="0" indent="0" algn="ctr" defTabSz="914400" rtl="0" eaLnBrk="1" fontAlgn="auto" latinLnBrk="0" hangingPunct="1">
              <a:lnSpc>
                <a:spcPct val="90000"/>
              </a:lnSpc>
              <a:spcBef>
                <a:spcPts val="300"/>
              </a:spcBef>
              <a:spcAft>
                <a:spcPts val="0"/>
              </a:spcAft>
              <a:buClr>
                <a:srgbClr val="005EB8"/>
              </a:buClr>
              <a:buSzPct val="120000"/>
              <a:buFont typeface="Calibri" panose="020F0502020204030204" pitchFamily="34" charset="0"/>
              <a:buNone/>
              <a:tabLst/>
              <a:defRPr/>
            </a:pPr>
            <a:r>
              <a:rPr kumimoji="0" lang="en-GB" sz="1600" b="1" i="0" u="none" strike="noStrike" kern="1200" cap="none" spc="0" normalizeH="0" baseline="0" noProof="0" dirty="0">
                <a:ln>
                  <a:noFill/>
                </a:ln>
                <a:solidFill>
                  <a:srgbClr val="323232"/>
                </a:solidFill>
                <a:effectLst/>
                <a:uLnTx/>
                <a:uFillTx/>
                <a:latin typeface="Calibri Light" panose="020F0302020204030204"/>
                <a:ea typeface="+mn-ea"/>
                <a:cs typeface="+mn-cs"/>
              </a:rPr>
              <a:t>.</a:t>
            </a:r>
          </a:p>
        </p:txBody>
      </p:sp>
      <p:cxnSp>
        <p:nvCxnSpPr>
          <p:cNvPr id="39" name="Conector recto 48"/>
          <p:cNvCxnSpPr>
            <a:cxnSpLocks noChangeAspect="1"/>
          </p:cNvCxnSpPr>
          <p:nvPr/>
        </p:nvCxnSpPr>
        <p:spPr>
          <a:xfrm>
            <a:off x="6194405" y="2780966"/>
            <a:ext cx="1" cy="285733"/>
          </a:xfrm>
          <a:prstGeom prst="line">
            <a:avLst/>
          </a:prstGeom>
          <a:ln w="19050" cmpd="sng">
            <a:solidFill>
              <a:schemeClr val="accent1"/>
            </a:solidFill>
            <a:headEnd type="oval"/>
          </a:ln>
        </p:spPr>
        <p:style>
          <a:lnRef idx="2">
            <a:schemeClr val="accent1"/>
          </a:lnRef>
          <a:fillRef idx="0">
            <a:schemeClr val="accent1"/>
          </a:fillRef>
          <a:effectRef idx="1">
            <a:schemeClr val="accent1"/>
          </a:effectRef>
          <a:fontRef idx="minor">
            <a:schemeClr val="tx1"/>
          </a:fontRef>
        </p:style>
      </p:cxnSp>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1772" y="3191067"/>
            <a:ext cx="2093002" cy="1782503"/>
          </a:xfrm>
          <a:prstGeom prst="rect">
            <a:avLst/>
          </a:prstGeom>
        </p:spPr>
      </p:pic>
      <p:pic>
        <p:nvPicPr>
          <p:cNvPr id="41" name="Imagen 42"/>
          <p:cNvPicPr>
            <a:picLocks noChangeAspect="1"/>
          </p:cNvPicPr>
          <p:nvPr/>
        </p:nvPicPr>
        <p:blipFill>
          <a:blip r:embed="rId4"/>
          <a:stretch>
            <a:fillRect/>
          </a:stretch>
        </p:blipFill>
        <p:spPr>
          <a:xfrm>
            <a:off x="5650029" y="4973570"/>
            <a:ext cx="1046762" cy="1077103"/>
          </a:xfrm>
          <a:prstGeom prst="rect">
            <a:avLst/>
          </a:prstGeom>
        </p:spPr>
      </p:pic>
    </p:spTree>
    <p:extLst>
      <p:ext uri="{BB962C8B-B14F-4D97-AF65-F5344CB8AC3E}">
        <p14:creationId xmlns:p14="http://schemas.microsoft.com/office/powerpoint/2010/main" val="1384524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E57627FB-D816-4EA7-98E3-793F2D9BC93A}" type="slidenum">
              <a:rPr kumimoji="0" lang="es-ES" sz="800" b="0" i="0" u="none" strike="noStrike" kern="1200" cap="none" spc="0" normalizeH="0" baseline="0" noProof="0" smtClean="0">
                <a:ln>
                  <a:noFill/>
                </a:ln>
                <a:solidFill>
                  <a:srgbClr val="FFFFFF">
                    <a:lumMod val="50000"/>
                  </a:srgbClr>
                </a:solidFill>
                <a:effectLst/>
                <a:uLnTx/>
                <a:uFillTx/>
                <a:latin typeface="Calibri Light" panose="020F030202020403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7</a:t>
            </a:fld>
            <a:endParaRPr kumimoji="0" lang="es-ES" sz="800" b="0" i="0" u="none" strike="noStrike" kern="1200" cap="none" spc="0" normalizeH="0" baseline="0" noProof="0" dirty="0">
              <a:ln>
                <a:noFill/>
              </a:ln>
              <a:solidFill>
                <a:srgbClr val="FFFFFF">
                  <a:lumMod val="50000"/>
                </a:srgbClr>
              </a:solidFill>
              <a:effectLst/>
              <a:uLnTx/>
              <a:uFillTx/>
              <a:latin typeface="Calibri Light" panose="020F0302020204030204"/>
              <a:ea typeface="+mn-ea"/>
              <a:cs typeface="+mn-cs"/>
            </a:endParaRPr>
          </a:p>
        </p:txBody>
      </p:sp>
      <p:sp>
        <p:nvSpPr>
          <p:cNvPr id="3" name="Marcador de pie de página 2"/>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rPr>
              <a:t>© 2016 Amadeus IT Group and its affiliates and subsidiaries</a:t>
            </a:r>
            <a:endParaRPr kumimoji="0" lang="es-E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endParaRPr>
          </a:p>
        </p:txBody>
      </p:sp>
      <p:sp>
        <p:nvSpPr>
          <p:cNvPr id="4" name="Título 3"/>
          <p:cNvSpPr>
            <a:spLocks noGrp="1"/>
          </p:cNvSpPr>
          <p:nvPr>
            <p:ph type="title"/>
          </p:nvPr>
        </p:nvSpPr>
        <p:spPr>
          <a:xfrm>
            <a:off x="1725168" y="296865"/>
            <a:ext cx="8439912" cy="482549"/>
          </a:xfrm>
        </p:spPr>
        <p:txBody>
          <a:bodyPr/>
          <a:lstStyle/>
          <a:p>
            <a:r>
              <a:rPr lang="en-GB" dirty="0"/>
              <a:t>Our Value proposition in a nutshell</a:t>
            </a:r>
          </a:p>
        </p:txBody>
      </p:sp>
      <p:sp>
        <p:nvSpPr>
          <p:cNvPr id="5" name="Marcador de texto 4"/>
          <p:cNvSpPr>
            <a:spLocks noGrp="1"/>
          </p:cNvSpPr>
          <p:nvPr>
            <p:ph type="body" sz="quarter" idx="13"/>
          </p:nvPr>
        </p:nvSpPr>
        <p:spPr>
          <a:xfrm>
            <a:off x="1725168" y="961211"/>
            <a:ext cx="9599780" cy="543379"/>
          </a:xfrm>
        </p:spPr>
        <p:txBody>
          <a:bodyPr/>
          <a:lstStyle/>
          <a:p>
            <a:pPr>
              <a:lnSpc>
                <a:spcPct val="90000"/>
              </a:lnSpc>
            </a:pPr>
            <a:r>
              <a:rPr lang="en-GB" dirty="0"/>
              <a:t>2.5+ million hotel shopping options. 618K unique properties.</a:t>
            </a:r>
          </a:p>
        </p:txBody>
      </p:sp>
      <p:sp>
        <p:nvSpPr>
          <p:cNvPr id="66" name="TextBox 65"/>
          <p:cNvSpPr txBox="1">
            <a:spLocks noChangeAspect="1"/>
          </p:cNvSpPr>
          <p:nvPr/>
        </p:nvSpPr>
        <p:spPr>
          <a:xfrm>
            <a:off x="4032697" y="6545772"/>
            <a:ext cx="2196305"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270"/>
              </a:spcBef>
              <a:spcAft>
                <a:spcPts val="0"/>
              </a:spcAft>
              <a:buClr>
                <a:srgbClr val="005EB8"/>
              </a:buClr>
              <a:buSzPct val="120000"/>
              <a:buFontTx/>
              <a:buNone/>
              <a:tabLst/>
              <a:defRPr/>
            </a:pPr>
            <a:r>
              <a:rPr kumimoji="0" lang="en-US" sz="1200" b="0" i="1" u="none" strike="noStrike" kern="1200" cap="none" spc="0" normalizeH="0" baseline="0" noProof="0" dirty="0">
                <a:ln>
                  <a:noFill/>
                </a:ln>
                <a:solidFill>
                  <a:srgbClr val="323232"/>
                </a:solidFill>
                <a:effectLst/>
                <a:uLnTx/>
                <a:uFillTx/>
                <a:latin typeface="Calibri" panose="020F0502020204030204"/>
                <a:ea typeface="+mn-ea"/>
                <a:cs typeface="+mn-cs"/>
              </a:rPr>
              <a:t>Figures as of Q1 2018</a:t>
            </a:r>
          </a:p>
        </p:txBody>
      </p:sp>
      <p:sp>
        <p:nvSpPr>
          <p:cNvPr id="13" name="Rectangle 12"/>
          <p:cNvSpPr/>
          <p:nvPr/>
        </p:nvSpPr>
        <p:spPr>
          <a:xfrm>
            <a:off x="10061401" y="0"/>
            <a:ext cx="2130599" cy="5381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4" name="Imagen 88" descr="Boscolo logo.jpg"/>
          <p:cNvPicPr>
            <a:picLocks noChangeAspect="1"/>
          </p:cNvPicPr>
          <p:nvPr/>
        </p:nvPicPr>
        <p:blipFill rotWithShape="1">
          <a:blip r:embed="rId3" cstate="print">
            <a:extLst>
              <a:ext uri="{28A0092B-C50C-407E-A947-70E740481C1C}">
                <a14:useLocalDpi xmlns:a14="http://schemas.microsoft.com/office/drawing/2010/main" val="0"/>
              </a:ext>
            </a:extLst>
          </a:blip>
          <a:srcRect t="14660" b="13332"/>
          <a:stretch/>
        </p:blipFill>
        <p:spPr>
          <a:xfrm>
            <a:off x="1215030" y="3422795"/>
            <a:ext cx="555088" cy="249819"/>
          </a:xfrm>
          <a:prstGeom prst="rect">
            <a:avLst/>
          </a:prstGeom>
        </p:spPr>
      </p:pic>
      <p:pic>
        <p:nvPicPr>
          <p:cNvPr id="15" name="Imagen 90" descr="P hotels logo.png"/>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37993" y="3432458"/>
            <a:ext cx="335368" cy="239549"/>
          </a:xfrm>
          <a:prstGeom prst="rect">
            <a:avLst/>
          </a:prstGeom>
        </p:spPr>
      </p:pic>
      <p:pic>
        <p:nvPicPr>
          <p:cNvPr id="16" name="Imagen 91" descr="Ibis logo.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09623" y="3143984"/>
            <a:ext cx="606869" cy="267311"/>
          </a:xfrm>
          <a:prstGeom prst="rect">
            <a:avLst/>
          </a:prstGeom>
        </p:spPr>
      </p:pic>
      <p:pic>
        <p:nvPicPr>
          <p:cNvPr id="18" name="Imagen 85" descr="Hilton logo.jpg"/>
          <p:cNvPicPr>
            <a:picLocks noChangeAspect="1"/>
          </p:cNvPicPr>
          <p:nvPr/>
        </p:nvPicPr>
        <p:blipFill rotWithShape="1">
          <a:blip r:embed="rId6" cstate="print">
            <a:extLst>
              <a:ext uri="{28A0092B-C50C-407E-A947-70E740481C1C}">
                <a14:useLocalDpi xmlns:a14="http://schemas.microsoft.com/office/drawing/2010/main" val="0"/>
              </a:ext>
            </a:extLst>
          </a:blip>
          <a:srcRect t="7070"/>
          <a:stretch/>
        </p:blipFill>
        <p:spPr>
          <a:xfrm>
            <a:off x="1825448" y="2202354"/>
            <a:ext cx="409987" cy="304801"/>
          </a:xfrm>
          <a:prstGeom prst="rect">
            <a:avLst/>
          </a:prstGeom>
        </p:spPr>
      </p:pic>
      <p:sp>
        <p:nvSpPr>
          <p:cNvPr id="19" name="Elipse 13"/>
          <p:cNvSpPr/>
          <p:nvPr/>
        </p:nvSpPr>
        <p:spPr>
          <a:xfrm>
            <a:off x="290117" y="1716952"/>
            <a:ext cx="2056239" cy="2056239"/>
          </a:xfrm>
          <a:prstGeom prst="ellipse">
            <a:avLst/>
          </a:prstGeom>
          <a:noFill/>
          <a:ln w="1905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ángulo 50"/>
          <p:cNvSpPr/>
          <p:nvPr/>
        </p:nvSpPr>
        <p:spPr>
          <a:xfrm>
            <a:off x="984865" y="1676289"/>
            <a:ext cx="659694" cy="22577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2" name="Conector recto 18"/>
          <p:cNvCxnSpPr>
            <a:stCxn id="28" idx="3"/>
            <a:endCxn id="36" idx="2"/>
          </p:cNvCxnSpPr>
          <p:nvPr/>
        </p:nvCxnSpPr>
        <p:spPr>
          <a:xfrm>
            <a:off x="2278814" y="2690555"/>
            <a:ext cx="2372541" cy="1947938"/>
          </a:xfrm>
          <a:prstGeom prst="lin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cxnSp>
      <p:pic>
        <p:nvPicPr>
          <p:cNvPr id="23" name="Imagen 38"/>
          <p:cNvPicPr>
            <a:picLocks noChangeAspect="1"/>
          </p:cNvPicPr>
          <p:nvPr/>
        </p:nvPicPr>
        <p:blipFill>
          <a:blip r:embed="rId7"/>
          <a:stretch>
            <a:fillRect/>
          </a:stretch>
        </p:blipFill>
        <p:spPr>
          <a:xfrm>
            <a:off x="886435" y="821020"/>
            <a:ext cx="863600" cy="1409700"/>
          </a:xfrm>
          <a:prstGeom prst="rect">
            <a:avLst/>
          </a:prstGeom>
        </p:spPr>
      </p:pic>
      <p:cxnSp>
        <p:nvCxnSpPr>
          <p:cNvPr id="24" name="Conector recto 43"/>
          <p:cNvCxnSpPr/>
          <p:nvPr/>
        </p:nvCxnSpPr>
        <p:spPr>
          <a:xfrm>
            <a:off x="1318235" y="3773190"/>
            <a:ext cx="0" cy="112730"/>
          </a:xfrm>
          <a:prstGeom prst="line">
            <a:avLst/>
          </a:prstGeom>
          <a:ln w="19050" cmpd="sng">
            <a:solidFill>
              <a:schemeClr val="accent1"/>
            </a:solidFill>
            <a:tailEnd type="oval"/>
          </a:ln>
        </p:spPr>
        <p:style>
          <a:lnRef idx="2">
            <a:schemeClr val="accent1"/>
          </a:lnRef>
          <a:fillRef idx="0">
            <a:schemeClr val="accent1"/>
          </a:fillRef>
          <a:effectRef idx="1">
            <a:schemeClr val="accent1"/>
          </a:effectRef>
          <a:fontRef idx="minor">
            <a:schemeClr val="tx1"/>
          </a:fontRef>
        </p:style>
      </p:cxnSp>
      <p:pic>
        <p:nvPicPr>
          <p:cNvPr id="25" name="Imagen 79" descr="Accor logo.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2225" y="2302958"/>
            <a:ext cx="706980" cy="199456"/>
          </a:xfrm>
          <a:prstGeom prst="rect">
            <a:avLst/>
          </a:prstGeom>
        </p:spPr>
      </p:pic>
      <p:pic>
        <p:nvPicPr>
          <p:cNvPr id="26" name="Imagen 80" descr="Best Western logo.png"/>
          <p:cNvPicPr>
            <a:picLocks noChangeAspect="1"/>
          </p:cNvPicPr>
          <p:nvPr/>
        </p:nvPicPr>
        <p:blipFill rotWithShape="1">
          <a:blip r:embed="rId9" cstate="hqprint">
            <a:extLst>
              <a:ext uri="{28A0092B-C50C-407E-A947-70E740481C1C}">
                <a14:useLocalDpi xmlns:a14="http://schemas.microsoft.com/office/drawing/2010/main" val="0"/>
              </a:ext>
            </a:extLst>
          </a:blip>
          <a:srcRect l="3616" t="6880" r="890" b="16339"/>
          <a:stretch/>
        </p:blipFill>
        <p:spPr>
          <a:xfrm>
            <a:off x="379165" y="2819392"/>
            <a:ext cx="1058271" cy="223415"/>
          </a:xfrm>
          <a:prstGeom prst="rect">
            <a:avLst/>
          </a:prstGeom>
        </p:spPr>
      </p:pic>
      <p:pic>
        <p:nvPicPr>
          <p:cNvPr id="27" name="Imagen 81" descr="IHG logo.png"/>
          <p:cNvPicPr>
            <a:picLocks noChangeAspect="1"/>
          </p:cNvPicPr>
          <p:nvPr/>
        </p:nvPicPr>
        <p:blipFill rotWithShape="1">
          <a:blip r:embed="rId10" cstate="hqprint">
            <a:extLst>
              <a:ext uri="{28A0092B-C50C-407E-A947-70E740481C1C}">
                <a14:useLocalDpi xmlns:a14="http://schemas.microsoft.com/office/drawing/2010/main" val="0"/>
              </a:ext>
            </a:extLst>
          </a:blip>
          <a:srcRect r="5881" b="11540"/>
          <a:stretch/>
        </p:blipFill>
        <p:spPr>
          <a:xfrm>
            <a:off x="560451" y="3122351"/>
            <a:ext cx="349116" cy="263810"/>
          </a:xfrm>
          <a:prstGeom prst="rect">
            <a:avLst/>
          </a:prstGeom>
        </p:spPr>
      </p:pic>
      <p:pic>
        <p:nvPicPr>
          <p:cNvPr id="28" name="Imagen 82" descr="Marriot logo.jpe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77095" y="2616348"/>
            <a:ext cx="701719" cy="148413"/>
          </a:xfrm>
          <a:prstGeom prst="rect">
            <a:avLst/>
          </a:prstGeom>
        </p:spPr>
      </p:pic>
      <p:pic>
        <p:nvPicPr>
          <p:cNvPr id="29" name="Imagen 83" descr="Sheraton logo.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4736" y="2028324"/>
            <a:ext cx="576622" cy="429161"/>
          </a:xfrm>
          <a:prstGeom prst="rect">
            <a:avLst/>
          </a:prstGeom>
        </p:spPr>
      </p:pic>
      <p:pic>
        <p:nvPicPr>
          <p:cNvPr id="30" name="Imagen 84" descr="Radisson logo.jp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09622" y="2799826"/>
            <a:ext cx="670278" cy="256663"/>
          </a:xfrm>
          <a:prstGeom prst="rect">
            <a:avLst/>
          </a:prstGeom>
        </p:spPr>
      </p:pic>
      <p:pic>
        <p:nvPicPr>
          <p:cNvPr id="31" name="Imagen 86" descr="Premiere Inn logo.jp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82504" y="2557688"/>
            <a:ext cx="324062" cy="212268"/>
          </a:xfrm>
          <a:prstGeom prst="rect">
            <a:avLst/>
          </a:prstGeom>
        </p:spPr>
      </p:pic>
      <p:pic>
        <p:nvPicPr>
          <p:cNvPr id="32" name="Imagen 87" descr="Holida Inn logo.png"/>
          <p:cNvPicPr>
            <a:picLocks noChangeAspect="1"/>
          </p:cNvPicPr>
          <p:nvPr/>
        </p:nvPicPr>
        <p:blipFill rotWithShape="1">
          <a:blip r:embed="rId15" cstate="print">
            <a:extLst>
              <a:ext uri="{28A0092B-C50C-407E-A947-70E740481C1C}">
                <a14:useLocalDpi xmlns:a14="http://schemas.microsoft.com/office/drawing/2010/main" val="0"/>
              </a:ext>
            </a:extLst>
          </a:blip>
          <a:srcRect t="9516" r="2176" b="8626"/>
          <a:stretch/>
        </p:blipFill>
        <p:spPr>
          <a:xfrm>
            <a:off x="323598" y="2589174"/>
            <a:ext cx="803340" cy="194808"/>
          </a:xfrm>
          <a:prstGeom prst="rect">
            <a:avLst/>
          </a:prstGeom>
        </p:spPr>
      </p:pic>
      <p:pic>
        <p:nvPicPr>
          <p:cNvPr id="34" name="Imagen 89" descr="Star Inn logo.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23195" y="3095442"/>
            <a:ext cx="558308" cy="302070"/>
          </a:xfrm>
          <a:prstGeom prst="rect">
            <a:avLst/>
          </a:prstGeom>
        </p:spPr>
      </p:pic>
      <p:sp>
        <p:nvSpPr>
          <p:cNvPr id="35" name="Text Placeholder 9"/>
          <p:cNvSpPr txBox="1">
            <a:spLocks/>
          </p:cNvSpPr>
          <p:nvPr/>
        </p:nvSpPr>
        <p:spPr>
          <a:xfrm>
            <a:off x="38530" y="3927400"/>
            <a:ext cx="2386348" cy="368333"/>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A9E0"/>
              </a:buClr>
              <a:buSzPct val="80000"/>
              <a:buFont typeface="Calibri" panose="020F0502020204030204" pitchFamily="34" charset="0"/>
              <a:buNone/>
              <a:tabLst/>
              <a:defRPr/>
            </a:pPr>
            <a:r>
              <a:rPr kumimoji="0" lang="en-GB" sz="1800" b="0" i="0" u="none" strike="noStrike" kern="1200" cap="none" spc="0" normalizeH="0" baseline="0" noProof="0" dirty="0">
                <a:ln>
                  <a:noFill/>
                </a:ln>
                <a:solidFill>
                  <a:srgbClr val="005EB8"/>
                </a:solidFill>
                <a:effectLst/>
                <a:uLnTx/>
                <a:uFillTx/>
                <a:latin typeface="Calibri Light" panose="020F0302020204030204"/>
                <a:ea typeface="+mn-ea"/>
                <a:cs typeface="+mn-cs"/>
              </a:rPr>
              <a:t>310 top hotel chains </a:t>
            </a:r>
          </a:p>
        </p:txBody>
      </p:sp>
      <p:sp>
        <p:nvSpPr>
          <p:cNvPr id="36" name="Elipse 16"/>
          <p:cNvSpPr>
            <a:spLocks noChangeAspect="1"/>
          </p:cNvSpPr>
          <p:nvPr/>
        </p:nvSpPr>
        <p:spPr>
          <a:xfrm>
            <a:off x="4651355" y="3095442"/>
            <a:ext cx="3086101" cy="3086101"/>
          </a:xfrm>
          <a:prstGeom prst="ellipse">
            <a:avLst/>
          </a:prstGeom>
          <a:noFill/>
          <a:ln w="19050" cmpd="sng">
            <a:solidFill>
              <a:srgbClr val="005EB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7" name="Rectángulo 19"/>
          <p:cNvSpPr>
            <a:spLocks noChangeAspect="1"/>
          </p:cNvSpPr>
          <p:nvPr/>
        </p:nvSpPr>
        <p:spPr>
          <a:xfrm>
            <a:off x="5808953" y="5330680"/>
            <a:ext cx="876300" cy="208027"/>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8" name="Text Placeholder 8"/>
          <p:cNvSpPr txBox="1">
            <a:spLocks/>
          </p:cNvSpPr>
          <p:nvPr/>
        </p:nvSpPr>
        <p:spPr>
          <a:xfrm>
            <a:off x="4984682" y="2071847"/>
            <a:ext cx="2419448" cy="442470"/>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5EB8"/>
              </a:buClr>
              <a:buSzPct val="120000"/>
              <a:buFont typeface="Calibri" panose="020F0502020204030204" pitchFamily="34" charset="0"/>
              <a:buNone/>
              <a:tabLst/>
              <a:defRPr/>
            </a:pPr>
            <a:r>
              <a:rPr kumimoji="0" lang="en-GB" sz="2400" b="1" i="0" u="none" strike="noStrike" kern="1200" cap="none" spc="0" normalizeH="0" baseline="0" noProof="0" dirty="0">
                <a:ln>
                  <a:noFill/>
                </a:ln>
                <a:solidFill>
                  <a:srgbClr val="005EB8"/>
                </a:solidFill>
                <a:effectLst/>
                <a:uLnTx/>
                <a:uFillTx/>
                <a:latin typeface="Calibri Light" panose="020F0302020204030204"/>
                <a:ea typeface="+mn-ea"/>
                <a:cs typeface="+mn-cs"/>
              </a:rPr>
              <a:t>Amadeus Value Hotels</a:t>
            </a:r>
          </a:p>
          <a:p>
            <a:pPr marL="0" marR="0" lvl="0" indent="0" algn="ctr" defTabSz="914400" rtl="0" eaLnBrk="1" fontAlgn="auto" latinLnBrk="0" hangingPunct="1">
              <a:lnSpc>
                <a:spcPct val="90000"/>
              </a:lnSpc>
              <a:spcBef>
                <a:spcPts val="300"/>
              </a:spcBef>
              <a:spcAft>
                <a:spcPts val="0"/>
              </a:spcAft>
              <a:buClr>
                <a:srgbClr val="005EB8"/>
              </a:buClr>
              <a:buSzPct val="120000"/>
              <a:buFont typeface="Calibri" panose="020F0502020204030204" pitchFamily="34" charset="0"/>
              <a:buNone/>
              <a:tabLst/>
              <a:defRPr/>
            </a:pPr>
            <a:r>
              <a:rPr kumimoji="0" lang="en-GB" sz="1600" b="1" i="0" u="none" strike="noStrike" kern="1200" cap="none" spc="0" normalizeH="0" baseline="0" noProof="0" dirty="0">
                <a:ln>
                  <a:noFill/>
                </a:ln>
                <a:solidFill>
                  <a:srgbClr val="323232"/>
                </a:solidFill>
                <a:effectLst/>
                <a:uLnTx/>
                <a:uFillTx/>
                <a:latin typeface="Calibri Light" panose="020F0302020204030204"/>
                <a:ea typeface="+mn-ea"/>
                <a:cs typeface="+mn-cs"/>
              </a:rPr>
              <a:t>.</a:t>
            </a:r>
          </a:p>
        </p:txBody>
      </p:sp>
      <p:cxnSp>
        <p:nvCxnSpPr>
          <p:cNvPr id="39" name="Conector recto 48"/>
          <p:cNvCxnSpPr>
            <a:cxnSpLocks noChangeAspect="1"/>
          </p:cNvCxnSpPr>
          <p:nvPr/>
        </p:nvCxnSpPr>
        <p:spPr>
          <a:xfrm>
            <a:off x="6194405" y="2780966"/>
            <a:ext cx="1" cy="285733"/>
          </a:xfrm>
          <a:prstGeom prst="line">
            <a:avLst/>
          </a:prstGeom>
          <a:ln w="19050" cmpd="sng">
            <a:solidFill>
              <a:schemeClr val="accent1"/>
            </a:solidFill>
            <a:headEnd type="oval"/>
          </a:ln>
        </p:spPr>
        <p:style>
          <a:lnRef idx="2">
            <a:schemeClr val="accent1"/>
          </a:lnRef>
          <a:fillRef idx="0">
            <a:schemeClr val="accent1"/>
          </a:fillRef>
          <a:effectRef idx="1">
            <a:schemeClr val="accent1"/>
          </a:effectRef>
          <a:fontRef idx="minor">
            <a:schemeClr val="tx1"/>
          </a:fontRef>
        </p:style>
      </p:cxnSp>
      <p:pic>
        <p:nvPicPr>
          <p:cNvPr id="40" name="Picture 3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261772" y="3191067"/>
            <a:ext cx="2093002" cy="1782503"/>
          </a:xfrm>
          <a:prstGeom prst="rect">
            <a:avLst/>
          </a:prstGeom>
        </p:spPr>
      </p:pic>
      <p:pic>
        <p:nvPicPr>
          <p:cNvPr id="41" name="Imagen 42"/>
          <p:cNvPicPr>
            <a:picLocks noChangeAspect="1"/>
          </p:cNvPicPr>
          <p:nvPr/>
        </p:nvPicPr>
        <p:blipFill>
          <a:blip r:embed="rId18"/>
          <a:stretch>
            <a:fillRect/>
          </a:stretch>
        </p:blipFill>
        <p:spPr>
          <a:xfrm>
            <a:off x="5650029" y="4973570"/>
            <a:ext cx="1046762" cy="1077103"/>
          </a:xfrm>
          <a:prstGeom prst="rect">
            <a:avLst/>
          </a:prstGeom>
        </p:spPr>
      </p:pic>
    </p:spTree>
    <p:extLst>
      <p:ext uri="{BB962C8B-B14F-4D97-AF65-F5344CB8AC3E}">
        <p14:creationId xmlns:p14="http://schemas.microsoft.com/office/powerpoint/2010/main" val="2444687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Elipse 16"/>
          <p:cNvSpPr>
            <a:spLocks noChangeAspect="1"/>
          </p:cNvSpPr>
          <p:nvPr/>
        </p:nvSpPr>
        <p:spPr>
          <a:xfrm>
            <a:off x="4651355" y="3095442"/>
            <a:ext cx="3086101" cy="3086101"/>
          </a:xfrm>
          <a:prstGeom prst="ellipse">
            <a:avLst/>
          </a:prstGeom>
          <a:noFill/>
          <a:ln w="19050" cmpd="sng">
            <a:solidFill>
              <a:srgbClr val="005EB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ángulo 19"/>
          <p:cNvSpPr>
            <a:spLocks noChangeAspect="1"/>
          </p:cNvSpPr>
          <p:nvPr/>
        </p:nvSpPr>
        <p:spPr>
          <a:xfrm>
            <a:off x="5808953" y="5330680"/>
            <a:ext cx="876300" cy="208027"/>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Marcador de número de diapositiva 1"/>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E57627FB-D816-4EA7-98E3-793F2D9BC93A}" type="slidenum">
              <a:rPr kumimoji="0" lang="es-ES" sz="800" b="0" i="0" u="none" strike="noStrike" kern="1200" cap="none" spc="0" normalizeH="0" baseline="0" noProof="0" smtClean="0">
                <a:ln>
                  <a:noFill/>
                </a:ln>
                <a:solidFill>
                  <a:srgbClr val="FFFFFF">
                    <a:lumMod val="50000"/>
                  </a:srgbClr>
                </a:solidFill>
                <a:effectLst/>
                <a:uLnTx/>
                <a:uFillTx/>
                <a:latin typeface="Calibri Light" panose="020F030202020403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8</a:t>
            </a:fld>
            <a:endParaRPr kumimoji="0" lang="es-ES" sz="800" b="0" i="0" u="none" strike="noStrike" kern="1200" cap="none" spc="0" normalizeH="0" baseline="0" noProof="0" dirty="0">
              <a:ln>
                <a:noFill/>
              </a:ln>
              <a:solidFill>
                <a:srgbClr val="FFFFFF">
                  <a:lumMod val="50000"/>
                </a:srgbClr>
              </a:solidFill>
              <a:effectLst/>
              <a:uLnTx/>
              <a:uFillTx/>
              <a:latin typeface="Calibri Light" panose="020F0302020204030204"/>
              <a:ea typeface="+mn-ea"/>
              <a:cs typeface="+mn-cs"/>
            </a:endParaRPr>
          </a:p>
        </p:txBody>
      </p:sp>
      <p:sp>
        <p:nvSpPr>
          <p:cNvPr id="3" name="Marcador de pie de página 2"/>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rPr>
              <a:t>© 2016 Amadeus IT Group and its affiliates and subsidiaries</a:t>
            </a:r>
            <a:endParaRPr kumimoji="0" lang="es-E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endParaRPr>
          </a:p>
        </p:txBody>
      </p:sp>
      <p:sp>
        <p:nvSpPr>
          <p:cNvPr id="4" name="Título 3"/>
          <p:cNvSpPr>
            <a:spLocks noGrp="1"/>
          </p:cNvSpPr>
          <p:nvPr>
            <p:ph type="title"/>
          </p:nvPr>
        </p:nvSpPr>
        <p:spPr>
          <a:xfrm>
            <a:off x="1725168" y="296865"/>
            <a:ext cx="8439912" cy="482549"/>
          </a:xfrm>
        </p:spPr>
        <p:txBody>
          <a:bodyPr/>
          <a:lstStyle/>
          <a:p>
            <a:r>
              <a:rPr lang="en-GB" dirty="0"/>
              <a:t>Our Value proposition in a nutshell</a:t>
            </a:r>
          </a:p>
        </p:txBody>
      </p:sp>
      <p:sp>
        <p:nvSpPr>
          <p:cNvPr id="5" name="Marcador de texto 4"/>
          <p:cNvSpPr>
            <a:spLocks noGrp="1"/>
          </p:cNvSpPr>
          <p:nvPr>
            <p:ph type="body" sz="quarter" idx="13"/>
          </p:nvPr>
        </p:nvSpPr>
        <p:spPr>
          <a:xfrm>
            <a:off x="1725168" y="961211"/>
            <a:ext cx="9599780" cy="543379"/>
          </a:xfrm>
        </p:spPr>
        <p:txBody>
          <a:bodyPr/>
          <a:lstStyle/>
          <a:p>
            <a:pPr>
              <a:lnSpc>
                <a:spcPct val="90000"/>
              </a:lnSpc>
            </a:pPr>
            <a:r>
              <a:rPr lang="en-GB" dirty="0"/>
              <a:t>2.5+ million hotel shopping options. 618K unique properties.</a:t>
            </a:r>
          </a:p>
        </p:txBody>
      </p:sp>
      <p:sp>
        <p:nvSpPr>
          <p:cNvPr id="33" name="Text Placeholder 8"/>
          <p:cNvSpPr txBox="1">
            <a:spLocks/>
          </p:cNvSpPr>
          <p:nvPr/>
        </p:nvSpPr>
        <p:spPr>
          <a:xfrm>
            <a:off x="4984682" y="2071847"/>
            <a:ext cx="2419448" cy="442470"/>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5EB8"/>
              </a:buClr>
              <a:buSzPct val="120000"/>
              <a:buFont typeface="Calibri" panose="020F0502020204030204" pitchFamily="34" charset="0"/>
              <a:buNone/>
              <a:tabLst/>
              <a:defRPr/>
            </a:pPr>
            <a:r>
              <a:rPr kumimoji="0" lang="en-GB" sz="2400" b="1" i="0" u="none" strike="noStrike" kern="1200" cap="none" spc="0" normalizeH="0" baseline="0" noProof="0" dirty="0">
                <a:ln>
                  <a:noFill/>
                </a:ln>
                <a:solidFill>
                  <a:srgbClr val="005EB8"/>
                </a:solidFill>
                <a:effectLst/>
                <a:uLnTx/>
                <a:uFillTx/>
                <a:latin typeface="Calibri Light" panose="020F0302020204030204"/>
                <a:ea typeface="+mn-ea"/>
                <a:cs typeface="+mn-cs"/>
              </a:rPr>
              <a:t>Amadeus Value Hotels</a:t>
            </a:r>
          </a:p>
          <a:p>
            <a:pPr marL="0" marR="0" lvl="0" indent="0" algn="ctr" defTabSz="914400" rtl="0" eaLnBrk="1" fontAlgn="auto" latinLnBrk="0" hangingPunct="1">
              <a:lnSpc>
                <a:spcPct val="90000"/>
              </a:lnSpc>
              <a:spcBef>
                <a:spcPts val="300"/>
              </a:spcBef>
              <a:spcAft>
                <a:spcPts val="0"/>
              </a:spcAft>
              <a:buClr>
                <a:srgbClr val="005EB8"/>
              </a:buClr>
              <a:buSzPct val="120000"/>
              <a:buFont typeface="Calibri" panose="020F0502020204030204" pitchFamily="34" charset="0"/>
              <a:buNone/>
              <a:tabLst/>
              <a:defRPr/>
            </a:pPr>
            <a:r>
              <a:rPr kumimoji="0" lang="en-GB" sz="1600" b="1" i="0" u="none" strike="noStrike" kern="1200" cap="none" spc="0" normalizeH="0" baseline="0" noProof="0" dirty="0">
                <a:ln>
                  <a:noFill/>
                </a:ln>
                <a:solidFill>
                  <a:srgbClr val="323232"/>
                </a:solidFill>
                <a:effectLst/>
                <a:uLnTx/>
                <a:uFillTx/>
                <a:latin typeface="Calibri Light" panose="020F0302020204030204"/>
                <a:ea typeface="+mn-ea"/>
                <a:cs typeface="+mn-cs"/>
              </a:rPr>
              <a:t>.</a:t>
            </a:r>
          </a:p>
        </p:txBody>
      </p:sp>
      <p:cxnSp>
        <p:nvCxnSpPr>
          <p:cNvPr id="49" name="Conector recto 48"/>
          <p:cNvCxnSpPr>
            <a:cxnSpLocks noChangeAspect="1"/>
          </p:cNvCxnSpPr>
          <p:nvPr/>
        </p:nvCxnSpPr>
        <p:spPr>
          <a:xfrm>
            <a:off x="6194405" y="2780966"/>
            <a:ext cx="1" cy="285733"/>
          </a:xfrm>
          <a:prstGeom prst="line">
            <a:avLst/>
          </a:prstGeom>
          <a:ln w="19050" cmpd="sng">
            <a:solidFill>
              <a:schemeClr val="accent1"/>
            </a:solidFill>
            <a:headEnd type="oval"/>
          </a:ln>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1772" y="3191067"/>
            <a:ext cx="2093002" cy="1782503"/>
          </a:xfrm>
          <a:prstGeom prst="rect">
            <a:avLst/>
          </a:prstGeom>
        </p:spPr>
      </p:pic>
      <p:pic>
        <p:nvPicPr>
          <p:cNvPr id="43" name="Imagen 42"/>
          <p:cNvPicPr>
            <a:picLocks noChangeAspect="1"/>
          </p:cNvPicPr>
          <p:nvPr/>
        </p:nvPicPr>
        <p:blipFill>
          <a:blip r:embed="rId4"/>
          <a:stretch>
            <a:fillRect/>
          </a:stretch>
        </p:blipFill>
        <p:spPr>
          <a:xfrm>
            <a:off x="5650029" y="4973570"/>
            <a:ext cx="1046762" cy="1077103"/>
          </a:xfrm>
          <a:prstGeom prst="rect">
            <a:avLst/>
          </a:prstGeom>
        </p:spPr>
      </p:pic>
      <p:sp>
        <p:nvSpPr>
          <p:cNvPr id="66" name="TextBox 65"/>
          <p:cNvSpPr txBox="1">
            <a:spLocks noChangeAspect="1"/>
          </p:cNvSpPr>
          <p:nvPr/>
        </p:nvSpPr>
        <p:spPr>
          <a:xfrm>
            <a:off x="4032697" y="6545772"/>
            <a:ext cx="2196305"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270"/>
              </a:spcBef>
              <a:spcAft>
                <a:spcPts val="0"/>
              </a:spcAft>
              <a:buClr>
                <a:srgbClr val="005EB8"/>
              </a:buClr>
              <a:buSzPct val="120000"/>
              <a:buFontTx/>
              <a:buNone/>
              <a:tabLst/>
              <a:defRPr/>
            </a:pPr>
            <a:r>
              <a:rPr kumimoji="0" lang="en-US" sz="1200" b="0" i="1" u="none" strike="noStrike" kern="1200" cap="none" spc="0" normalizeH="0" baseline="0" noProof="0" dirty="0">
                <a:ln>
                  <a:noFill/>
                </a:ln>
                <a:solidFill>
                  <a:srgbClr val="323232"/>
                </a:solidFill>
                <a:effectLst/>
                <a:uLnTx/>
                <a:uFillTx/>
                <a:latin typeface="Calibri" panose="020F0502020204030204"/>
                <a:ea typeface="+mn-ea"/>
                <a:cs typeface="+mn-cs"/>
              </a:rPr>
              <a:t>Figures as of Q1 2018</a:t>
            </a:r>
          </a:p>
        </p:txBody>
      </p:sp>
      <p:sp>
        <p:nvSpPr>
          <p:cNvPr id="13" name="Rectangle 12"/>
          <p:cNvSpPr/>
          <p:nvPr/>
        </p:nvSpPr>
        <p:spPr>
          <a:xfrm>
            <a:off x="10061401" y="0"/>
            <a:ext cx="2130599" cy="5381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4" name="Imagen 88" descr="Boscolo logo.jpg"/>
          <p:cNvPicPr>
            <a:picLocks noChangeAspect="1"/>
          </p:cNvPicPr>
          <p:nvPr/>
        </p:nvPicPr>
        <p:blipFill rotWithShape="1">
          <a:blip r:embed="rId5" cstate="print">
            <a:extLst>
              <a:ext uri="{28A0092B-C50C-407E-A947-70E740481C1C}">
                <a14:useLocalDpi xmlns:a14="http://schemas.microsoft.com/office/drawing/2010/main" val="0"/>
              </a:ext>
            </a:extLst>
          </a:blip>
          <a:srcRect t="14660" b="13332"/>
          <a:stretch/>
        </p:blipFill>
        <p:spPr>
          <a:xfrm>
            <a:off x="1215030" y="3422795"/>
            <a:ext cx="555088" cy="249819"/>
          </a:xfrm>
          <a:prstGeom prst="rect">
            <a:avLst/>
          </a:prstGeom>
        </p:spPr>
      </p:pic>
      <p:pic>
        <p:nvPicPr>
          <p:cNvPr id="15" name="Imagen 90" descr="P hotels logo.png"/>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37993" y="3432458"/>
            <a:ext cx="335368" cy="239549"/>
          </a:xfrm>
          <a:prstGeom prst="rect">
            <a:avLst/>
          </a:prstGeom>
        </p:spPr>
      </p:pic>
      <p:pic>
        <p:nvPicPr>
          <p:cNvPr id="16" name="Imagen 91" descr="Ibis logo.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09623" y="3143984"/>
            <a:ext cx="606869" cy="267311"/>
          </a:xfrm>
          <a:prstGeom prst="rect">
            <a:avLst/>
          </a:prstGeom>
        </p:spPr>
      </p:pic>
      <p:pic>
        <p:nvPicPr>
          <p:cNvPr id="18" name="Imagen 85" descr="Hilton logo.jpg"/>
          <p:cNvPicPr>
            <a:picLocks noChangeAspect="1"/>
          </p:cNvPicPr>
          <p:nvPr/>
        </p:nvPicPr>
        <p:blipFill rotWithShape="1">
          <a:blip r:embed="rId8" cstate="print">
            <a:extLst>
              <a:ext uri="{28A0092B-C50C-407E-A947-70E740481C1C}">
                <a14:useLocalDpi xmlns:a14="http://schemas.microsoft.com/office/drawing/2010/main" val="0"/>
              </a:ext>
            </a:extLst>
          </a:blip>
          <a:srcRect t="7070"/>
          <a:stretch/>
        </p:blipFill>
        <p:spPr>
          <a:xfrm>
            <a:off x="1825448" y="2202354"/>
            <a:ext cx="409987" cy="304801"/>
          </a:xfrm>
          <a:prstGeom prst="rect">
            <a:avLst/>
          </a:prstGeom>
        </p:spPr>
      </p:pic>
      <p:sp>
        <p:nvSpPr>
          <p:cNvPr id="19" name="Elipse 13"/>
          <p:cNvSpPr/>
          <p:nvPr/>
        </p:nvSpPr>
        <p:spPr>
          <a:xfrm>
            <a:off x="290117" y="1716952"/>
            <a:ext cx="2056239" cy="2056239"/>
          </a:xfrm>
          <a:prstGeom prst="ellipse">
            <a:avLst/>
          </a:prstGeom>
          <a:noFill/>
          <a:ln w="1905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ángulo 50"/>
          <p:cNvSpPr/>
          <p:nvPr/>
        </p:nvSpPr>
        <p:spPr>
          <a:xfrm>
            <a:off x="984865" y="1676289"/>
            <a:ext cx="659694" cy="22577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2" name="Conector recto 18"/>
          <p:cNvCxnSpPr>
            <a:stCxn id="19" idx="6"/>
            <a:endCxn id="17" idx="2"/>
          </p:cNvCxnSpPr>
          <p:nvPr/>
        </p:nvCxnSpPr>
        <p:spPr>
          <a:xfrm>
            <a:off x="2346356" y="2745072"/>
            <a:ext cx="2304999" cy="1893421"/>
          </a:xfrm>
          <a:prstGeom prst="lin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cxnSp>
      <p:pic>
        <p:nvPicPr>
          <p:cNvPr id="23" name="Imagen 38"/>
          <p:cNvPicPr>
            <a:picLocks noChangeAspect="1"/>
          </p:cNvPicPr>
          <p:nvPr/>
        </p:nvPicPr>
        <p:blipFill>
          <a:blip r:embed="rId9"/>
          <a:stretch>
            <a:fillRect/>
          </a:stretch>
        </p:blipFill>
        <p:spPr>
          <a:xfrm>
            <a:off x="886435" y="821020"/>
            <a:ext cx="863600" cy="1409700"/>
          </a:xfrm>
          <a:prstGeom prst="rect">
            <a:avLst/>
          </a:prstGeom>
        </p:spPr>
      </p:pic>
      <p:cxnSp>
        <p:nvCxnSpPr>
          <p:cNvPr id="24" name="Conector recto 43"/>
          <p:cNvCxnSpPr/>
          <p:nvPr/>
        </p:nvCxnSpPr>
        <p:spPr>
          <a:xfrm>
            <a:off x="1318235" y="3773190"/>
            <a:ext cx="0" cy="112730"/>
          </a:xfrm>
          <a:prstGeom prst="line">
            <a:avLst/>
          </a:prstGeom>
          <a:ln w="19050" cmpd="sng">
            <a:solidFill>
              <a:schemeClr val="accent1"/>
            </a:solidFill>
            <a:tailEnd type="oval"/>
          </a:ln>
        </p:spPr>
        <p:style>
          <a:lnRef idx="2">
            <a:schemeClr val="accent1"/>
          </a:lnRef>
          <a:fillRef idx="0">
            <a:schemeClr val="accent1"/>
          </a:fillRef>
          <a:effectRef idx="1">
            <a:schemeClr val="accent1"/>
          </a:effectRef>
          <a:fontRef idx="minor">
            <a:schemeClr val="tx1"/>
          </a:fontRef>
        </p:style>
      </p:cxnSp>
      <p:pic>
        <p:nvPicPr>
          <p:cNvPr id="25" name="Imagen 79" descr="Accor logo.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42225" y="2302958"/>
            <a:ext cx="706980" cy="199456"/>
          </a:xfrm>
          <a:prstGeom prst="rect">
            <a:avLst/>
          </a:prstGeom>
        </p:spPr>
      </p:pic>
      <p:pic>
        <p:nvPicPr>
          <p:cNvPr id="26" name="Imagen 80" descr="Best Western logo.png"/>
          <p:cNvPicPr>
            <a:picLocks noChangeAspect="1"/>
          </p:cNvPicPr>
          <p:nvPr/>
        </p:nvPicPr>
        <p:blipFill rotWithShape="1">
          <a:blip r:embed="rId11" cstate="hqprint">
            <a:extLst>
              <a:ext uri="{28A0092B-C50C-407E-A947-70E740481C1C}">
                <a14:useLocalDpi xmlns:a14="http://schemas.microsoft.com/office/drawing/2010/main" val="0"/>
              </a:ext>
            </a:extLst>
          </a:blip>
          <a:srcRect l="3616" t="6880" r="890" b="16339"/>
          <a:stretch/>
        </p:blipFill>
        <p:spPr>
          <a:xfrm>
            <a:off x="379165" y="2819392"/>
            <a:ext cx="1058271" cy="223415"/>
          </a:xfrm>
          <a:prstGeom prst="rect">
            <a:avLst/>
          </a:prstGeom>
        </p:spPr>
      </p:pic>
      <p:pic>
        <p:nvPicPr>
          <p:cNvPr id="27" name="Imagen 81" descr="IHG logo.png"/>
          <p:cNvPicPr>
            <a:picLocks noChangeAspect="1"/>
          </p:cNvPicPr>
          <p:nvPr/>
        </p:nvPicPr>
        <p:blipFill rotWithShape="1">
          <a:blip r:embed="rId12" cstate="hqprint">
            <a:extLst>
              <a:ext uri="{28A0092B-C50C-407E-A947-70E740481C1C}">
                <a14:useLocalDpi xmlns:a14="http://schemas.microsoft.com/office/drawing/2010/main" val="0"/>
              </a:ext>
            </a:extLst>
          </a:blip>
          <a:srcRect r="5881" b="11540"/>
          <a:stretch/>
        </p:blipFill>
        <p:spPr>
          <a:xfrm>
            <a:off x="560451" y="3122351"/>
            <a:ext cx="349116" cy="263810"/>
          </a:xfrm>
          <a:prstGeom prst="rect">
            <a:avLst/>
          </a:prstGeom>
        </p:spPr>
      </p:pic>
      <p:pic>
        <p:nvPicPr>
          <p:cNvPr id="28" name="Imagen 82" descr="Marriot logo.jpe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77095" y="2616348"/>
            <a:ext cx="701719" cy="148413"/>
          </a:xfrm>
          <a:prstGeom prst="rect">
            <a:avLst/>
          </a:prstGeom>
        </p:spPr>
      </p:pic>
      <p:pic>
        <p:nvPicPr>
          <p:cNvPr id="29" name="Imagen 83" descr="Sheraton logo.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34736" y="2028324"/>
            <a:ext cx="576622" cy="429161"/>
          </a:xfrm>
          <a:prstGeom prst="rect">
            <a:avLst/>
          </a:prstGeom>
        </p:spPr>
      </p:pic>
      <p:pic>
        <p:nvPicPr>
          <p:cNvPr id="30" name="Imagen 84" descr="Radisson logo.jp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509622" y="2799826"/>
            <a:ext cx="670278" cy="256663"/>
          </a:xfrm>
          <a:prstGeom prst="rect">
            <a:avLst/>
          </a:prstGeom>
        </p:spPr>
      </p:pic>
      <p:pic>
        <p:nvPicPr>
          <p:cNvPr id="31" name="Imagen 86" descr="Premiere Inn logo.jp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82504" y="2557688"/>
            <a:ext cx="324062" cy="212268"/>
          </a:xfrm>
          <a:prstGeom prst="rect">
            <a:avLst/>
          </a:prstGeom>
        </p:spPr>
      </p:pic>
      <p:pic>
        <p:nvPicPr>
          <p:cNvPr id="32" name="Imagen 87" descr="Holida Inn logo.png"/>
          <p:cNvPicPr>
            <a:picLocks noChangeAspect="1"/>
          </p:cNvPicPr>
          <p:nvPr/>
        </p:nvPicPr>
        <p:blipFill rotWithShape="1">
          <a:blip r:embed="rId17" cstate="print">
            <a:extLst>
              <a:ext uri="{28A0092B-C50C-407E-A947-70E740481C1C}">
                <a14:useLocalDpi xmlns:a14="http://schemas.microsoft.com/office/drawing/2010/main" val="0"/>
              </a:ext>
            </a:extLst>
          </a:blip>
          <a:srcRect t="9516" r="2176" b="8626"/>
          <a:stretch/>
        </p:blipFill>
        <p:spPr>
          <a:xfrm>
            <a:off x="323598" y="2589174"/>
            <a:ext cx="803340" cy="194808"/>
          </a:xfrm>
          <a:prstGeom prst="rect">
            <a:avLst/>
          </a:prstGeom>
        </p:spPr>
      </p:pic>
      <p:pic>
        <p:nvPicPr>
          <p:cNvPr id="34" name="Imagen 89" descr="Star Inn logo.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23195" y="3095442"/>
            <a:ext cx="558308" cy="302070"/>
          </a:xfrm>
          <a:prstGeom prst="rect">
            <a:avLst/>
          </a:prstGeom>
        </p:spPr>
      </p:pic>
      <p:sp>
        <p:nvSpPr>
          <p:cNvPr id="35" name="Text Placeholder 9"/>
          <p:cNvSpPr txBox="1">
            <a:spLocks/>
          </p:cNvSpPr>
          <p:nvPr/>
        </p:nvSpPr>
        <p:spPr>
          <a:xfrm>
            <a:off x="38530" y="3927400"/>
            <a:ext cx="2386348" cy="368333"/>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A9E0"/>
              </a:buClr>
              <a:buSzPct val="80000"/>
              <a:buFont typeface="Calibri" panose="020F0502020204030204" pitchFamily="34" charset="0"/>
              <a:buNone/>
              <a:tabLst/>
              <a:defRPr/>
            </a:pPr>
            <a:r>
              <a:rPr kumimoji="0" lang="en-GB" sz="1800" b="0" i="0" u="none" strike="noStrike" kern="1200" cap="none" spc="0" normalizeH="0" baseline="0" noProof="0" dirty="0">
                <a:ln>
                  <a:noFill/>
                </a:ln>
                <a:solidFill>
                  <a:srgbClr val="005EB8"/>
                </a:solidFill>
                <a:effectLst/>
                <a:uLnTx/>
                <a:uFillTx/>
                <a:latin typeface="Calibri Light" panose="020F0302020204030204"/>
                <a:ea typeface="+mn-ea"/>
                <a:cs typeface="+mn-cs"/>
              </a:rPr>
              <a:t>310 top hotel chains </a:t>
            </a:r>
          </a:p>
        </p:txBody>
      </p:sp>
      <p:pic>
        <p:nvPicPr>
          <p:cNvPr id="36" name="Picture 35" descr="http://www.voyages-d-affaires.com/files/HCorpo.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rot="54971">
            <a:off x="10791987" y="3229318"/>
            <a:ext cx="831228" cy="360854"/>
          </a:xfrm>
          <a:prstGeom prst="rect">
            <a:avLst/>
          </a:prstGeom>
          <a:noFill/>
          <a:extLst>
            <a:ext uri="{909E8E84-426E-40dd-AFC4-6F175D3DCCD1}">
              <a14:hiddenFill xmlns="" xmlns:a14="http://schemas.microsoft.com/office/drawing/2010/main">
                <a:solidFill>
                  <a:srgbClr val="FFFFFF"/>
                </a:solidFill>
              </a14:hiddenFill>
            </a:ext>
          </a:extLst>
        </p:spPr>
      </p:pic>
      <p:pic>
        <p:nvPicPr>
          <p:cNvPr id="37" name="Picture 3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527445" y="3595496"/>
            <a:ext cx="630891" cy="149311"/>
          </a:xfrm>
          <a:prstGeom prst="rect">
            <a:avLst/>
          </a:prstGeom>
        </p:spPr>
      </p:pic>
      <p:sp>
        <p:nvSpPr>
          <p:cNvPr id="38" name="Elipse 15"/>
          <p:cNvSpPr/>
          <p:nvPr/>
        </p:nvSpPr>
        <p:spPr>
          <a:xfrm>
            <a:off x="9713646" y="1567574"/>
            <a:ext cx="2258696" cy="2258696"/>
          </a:xfrm>
          <a:prstGeom prst="ellipse">
            <a:avLst/>
          </a:prstGeom>
          <a:noFill/>
          <a:ln w="1905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9" name="Rectángulo 51"/>
          <p:cNvSpPr/>
          <p:nvPr/>
        </p:nvSpPr>
        <p:spPr>
          <a:xfrm>
            <a:off x="10436072" y="1488373"/>
            <a:ext cx="793898" cy="22577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41" name="Conector recto 21"/>
          <p:cNvCxnSpPr>
            <a:endCxn id="17" idx="6"/>
          </p:cNvCxnSpPr>
          <p:nvPr/>
        </p:nvCxnSpPr>
        <p:spPr>
          <a:xfrm flipH="1">
            <a:off x="7737456" y="3463578"/>
            <a:ext cx="2698963" cy="1174915"/>
          </a:xfrm>
          <a:prstGeom prst="lin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42" name="Text Placeholder 48"/>
          <p:cNvSpPr txBox="1">
            <a:spLocks/>
          </p:cNvSpPr>
          <p:nvPr/>
        </p:nvSpPr>
        <p:spPr>
          <a:xfrm>
            <a:off x="9865530" y="3939159"/>
            <a:ext cx="1927329" cy="703907"/>
          </a:xfrm>
          <a:prstGeom prst="rect">
            <a:avLst/>
          </a:prstGeom>
        </p:spPr>
        <p:txBody>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A9E0"/>
              </a:buClr>
              <a:buSzPct val="80000"/>
              <a:buFont typeface="Calibri" panose="020F0502020204030204" pitchFamily="34" charset="0"/>
              <a:buNone/>
              <a:tabLst/>
              <a:defRPr/>
            </a:pPr>
            <a:r>
              <a:rPr kumimoji="0" lang="en-GB" sz="1800" b="0" i="0" u="none" strike="noStrike" kern="1200" cap="none" spc="0" normalizeH="0" baseline="0" noProof="0" dirty="0">
                <a:ln>
                  <a:noFill/>
                </a:ln>
                <a:solidFill>
                  <a:srgbClr val="005EB8"/>
                </a:solidFill>
                <a:effectLst/>
                <a:uLnTx/>
                <a:uFillTx/>
                <a:latin typeface="Calibri Light" panose="020F0302020204030204"/>
                <a:ea typeface="+mn-ea"/>
                <a:cs typeface="+mn-cs"/>
              </a:rPr>
              <a:t>Regional &amp; </a:t>
            </a:r>
            <a:br>
              <a:rPr kumimoji="0" lang="en-GB" sz="1800" b="0" i="0" u="none" strike="noStrike" kern="1200" cap="none" spc="0" normalizeH="0" baseline="0" noProof="0" dirty="0">
                <a:ln>
                  <a:noFill/>
                </a:ln>
                <a:solidFill>
                  <a:srgbClr val="005EB8"/>
                </a:solidFill>
                <a:effectLst/>
                <a:uLnTx/>
                <a:uFillTx/>
                <a:latin typeface="Calibri Light" panose="020F0302020204030204"/>
                <a:ea typeface="+mn-ea"/>
                <a:cs typeface="+mn-cs"/>
              </a:rPr>
            </a:br>
            <a:r>
              <a:rPr kumimoji="0" lang="en-GB" sz="1800" b="0" i="0" u="none" strike="noStrike" kern="1200" cap="none" spc="0" normalizeH="0" baseline="0" noProof="0" dirty="0">
                <a:ln>
                  <a:noFill/>
                </a:ln>
                <a:solidFill>
                  <a:srgbClr val="005EB8"/>
                </a:solidFill>
                <a:effectLst/>
                <a:uLnTx/>
                <a:uFillTx/>
                <a:latin typeface="Calibri Light" panose="020F0302020204030204"/>
                <a:ea typeface="+mn-ea"/>
                <a:cs typeface="+mn-cs"/>
              </a:rPr>
              <a:t>global aggregators</a:t>
            </a:r>
          </a:p>
        </p:txBody>
      </p:sp>
      <p:cxnSp>
        <p:nvCxnSpPr>
          <p:cNvPr id="44" name="Conector recto 47"/>
          <p:cNvCxnSpPr/>
          <p:nvPr/>
        </p:nvCxnSpPr>
        <p:spPr>
          <a:xfrm>
            <a:off x="10828510" y="3821237"/>
            <a:ext cx="0" cy="112730"/>
          </a:xfrm>
          <a:prstGeom prst="line">
            <a:avLst/>
          </a:prstGeom>
          <a:ln w="19050" cmpd="sng">
            <a:solidFill>
              <a:schemeClr val="accent1"/>
            </a:solidFill>
            <a:tailEnd type="oval"/>
          </a:ln>
        </p:spPr>
        <p:style>
          <a:lnRef idx="2">
            <a:schemeClr val="accent1"/>
          </a:lnRef>
          <a:fillRef idx="0">
            <a:schemeClr val="accent1"/>
          </a:fillRef>
          <a:effectRef idx="1">
            <a:schemeClr val="accent1"/>
          </a:effectRef>
          <a:fontRef idx="minor">
            <a:schemeClr val="tx1"/>
          </a:fontRef>
        </p:style>
      </p:cxnSp>
      <p:pic>
        <p:nvPicPr>
          <p:cNvPr id="46" name="Picture 45"/>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844162" y="2334558"/>
            <a:ext cx="815077" cy="231564"/>
          </a:xfrm>
          <a:prstGeom prst="rect">
            <a:avLst/>
          </a:prstGeom>
        </p:spPr>
      </p:pic>
      <p:pic>
        <p:nvPicPr>
          <p:cNvPr id="47" name="Imagen 41"/>
          <p:cNvPicPr>
            <a:picLocks noChangeAspect="1"/>
          </p:cNvPicPr>
          <p:nvPr/>
        </p:nvPicPr>
        <p:blipFill>
          <a:blip r:embed="rId22"/>
          <a:stretch>
            <a:fillRect/>
          </a:stretch>
        </p:blipFill>
        <p:spPr>
          <a:xfrm>
            <a:off x="10433003" y="998624"/>
            <a:ext cx="801968" cy="984233"/>
          </a:xfrm>
          <a:prstGeom prst="rect">
            <a:avLst/>
          </a:prstGeom>
        </p:spPr>
      </p:pic>
      <p:pic>
        <p:nvPicPr>
          <p:cNvPr id="48" name="Imagen 100" descr="Teldar logo.png"/>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114896" y="3251455"/>
            <a:ext cx="581474" cy="173276"/>
          </a:xfrm>
          <a:prstGeom prst="rect">
            <a:avLst/>
          </a:prstGeom>
        </p:spPr>
      </p:pic>
      <p:pic>
        <p:nvPicPr>
          <p:cNvPr id="50" name="Imagen 103" descr="gta logo.jpg"/>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010264" y="2034433"/>
            <a:ext cx="502977" cy="252914"/>
          </a:xfrm>
          <a:prstGeom prst="rect">
            <a:avLst/>
          </a:prstGeom>
        </p:spPr>
      </p:pic>
      <p:pic>
        <p:nvPicPr>
          <p:cNvPr id="51" name="Imagen 10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810423" y="2994555"/>
            <a:ext cx="950901" cy="175343"/>
          </a:xfrm>
          <a:prstGeom prst="rect">
            <a:avLst/>
          </a:prstGeom>
        </p:spPr>
      </p:pic>
      <p:pic>
        <p:nvPicPr>
          <p:cNvPr id="52" name="Imagen 105" descr="sunhotels logo.jpg"/>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490908" y="2566123"/>
            <a:ext cx="660686" cy="109763"/>
          </a:xfrm>
          <a:prstGeom prst="rect">
            <a:avLst/>
          </a:prstGeom>
        </p:spPr>
      </p:pic>
      <p:pic>
        <p:nvPicPr>
          <p:cNvPr id="53" name="Imagen 106" descr="Bedsonline logo.jpg"/>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0770377" y="2290309"/>
            <a:ext cx="847200" cy="133434"/>
          </a:xfrm>
          <a:prstGeom prst="rect">
            <a:avLst/>
          </a:prstGeom>
        </p:spPr>
      </p:pic>
      <p:pic>
        <p:nvPicPr>
          <p:cNvPr id="54" name="Imagen 107" descr="Travelcube logo.jpg"/>
          <p:cNvPicPr>
            <a:picLocks noChangeAspect="1"/>
          </p:cNvPicPr>
          <p:nvPr/>
        </p:nvPicPr>
        <p:blipFill rotWithShape="1">
          <a:blip r:embed="rId28" cstate="print">
            <a:extLst>
              <a:ext uri="{28A0092B-C50C-407E-A947-70E740481C1C}">
                <a14:useLocalDpi xmlns:a14="http://schemas.microsoft.com/office/drawing/2010/main" val="0"/>
              </a:ext>
            </a:extLst>
          </a:blip>
          <a:srcRect l="2881" t="14387" r="2651" b="13577"/>
          <a:stretch/>
        </p:blipFill>
        <p:spPr>
          <a:xfrm>
            <a:off x="10955392" y="2054236"/>
            <a:ext cx="804623" cy="159642"/>
          </a:xfrm>
          <a:prstGeom prst="rect">
            <a:avLst/>
          </a:prstGeom>
        </p:spPr>
      </p:pic>
      <p:pic>
        <p:nvPicPr>
          <p:cNvPr id="55" name="Imagen 108" descr="Travel bound.png"/>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0585948" y="2046909"/>
            <a:ext cx="314633" cy="205560"/>
          </a:xfrm>
          <a:prstGeom prst="rect">
            <a:avLst/>
          </a:prstGeom>
        </p:spPr>
      </p:pic>
      <p:pic>
        <p:nvPicPr>
          <p:cNvPr id="56" name="Imagen 109" descr="yatra logo.jpg"/>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769935" y="2635772"/>
            <a:ext cx="635698" cy="185605"/>
          </a:xfrm>
          <a:prstGeom prst="rect">
            <a:avLst/>
          </a:prstGeom>
        </p:spPr>
      </p:pic>
      <p:pic>
        <p:nvPicPr>
          <p:cNvPr id="57" name="Imagen 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952383" y="2933220"/>
            <a:ext cx="467333" cy="188354"/>
          </a:xfrm>
          <a:prstGeom prst="rect">
            <a:avLst/>
          </a:prstGeom>
        </p:spPr>
      </p:pic>
      <p:pic>
        <p:nvPicPr>
          <p:cNvPr id="58" name="Imagen 64" descr="albatravel logo.jp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1238811" y="2529218"/>
            <a:ext cx="662505" cy="162765"/>
          </a:xfrm>
          <a:prstGeom prst="rect">
            <a:avLst/>
          </a:prstGeom>
        </p:spPr>
      </p:pic>
      <p:pic>
        <p:nvPicPr>
          <p:cNvPr id="59" name="Picture 58"/>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615558" y="2783982"/>
            <a:ext cx="928351" cy="232706"/>
          </a:xfrm>
          <a:prstGeom prst="rect">
            <a:avLst/>
          </a:prstGeom>
        </p:spPr>
      </p:pic>
    </p:spTree>
    <p:extLst>
      <p:ext uri="{BB962C8B-B14F-4D97-AF65-F5344CB8AC3E}">
        <p14:creationId xmlns:p14="http://schemas.microsoft.com/office/powerpoint/2010/main" val="3551919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Elipse 16"/>
          <p:cNvSpPr>
            <a:spLocks noChangeAspect="1"/>
          </p:cNvSpPr>
          <p:nvPr/>
        </p:nvSpPr>
        <p:spPr>
          <a:xfrm>
            <a:off x="4651355" y="3095442"/>
            <a:ext cx="3086101" cy="3086101"/>
          </a:xfrm>
          <a:prstGeom prst="ellipse">
            <a:avLst/>
          </a:prstGeom>
          <a:noFill/>
          <a:ln w="19050" cmpd="sng">
            <a:solidFill>
              <a:srgbClr val="005EB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ángulo 19"/>
          <p:cNvSpPr>
            <a:spLocks noChangeAspect="1"/>
          </p:cNvSpPr>
          <p:nvPr/>
        </p:nvSpPr>
        <p:spPr>
          <a:xfrm>
            <a:off x="5808953" y="5330680"/>
            <a:ext cx="876300" cy="208027"/>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Marcador de número de diapositiva 1"/>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E57627FB-D816-4EA7-98E3-793F2D9BC93A}" type="slidenum">
              <a:rPr kumimoji="0" lang="es-ES" sz="800" b="0" i="0" u="none" strike="noStrike" kern="1200" cap="none" spc="0" normalizeH="0" baseline="0" noProof="0" smtClean="0">
                <a:ln>
                  <a:noFill/>
                </a:ln>
                <a:solidFill>
                  <a:srgbClr val="FFFFFF">
                    <a:lumMod val="50000"/>
                  </a:srgbClr>
                </a:solidFill>
                <a:effectLst/>
                <a:uLnTx/>
                <a:uFillTx/>
                <a:latin typeface="Calibri Light" panose="020F030202020403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9</a:t>
            </a:fld>
            <a:endParaRPr kumimoji="0" lang="es-ES" sz="800" b="0" i="0" u="none" strike="noStrike" kern="1200" cap="none" spc="0" normalizeH="0" baseline="0" noProof="0" dirty="0">
              <a:ln>
                <a:noFill/>
              </a:ln>
              <a:solidFill>
                <a:srgbClr val="FFFFFF">
                  <a:lumMod val="50000"/>
                </a:srgbClr>
              </a:solidFill>
              <a:effectLst/>
              <a:uLnTx/>
              <a:uFillTx/>
              <a:latin typeface="Calibri Light" panose="020F0302020204030204"/>
              <a:ea typeface="+mn-ea"/>
              <a:cs typeface="+mn-cs"/>
            </a:endParaRPr>
          </a:p>
        </p:txBody>
      </p:sp>
      <p:sp>
        <p:nvSpPr>
          <p:cNvPr id="3" name="Marcador de pie de página 2"/>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rPr>
              <a:t>© 2016 Amadeus IT Group and its affiliates and subsidiaries</a:t>
            </a:r>
            <a:endParaRPr kumimoji="0" lang="es-ES" sz="700" b="0" i="0" u="none" strike="noStrike" kern="1200" cap="none" spc="0" normalizeH="0" baseline="0" noProof="0" dirty="0">
              <a:ln>
                <a:noFill/>
              </a:ln>
              <a:solidFill>
                <a:srgbClr val="FFFFFF">
                  <a:lumMod val="65000"/>
                </a:srgbClr>
              </a:solidFill>
              <a:effectLst/>
              <a:uLnTx/>
              <a:uFillTx/>
              <a:latin typeface="Calibri Light" panose="020F0302020204030204"/>
              <a:ea typeface="+mn-ea"/>
              <a:cs typeface="+mn-cs"/>
            </a:endParaRPr>
          </a:p>
        </p:txBody>
      </p:sp>
      <p:sp>
        <p:nvSpPr>
          <p:cNvPr id="4" name="Título 3"/>
          <p:cNvSpPr>
            <a:spLocks noGrp="1"/>
          </p:cNvSpPr>
          <p:nvPr>
            <p:ph type="title"/>
          </p:nvPr>
        </p:nvSpPr>
        <p:spPr>
          <a:xfrm>
            <a:off x="1725168" y="296865"/>
            <a:ext cx="8439912" cy="482549"/>
          </a:xfrm>
        </p:spPr>
        <p:txBody>
          <a:bodyPr/>
          <a:lstStyle/>
          <a:p>
            <a:r>
              <a:rPr lang="en-GB" dirty="0"/>
              <a:t>Our Value proposition in a nutshell</a:t>
            </a:r>
          </a:p>
        </p:txBody>
      </p:sp>
      <p:sp>
        <p:nvSpPr>
          <p:cNvPr id="5" name="Marcador de texto 4"/>
          <p:cNvSpPr>
            <a:spLocks noGrp="1"/>
          </p:cNvSpPr>
          <p:nvPr>
            <p:ph type="body" sz="quarter" idx="13"/>
          </p:nvPr>
        </p:nvSpPr>
        <p:spPr>
          <a:xfrm>
            <a:off x="1725168" y="961211"/>
            <a:ext cx="9599780" cy="543379"/>
          </a:xfrm>
        </p:spPr>
        <p:txBody>
          <a:bodyPr/>
          <a:lstStyle/>
          <a:p>
            <a:pPr>
              <a:lnSpc>
                <a:spcPct val="90000"/>
              </a:lnSpc>
            </a:pPr>
            <a:r>
              <a:rPr lang="en-GB" dirty="0"/>
              <a:t>2.5+ million hotel shopping options. 618K unique properties.</a:t>
            </a:r>
          </a:p>
        </p:txBody>
      </p:sp>
      <p:sp>
        <p:nvSpPr>
          <p:cNvPr id="33" name="Text Placeholder 8"/>
          <p:cNvSpPr txBox="1">
            <a:spLocks/>
          </p:cNvSpPr>
          <p:nvPr/>
        </p:nvSpPr>
        <p:spPr>
          <a:xfrm>
            <a:off x="4984682" y="2071847"/>
            <a:ext cx="2419448" cy="442470"/>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5EB8"/>
              </a:buClr>
              <a:buSzPct val="120000"/>
              <a:buFont typeface="Calibri" panose="020F0502020204030204" pitchFamily="34" charset="0"/>
              <a:buNone/>
              <a:tabLst/>
              <a:defRPr/>
            </a:pPr>
            <a:r>
              <a:rPr kumimoji="0" lang="en-GB" sz="2400" b="1" i="0" u="none" strike="noStrike" kern="1200" cap="none" spc="0" normalizeH="0" baseline="0" noProof="0" dirty="0">
                <a:ln>
                  <a:noFill/>
                </a:ln>
                <a:solidFill>
                  <a:srgbClr val="005EB8"/>
                </a:solidFill>
                <a:effectLst/>
                <a:uLnTx/>
                <a:uFillTx/>
                <a:latin typeface="Calibri Light" panose="020F0302020204030204"/>
                <a:ea typeface="+mn-ea"/>
                <a:cs typeface="+mn-cs"/>
              </a:rPr>
              <a:t>Amadeus Value Hotels</a:t>
            </a:r>
          </a:p>
          <a:p>
            <a:pPr marL="0" marR="0" lvl="0" indent="0" algn="ctr" defTabSz="914400" rtl="0" eaLnBrk="1" fontAlgn="auto" latinLnBrk="0" hangingPunct="1">
              <a:lnSpc>
                <a:spcPct val="90000"/>
              </a:lnSpc>
              <a:spcBef>
                <a:spcPts val="300"/>
              </a:spcBef>
              <a:spcAft>
                <a:spcPts val="0"/>
              </a:spcAft>
              <a:buClr>
                <a:srgbClr val="005EB8"/>
              </a:buClr>
              <a:buSzPct val="120000"/>
              <a:buFont typeface="Calibri" panose="020F0502020204030204" pitchFamily="34" charset="0"/>
              <a:buNone/>
              <a:tabLst/>
              <a:defRPr/>
            </a:pPr>
            <a:r>
              <a:rPr kumimoji="0" lang="en-GB" sz="1600" b="1" i="0" u="none" strike="noStrike" kern="1200" cap="none" spc="0" normalizeH="0" baseline="0" noProof="0" dirty="0">
                <a:ln>
                  <a:noFill/>
                </a:ln>
                <a:solidFill>
                  <a:srgbClr val="323232"/>
                </a:solidFill>
                <a:effectLst/>
                <a:uLnTx/>
                <a:uFillTx/>
                <a:latin typeface="Calibri Light" panose="020F0302020204030204"/>
                <a:ea typeface="+mn-ea"/>
                <a:cs typeface="+mn-cs"/>
              </a:rPr>
              <a:t>.</a:t>
            </a:r>
          </a:p>
        </p:txBody>
      </p:sp>
      <p:cxnSp>
        <p:nvCxnSpPr>
          <p:cNvPr id="49" name="Conector recto 48"/>
          <p:cNvCxnSpPr>
            <a:cxnSpLocks noChangeAspect="1"/>
          </p:cNvCxnSpPr>
          <p:nvPr/>
        </p:nvCxnSpPr>
        <p:spPr>
          <a:xfrm>
            <a:off x="6194405" y="2780966"/>
            <a:ext cx="1" cy="285733"/>
          </a:xfrm>
          <a:prstGeom prst="line">
            <a:avLst/>
          </a:prstGeom>
          <a:ln w="19050" cmpd="sng">
            <a:solidFill>
              <a:schemeClr val="accent1"/>
            </a:solidFill>
            <a:headEnd type="oval"/>
          </a:ln>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1772" y="3191067"/>
            <a:ext cx="2093002" cy="1782503"/>
          </a:xfrm>
          <a:prstGeom prst="rect">
            <a:avLst/>
          </a:prstGeom>
        </p:spPr>
      </p:pic>
      <p:pic>
        <p:nvPicPr>
          <p:cNvPr id="43" name="Imagen 42"/>
          <p:cNvPicPr>
            <a:picLocks noChangeAspect="1"/>
          </p:cNvPicPr>
          <p:nvPr/>
        </p:nvPicPr>
        <p:blipFill>
          <a:blip r:embed="rId4"/>
          <a:stretch>
            <a:fillRect/>
          </a:stretch>
        </p:blipFill>
        <p:spPr>
          <a:xfrm>
            <a:off x="5650029" y="4973570"/>
            <a:ext cx="1046762" cy="1077103"/>
          </a:xfrm>
          <a:prstGeom prst="rect">
            <a:avLst/>
          </a:prstGeom>
        </p:spPr>
      </p:pic>
      <p:sp>
        <p:nvSpPr>
          <p:cNvPr id="66" name="TextBox 65"/>
          <p:cNvSpPr txBox="1">
            <a:spLocks noChangeAspect="1"/>
          </p:cNvSpPr>
          <p:nvPr/>
        </p:nvSpPr>
        <p:spPr>
          <a:xfrm>
            <a:off x="4032697" y="6545772"/>
            <a:ext cx="2196305"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270"/>
              </a:spcBef>
              <a:spcAft>
                <a:spcPts val="0"/>
              </a:spcAft>
              <a:buClr>
                <a:srgbClr val="005EB8"/>
              </a:buClr>
              <a:buSzPct val="120000"/>
              <a:buFontTx/>
              <a:buNone/>
              <a:tabLst/>
              <a:defRPr/>
            </a:pPr>
            <a:r>
              <a:rPr kumimoji="0" lang="en-US" sz="1200" b="0" i="1" u="none" strike="noStrike" kern="1200" cap="none" spc="0" normalizeH="0" baseline="0" noProof="0" dirty="0">
                <a:ln>
                  <a:noFill/>
                </a:ln>
                <a:solidFill>
                  <a:srgbClr val="323232"/>
                </a:solidFill>
                <a:effectLst/>
                <a:uLnTx/>
                <a:uFillTx/>
                <a:latin typeface="Calibri" panose="020F0502020204030204"/>
                <a:ea typeface="+mn-ea"/>
                <a:cs typeface="+mn-cs"/>
              </a:rPr>
              <a:t>Figures as of Q1 2018</a:t>
            </a:r>
          </a:p>
        </p:txBody>
      </p:sp>
      <p:sp>
        <p:nvSpPr>
          <p:cNvPr id="13" name="Rectangle 12"/>
          <p:cNvSpPr/>
          <p:nvPr/>
        </p:nvSpPr>
        <p:spPr>
          <a:xfrm>
            <a:off x="10061401" y="0"/>
            <a:ext cx="2130599" cy="5381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4" name="Imagen 88" descr="Boscolo logo.jpg"/>
          <p:cNvPicPr>
            <a:picLocks noChangeAspect="1"/>
          </p:cNvPicPr>
          <p:nvPr/>
        </p:nvPicPr>
        <p:blipFill rotWithShape="1">
          <a:blip r:embed="rId5" cstate="print">
            <a:extLst>
              <a:ext uri="{28A0092B-C50C-407E-A947-70E740481C1C}">
                <a14:useLocalDpi xmlns:a14="http://schemas.microsoft.com/office/drawing/2010/main" val="0"/>
              </a:ext>
            </a:extLst>
          </a:blip>
          <a:srcRect t="14660" b="13332"/>
          <a:stretch/>
        </p:blipFill>
        <p:spPr>
          <a:xfrm>
            <a:off x="1215030" y="3422795"/>
            <a:ext cx="555088" cy="249819"/>
          </a:xfrm>
          <a:prstGeom prst="rect">
            <a:avLst/>
          </a:prstGeom>
        </p:spPr>
      </p:pic>
      <p:pic>
        <p:nvPicPr>
          <p:cNvPr id="15" name="Imagen 90" descr="P hotels logo.png"/>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37993" y="3432458"/>
            <a:ext cx="335368" cy="239549"/>
          </a:xfrm>
          <a:prstGeom prst="rect">
            <a:avLst/>
          </a:prstGeom>
        </p:spPr>
      </p:pic>
      <p:pic>
        <p:nvPicPr>
          <p:cNvPr id="16" name="Imagen 91" descr="Ibis logo.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09623" y="3143984"/>
            <a:ext cx="606869" cy="267311"/>
          </a:xfrm>
          <a:prstGeom prst="rect">
            <a:avLst/>
          </a:prstGeom>
        </p:spPr>
      </p:pic>
      <p:pic>
        <p:nvPicPr>
          <p:cNvPr id="18" name="Imagen 85" descr="Hilton logo.jpg"/>
          <p:cNvPicPr>
            <a:picLocks noChangeAspect="1"/>
          </p:cNvPicPr>
          <p:nvPr/>
        </p:nvPicPr>
        <p:blipFill rotWithShape="1">
          <a:blip r:embed="rId8" cstate="print">
            <a:extLst>
              <a:ext uri="{28A0092B-C50C-407E-A947-70E740481C1C}">
                <a14:useLocalDpi xmlns:a14="http://schemas.microsoft.com/office/drawing/2010/main" val="0"/>
              </a:ext>
            </a:extLst>
          </a:blip>
          <a:srcRect t="7070"/>
          <a:stretch/>
        </p:blipFill>
        <p:spPr>
          <a:xfrm>
            <a:off x="1825448" y="2202354"/>
            <a:ext cx="409987" cy="304801"/>
          </a:xfrm>
          <a:prstGeom prst="rect">
            <a:avLst/>
          </a:prstGeom>
        </p:spPr>
      </p:pic>
      <p:sp>
        <p:nvSpPr>
          <p:cNvPr id="19" name="Elipse 13"/>
          <p:cNvSpPr/>
          <p:nvPr/>
        </p:nvSpPr>
        <p:spPr>
          <a:xfrm>
            <a:off x="290117" y="1716952"/>
            <a:ext cx="2056239" cy="2056239"/>
          </a:xfrm>
          <a:prstGeom prst="ellipse">
            <a:avLst/>
          </a:prstGeom>
          <a:noFill/>
          <a:ln w="1905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ángulo 50"/>
          <p:cNvSpPr/>
          <p:nvPr/>
        </p:nvSpPr>
        <p:spPr>
          <a:xfrm>
            <a:off x="984865" y="1676289"/>
            <a:ext cx="659694" cy="22577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2" name="Conector recto 18"/>
          <p:cNvCxnSpPr>
            <a:stCxn id="19" idx="6"/>
            <a:endCxn id="17" idx="2"/>
          </p:cNvCxnSpPr>
          <p:nvPr/>
        </p:nvCxnSpPr>
        <p:spPr>
          <a:xfrm>
            <a:off x="2346356" y="2745072"/>
            <a:ext cx="2304999" cy="1893421"/>
          </a:xfrm>
          <a:prstGeom prst="lin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cxnSp>
      <p:pic>
        <p:nvPicPr>
          <p:cNvPr id="23" name="Imagen 38"/>
          <p:cNvPicPr>
            <a:picLocks noChangeAspect="1"/>
          </p:cNvPicPr>
          <p:nvPr/>
        </p:nvPicPr>
        <p:blipFill>
          <a:blip r:embed="rId9"/>
          <a:stretch>
            <a:fillRect/>
          </a:stretch>
        </p:blipFill>
        <p:spPr>
          <a:xfrm>
            <a:off x="886435" y="821020"/>
            <a:ext cx="863600" cy="1409700"/>
          </a:xfrm>
          <a:prstGeom prst="rect">
            <a:avLst/>
          </a:prstGeom>
        </p:spPr>
      </p:pic>
      <p:cxnSp>
        <p:nvCxnSpPr>
          <p:cNvPr id="24" name="Conector recto 43"/>
          <p:cNvCxnSpPr/>
          <p:nvPr/>
        </p:nvCxnSpPr>
        <p:spPr>
          <a:xfrm>
            <a:off x="1318235" y="3773190"/>
            <a:ext cx="0" cy="112730"/>
          </a:xfrm>
          <a:prstGeom prst="line">
            <a:avLst/>
          </a:prstGeom>
          <a:ln w="19050" cmpd="sng">
            <a:solidFill>
              <a:schemeClr val="accent1"/>
            </a:solidFill>
            <a:tailEnd type="oval"/>
          </a:ln>
        </p:spPr>
        <p:style>
          <a:lnRef idx="2">
            <a:schemeClr val="accent1"/>
          </a:lnRef>
          <a:fillRef idx="0">
            <a:schemeClr val="accent1"/>
          </a:fillRef>
          <a:effectRef idx="1">
            <a:schemeClr val="accent1"/>
          </a:effectRef>
          <a:fontRef idx="minor">
            <a:schemeClr val="tx1"/>
          </a:fontRef>
        </p:style>
      </p:cxnSp>
      <p:pic>
        <p:nvPicPr>
          <p:cNvPr id="25" name="Imagen 79" descr="Accor logo.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42225" y="2302958"/>
            <a:ext cx="706980" cy="199456"/>
          </a:xfrm>
          <a:prstGeom prst="rect">
            <a:avLst/>
          </a:prstGeom>
        </p:spPr>
      </p:pic>
      <p:pic>
        <p:nvPicPr>
          <p:cNvPr id="26" name="Imagen 80" descr="Best Western logo.png"/>
          <p:cNvPicPr>
            <a:picLocks noChangeAspect="1"/>
          </p:cNvPicPr>
          <p:nvPr/>
        </p:nvPicPr>
        <p:blipFill rotWithShape="1">
          <a:blip r:embed="rId11" cstate="hqprint">
            <a:extLst>
              <a:ext uri="{28A0092B-C50C-407E-A947-70E740481C1C}">
                <a14:useLocalDpi xmlns:a14="http://schemas.microsoft.com/office/drawing/2010/main" val="0"/>
              </a:ext>
            </a:extLst>
          </a:blip>
          <a:srcRect l="3616" t="6880" r="890" b="16339"/>
          <a:stretch/>
        </p:blipFill>
        <p:spPr>
          <a:xfrm>
            <a:off x="379165" y="2819392"/>
            <a:ext cx="1058271" cy="223415"/>
          </a:xfrm>
          <a:prstGeom prst="rect">
            <a:avLst/>
          </a:prstGeom>
        </p:spPr>
      </p:pic>
      <p:pic>
        <p:nvPicPr>
          <p:cNvPr id="27" name="Imagen 81" descr="IHG logo.png"/>
          <p:cNvPicPr>
            <a:picLocks noChangeAspect="1"/>
          </p:cNvPicPr>
          <p:nvPr/>
        </p:nvPicPr>
        <p:blipFill rotWithShape="1">
          <a:blip r:embed="rId12" cstate="hqprint">
            <a:extLst>
              <a:ext uri="{28A0092B-C50C-407E-A947-70E740481C1C}">
                <a14:useLocalDpi xmlns:a14="http://schemas.microsoft.com/office/drawing/2010/main" val="0"/>
              </a:ext>
            </a:extLst>
          </a:blip>
          <a:srcRect r="5881" b="11540"/>
          <a:stretch/>
        </p:blipFill>
        <p:spPr>
          <a:xfrm>
            <a:off x="560451" y="3122351"/>
            <a:ext cx="349116" cy="263810"/>
          </a:xfrm>
          <a:prstGeom prst="rect">
            <a:avLst/>
          </a:prstGeom>
        </p:spPr>
      </p:pic>
      <p:pic>
        <p:nvPicPr>
          <p:cNvPr id="28" name="Imagen 82" descr="Marriot logo.jpe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77095" y="2616348"/>
            <a:ext cx="701719" cy="148413"/>
          </a:xfrm>
          <a:prstGeom prst="rect">
            <a:avLst/>
          </a:prstGeom>
        </p:spPr>
      </p:pic>
      <p:pic>
        <p:nvPicPr>
          <p:cNvPr id="29" name="Imagen 83" descr="Sheraton logo.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34736" y="2028324"/>
            <a:ext cx="576622" cy="429161"/>
          </a:xfrm>
          <a:prstGeom prst="rect">
            <a:avLst/>
          </a:prstGeom>
        </p:spPr>
      </p:pic>
      <p:pic>
        <p:nvPicPr>
          <p:cNvPr id="30" name="Imagen 84" descr="Radisson logo.jp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509622" y="2799826"/>
            <a:ext cx="670278" cy="256663"/>
          </a:xfrm>
          <a:prstGeom prst="rect">
            <a:avLst/>
          </a:prstGeom>
        </p:spPr>
      </p:pic>
      <p:pic>
        <p:nvPicPr>
          <p:cNvPr id="31" name="Imagen 86" descr="Premiere Inn logo.jp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82504" y="2557688"/>
            <a:ext cx="324062" cy="212268"/>
          </a:xfrm>
          <a:prstGeom prst="rect">
            <a:avLst/>
          </a:prstGeom>
        </p:spPr>
      </p:pic>
      <p:pic>
        <p:nvPicPr>
          <p:cNvPr id="32" name="Imagen 87" descr="Holida Inn logo.png"/>
          <p:cNvPicPr>
            <a:picLocks noChangeAspect="1"/>
          </p:cNvPicPr>
          <p:nvPr/>
        </p:nvPicPr>
        <p:blipFill rotWithShape="1">
          <a:blip r:embed="rId17" cstate="print">
            <a:extLst>
              <a:ext uri="{28A0092B-C50C-407E-A947-70E740481C1C}">
                <a14:useLocalDpi xmlns:a14="http://schemas.microsoft.com/office/drawing/2010/main" val="0"/>
              </a:ext>
            </a:extLst>
          </a:blip>
          <a:srcRect t="9516" r="2176" b="8626"/>
          <a:stretch/>
        </p:blipFill>
        <p:spPr>
          <a:xfrm>
            <a:off x="323598" y="2589174"/>
            <a:ext cx="803340" cy="194808"/>
          </a:xfrm>
          <a:prstGeom prst="rect">
            <a:avLst/>
          </a:prstGeom>
        </p:spPr>
      </p:pic>
      <p:pic>
        <p:nvPicPr>
          <p:cNvPr id="34" name="Imagen 89" descr="Star Inn logo.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23195" y="3095442"/>
            <a:ext cx="558308" cy="302070"/>
          </a:xfrm>
          <a:prstGeom prst="rect">
            <a:avLst/>
          </a:prstGeom>
        </p:spPr>
      </p:pic>
      <p:sp>
        <p:nvSpPr>
          <p:cNvPr id="35" name="Text Placeholder 9"/>
          <p:cNvSpPr txBox="1">
            <a:spLocks/>
          </p:cNvSpPr>
          <p:nvPr/>
        </p:nvSpPr>
        <p:spPr>
          <a:xfrm>
            <a:off x="38530" y="3927400"/>
            <a:ext cx="2386348" cy="368333"/>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A9E0"/>
              </a:buClr>
              <a:buSzPct val="80000"/>
              <a:buFont typeface="Calibri" panose="020F0502020204030204" pitchFamily="34" charset="0"/>
              <a:buNone/>
              <a:tabLst/>
              <a:defRPr/>
            </a:pPr>
            <a:r>
              <a:rPr kumimoji="0" lang="en-GB" sz="1800" b="0" i="0" u="none" strike="noStrike" kern="1200" cap="none" spc="0" normalizeH="0" baseline="0" noProof="0" dirty="0">
                <a:ln>
                  <a:noFill/>
                </a:ln>
                <a:solidFill>
                  <a:srgbClr val="005EB8"/>
                </a:solidFill>
                <a:effectLst/>
                <a:uLnTx/>
                <a:uFillTx/>
                <a:latin typeface="Calibri Light" panose="020F0302020204030204"/>
                <a:ea typeface="+mn-ea"/>
                <a:cs typeface="+mn-cs"/>
              </a:rPr>
              <a:t>310 top hotel chains </a:t>
            </a:r>
          </a:p>
        </p:txBody>
      </p:sp>
      <p:pic>
        <p:nvPicPr>
          <p:cNvPr id="36" name="Picture 35" descr="http://www.voyages-d-affaires.com/files/HCorpo.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rot="54971">
            <a:off x="10791987" y="3229318"/>
            <a:ext cx="831228" cy="360854"/>
          </a:xfrm>
          <a:prstGeom prst="rect">
            <a:avLst/>
          </a:prstGeom>
          <a:noFill/>
          <a:extLst>
            <a:ext uri="{909E8E84-426E-40dd-AFC4-6F175D3DCCD1}">
              <a14:hiddenFill xmlns="" xmlns:a14="http://schemas.microsoft.com/office/drawing/2010/main">
                <a:solidFill>
                  <a:srgbClr val="FFFFFF"/>
                </a:solidFill>
              </a14:hiddenFill>
            </a:ext>
          </a:extLst>
        </p:spPr>
      </p:pic>
      <p:pic>
        <p:nvPicPr>
          <p:cNvPr id="37" name="Picture 3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527445" y="3595496"/>
            <a:ext cx="630891" cy="149311"/>
          </a:xfrm>
          <a:prstGeom prst="rect">
            <a:avLst/>
          </a:prstGeom>
        </p:spPr>
      </p:pic>
      <p:sp>
        <p:nvSpPr>
          <p:cNvPr id="38" name="Elipse 15"/>
          <p:cNvSpPr/>
          <p:nvPr/>
        </p:nvSpPr>
        <p:spPr>
          <a:xfrm>
            <a:off x="9713646" y="1567574"/>
            <a:ext cx="2258696" cy="2258696"/>
          </a:xfrm>
          <a:prstGeom prst="ellipse">
            <a:avLst/>
          </a:prstGeom>
          <a:noFill/>
          <a:ln w="1905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9" name="Rectángulo 51"/>
          <p:cNvSpPr/>
          <p:nvPr/>
        </p:nvSpPr>
        <p:spPr>
          <a:xfrm>
            <a:off x="10436072" y="1488373"/>
            <a:ext cx="793898" cy="22577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41" name="Conector recto 21"/>
          <p:cNvCxnSpPr>
            <a:endCxn id="17" idx="6"/>
          </p:cNvCxnSpPr>
          <p:nvPr/>
        </p:nvCxnSpPr>
        <p:spPr>
          <a:xfrm flipH="1">
            <a:off x="7737456" y="3463578"/>
            <a:ext cx="2698963" cy="1174915"/>
          </a:xfrm>
          <a:prstGeom prst="lin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cxnSp>
      <p:sp>
        <p:nvSpPr>
          <p:cNvPr id="42" name="Text Placeholder 48"/>
          <p:cNvSpPr txBox="1">
            <a:spLocks/>
          </p:cNvSpPr>
          <p:nvPr/>
        </p:nvSpPr>
        <p:spPr>
          <a:xfrm>
            <a:off x="9865530" y="3939159"/>
            <a:ext cx="1927329" cy="703907"/>
          </a:xfrm>
          <a:prstGeom prst="rect">
            <a:avLst/>
          </a:prstGeom>
        </p:spPr>
        <p:txBody>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A9E0"/>
              </a:buClr>
              <a:buSzPct val="80000"/>
              <a:buFont typeface="Calibri" panose="020F0502020204030204" pitchFamily="34" charset="0"/>
              <a:buNone/>
              <a:tabLst/>
              <a:defRPr/>
            </a:pPr>
            <a:r>
              <a:rPr kumimoji="0" lang="en-GB" sz="1800" b="0" i="0" u="none" strike="noStrike" kern="1200" cap="none" spc="0" normalizeH="0" baseline="0" noProof="0" dirty="0">
                <a:ln>
                  <a:noFill/>
                </a:ln>
                <a:solidFill>
                  <a:srgbClr val="005EB8"/>
                </a:solidFill>
                <a:effectLst/>
                <a:uLnTx/>
                <a:uFillTx/>
                <a:latin typeface="Calibri Light" panose="020F0302020204030204"/>
                <a:ea typeface="+mn-ea"/>
                <a:cs typeface="+mn-cs"/>
              </a:rPr>
              <a:t>Regional &amp; </a:t>
            </a:r>
            <a:br>
              <a:rPr kumimoji="0" lang="en-GB" sz="1800" b="0" i="0" u="none" strike="noStrike" kern="1200" cap="none" spc="0" normalizeH="0" baseline="0" noProof="0" dirty="0">
                <a:ln>
                  <a:noFill/>
                </a:ln>
                <a:solidFill>
                  <a:srgbClr val="005EB8"/>
                </a:solidFill>
                <a:effectLst/>
                <a:uLnTx/>
                <a:uFillTx/>
                <a:latin typeface="Calibri Light" panose="020F0302020204030204"/>
                <a:ea typeface="+mn-ea"/>
                <a:cs typeface="+mn-cs"/>
              </a:rPr>
            </a:br>
            <a:r>
              <a:rPr kumimoji="0" lang="en-GB" sz="1800" b="0" i="0" u="none" strike="noStrike" kern="1200" cap="none" spc="0" normalizeH="0" baseline="0" noProof="0" dirty="0">
                <a:ln>
                  <a:noFill/>
                </a:ln>
                <a:solidFill>
                  <a:srgbClr val="005EB8"/>
                </a:solidFill>
                <a:effectLst/>
                <a:uLnTx/>
                <a:uFillTx/>
                <a:latin typeface="Calibri Light" panose="020F0302020204030204"/>
                <a:ea typeface="+mn-ea"/>
                <a:cs typeface="+mn-cs"/>
              </a:rPr>
              <a:t>global aggregators</a:t>
            </a:r>
          </a:p>
        </p:txBody>
      </p:sp>
      <p:cxnSp>
        <p:nvCxnSpPr>
          <p:cNvPr id="44" name="Conector recto 47"/>
          <p:cNvCxnSpPr/>
          <p:nvPr/>
        </p:nvCxnSpPr>
        <p:spPr>
          <a:xfrm>
            <a:off x="10828510" y="3821237"/>
            <a:ext cx="0" cy="112730"/>
          </a:xfrm>
          <a:prstGeom prst="line">
            <a:avLst/>
          </a:prstGeom>
          <a:ln w="19050" cmpd="sng">
            <a:solidFill>
              <a:schemeClr val="accent1"/>
            </a:solidFill>
            <a:tailEnd type="oval"/>
          </a:ln>
        </p:spPr>
        <p:style>
          <a:lnRef idx="2">
            <a:schemeClr val="accent1"/>
          </a:lnRef>
          <a:fillRef idx="0">
            <a:schemeClr val="accent1"/>
          </a:fillRef>
          <a:effectRef idx="1">
            <a:schemeClr val="accent1"/>
          </a:effectRef>
          <a:fontRef idx="minor">
            <a:schemeClr val="tx1"/>
          </a:fontRef>
        </p:style>
      </p:cxnSp>
      <p:pic>
        <p:nvPicPr>
          <p:cNvPr id="46" name="Picture 45"/>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844162" y="2334558"/>
            <a:ext cx="815077" cy="231564"/>
          </a:xfrm>
          <a:prstGeom prst="rect">
            <a:avLst/>
          </a:prstGeom>
        </p:spPr>
      </p:pic>
      <p:pic>
        <p:nvPicPr>
          <p:cNvPr id="47" name="Imagen 41"/>
          <p:cNvPicPr>
            <a:picLocks noChangeAspect="1"/>
          </p:cNvPicPr>
          <p:nvPr/>
        </p:nvPicPr>
        <p:blipFill>
          <a:blip r:embed="rId22"/>
          <a:stretch>
            <a:fillRect/>
          </a:stretch>
        </p:blipFill>
        <p:spPr>
          <a:xfrm>
            <a:off x="10433003" y="998624"/>
            <a:ext cx="801968" cy="984233"/>
          </a:xfrm>
          <a:prstGeom prst="rect">
            <a:avLst/>
          </a:prstGeom>
        </p:spPr>
      </p:pic>
      <p:pic>
        <p:nvPicPr>
          <p:cNvPr id="48" name="Imagen 100" descr="Teldar logo.png"/>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114896" y="3251455"/>
            <a:ext cx="581474" cy="173276"/>
          </a:xfrm>
          <a:prstGeom prst="rect">
            <a:avLst/>
          </a:prstGeom>
        </p:spPr>
      </p:pic>
      <p:pic>
        <p:nvPicPr>
          <p:cNvPr id="50" name="Imagen 103" descr="gta logo.jpg"/>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010264" y="2034433"/>
            <a:ext cx="502977" cy="252914"/>
          </a:xfrm>
          <a:prstGeom prst="rect">
            <a:avLst/>
          </a:prstGeom>
        </p:spPr>
      </p:pic>
      <p:pic>
        <p:nvPicPr>
          <p:cNvPr id="51" name="Imagen 10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810423" y="2994555"/>
            <a:ext cx="950901" cy="175343"/>
          </a:xfrm>
          <a:prstGeom prst="rect">
            <a:avLst/>
          </a:prstGeom>
        </p:spPr>
      </p:pic>
      <p:pic>
        <p:nvPicPr>
          <p:cNvPr id="52" name="Imagen 105" descr="sunhotels logo.jpg"/>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490908" y="2566123"/>
            <a:ext cx="660686" cy="109763"/>
          </a:xfrm>
          <a:prstGeom prst="rect">
            <a:avLst/>
          </a:prstGeom>
        </p:spPr>
      </p:pic>
      <p:pic>
        <p:nvPicPr>
          <p:cNvPr id="53" name="Imagen 106" descr="Bedsonline logo.jpg"/>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0770377" y="2290309"/>
            <a:ext cx="847200" cy="133434"/>
          </a:xfrm>
          <a:prstGeom prst="rect">
            <a:avLst/>
          </a:prstGeom>
        </p:spPr>
      </p:pic>
      <p:pic>
        <p:nvPicPr>
          <p:cNvPr id="54" name="Imagen 107" descr="Travelcube logo.jpg"/>
          <p:cNvPicPr>
            <a:picLocks noChangeAspect="1"/>
          </p:cNvPicPr>
          <p:nvPr/>
        </p:nvPicPr>
        <p:blipFill rotWithShape="1">
          <a:blip r:embed="rId28" cstate="print">
            <a:extLst>
              <a:ext uri="{28A0092B-C50C-407E-A947-70E740481C1C}">
                <a14:useLocalDpi xmlns:a14="http://schemas.microsoft.com/office/drawing/2010/main" val="0"/>
              </a:ext>
            </a:extLst>
          </a:blip>
          <a:srcRect l="2881" t="14387" r="2651" b="13577"/>
          <a:stretch/>
        </p:blipFill>
        <p:spPr>
          <a:xfrm>
            <a:off x="10955392" y="2054236"/>
            <a:ext cx="804623" cy="159642"/>
          </a:xfrm>
          <a:prstGeom prst="rect">
            <a:avLst/>
          </a:prstGeom>
        </p:spPr>
      </p:pic>
      <p:pic>
        <p:nvPicPr>
          <p:cNvPr id="55" name="Imagen 108" descr="Travel bound.png"/>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0585948" y="2046909"/>
            <a:ext cx="314633" cy="205560"/>
          </a:xfrm>
          <a:prstGeom prst="rect">
            <a:avLst/>
          </a:prstGeom>
        </p:spPr>
      </p:pic>
      <p:pic>
        <p:nvPicPr>
          <p:cNvPr id="56" name="Imagen 109" descr="yatra logo.jpg"/>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9769935" y="2635772"/>
            <a:ext cx="635698" cy="185605"/>
          </a:xfrm>
          <a:prstGeom prst="rect">
            <a:avLst/>
          </a:prstGeom>
        </p:spPr>
      </p:pic>
      <p:pic>
        <p:nvPicPr>
          <p:cNvPr id="57" name="Imagen 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952383" y="2933220"/>
            <a:ext cx="467333" cy="188354"/>
          </a:xfrm>
          <a:prstGeom prst="rect">
            <a:avLst/>
          </a:prstGeom>
        </p:spPr>
      </p:pic>
      <p:pic>
        <p:nvPicPr>
          <p:cNvPr id="58" name="Imagen 64" descr="albatravel logo.jp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1238811" y="2529218"/>
            <a:ext cx="662505" cy="162765"/>
          </a:xfrm>
          <a:prstGeom prst="rect">
            <a:avLst/>
          </a:prstGeom>
        </p:spPr>
      </p:pic>
      <p:pic>
        <p:nvPicPr>
          <p:cNvPr id="59" name="Picture 58"/>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615558" y="2783982"/>
            <a:ext cx="928351" cy="232706"/>
          </a:xfrm>
          <a:prstGeom prst="rect">
            <a:avLst/>
          </a:prstGeom>
        </p:spPr>
      </p:pic>
      <p:pic>
        <p:nvPicPr>
          <p:cNvPr id="60" name="Imagen 85" descr="Hilton logo.jpg"/>
          <p:cNvPicPr>
            <a:picLocks noChangeAspect="1"/>
          </p:cNvPicPr>
          <p:nvPr/>
        </p:nvPicPr>
        <p:blipFill rotWithShape="1">
          <a:blip r:embed="rId8" cstate="print">
            <a:extLst>
              <a:ext uri="{28A0092B-C50C-407E-A947-70E740481C1C}">
                <a14:useLocalDpi xmlns:a14="http://schemas.microsoft.com/office/drawing/2010/main" val="0"/>
              </a:ext>
            </a:extLst>
          </a:blip>
          <a:srcRect t="7070"/>
          <a:stretch/>
        </p:blipFill>
        <p:spPr>
          <a:xfrm>
            <a:off x="1409019" y="3432687"/>
            <a:ext cx="409987" cy="304801"/>
          </a:xfrm>
          <a:prstGeom prst="rect">
            <a:avLst/>
          </a:prstGeom>
        </p:spPr>
      </p:pic>
      <p:pic>
        <p:nvPicPr>
          <p:cNvPr id="61" name="Imagen 75" descr="City lodge logo.jpg"/>
          <p:cNvPicPr>
            <a:picLocks noChangeAspect="1"/>
          </p:cNvPicPr>
          <p:nvPr/>
        </p:nvPicPr>
        <p:blipFill rotWithShape="1">
          <a:blip r:embed="rId34" cstate="print">
            <a:extLst>
              <a:ext uri="{28A0092B-C50C-407E-A947-70E740481C1C}">
                <a14:useLocalDpi xmlns:a14="http://schemas.microsoft.com/office/drawing/2010/main" val="0"/>
              </a:ext>
            </a:extLst>
          </a:blip>
          <a:srcRect l="3806" t="13445" r="2878" b="13485"/>
          <a:stretch/>
        </p:blipFill>
        <p:spPr>
          <a:xfrm>
            <a:off x="2726189" y="4363030"/>
            <a:ext cx="603342" cy="472439"/>
          </a:xfrm>
          <a:prstGeom prst="rect">
            <a:avLst/>
          </a:prstGeom>
        </p:spPr>
      </p:pic>
      <p:sp>
        <p:nvSpPr>
          <p:cNvPr id="62" name="Elipse 14"/>
          <p:cNvSpPr>
            <a:spLocks noChangeAspect="1"/>
          </p:cNvSpPr>
          <p:nvPr/>
        </p:nvSpPr>
        <p:spPr>
          <a:xfrm>
            <a:off x="2171037" y="4295733"/>
            <a:ext cx="1652780" cy="1652780"/>
          </a:xfrm>
          <a:prstGeom prst="ellipse">
            <a:avLst/>
          </a:prstGeom>
          <a:noFill/>
          <a:ln w="19050" cmpd="sng">
            <a:solidFill>
              <a:srgbClr val="005EB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3" name="Rectángulo 53"/>
          <p:cNvSpPr/>
          <p:nvPr/>
        </p:nvSpPr>
        <p:spPr>
          <a:xfrm>
            <a:off x="2606935" y="5948513"/>
            <a:ext cx="748181" cy="22577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7" name="Text Placeholder 6"/>
          <p:cNvSpPr txBox="1">
            <a:spLocks/>
          </p:cNvSpPr>
          <p:nvPr/>
        </p:nvSpPr>
        <p:spPr>
          <a:xfrm>
            <a:off x="678335" y="4745382"/>
            <a:ext cx="1601894" cy="578470"/>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SzPct val="80000"/>
              <a:buFont typeface="Calibri" panose="020F0502020204030204" pitchFamily="34" charset="0"/>
              <a:buChar char="_"/>
              <a:defRPr sz="2800" kern="1200">
                <a:solidFill>
                  <a:srgbClr val="323232"/>
                </a:solidFill>
                <a:latin typeface="+mj-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rgbClr val="323232"/>
                </a:solidFill>
                <a:latin typeface="+mj-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rgbClr val="323232"/>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rgbClr val="32323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0"/>
              </a:spcAft>
              <a:buClr>
                <a:srgbClr val="00A9E0"/>
              </a:buClr>
              <a:buSzPct val="80000"/>
              <a:buFont typeface="Calibri" panose="020F0502020204030204" pitchFamily="34" charset="0"/>
              <a:buNone/>
              <a:tabLst/>
              <a:defRPr/>
            </a:pPr>
            <a:r>
              <a:rPr kumimoji="0" lang="en-GB" sz="1600" b="0" i="0" u="none" strike="noStrike" kern="1200" cap="none" spc="0" normalizeH="0" baseline="0" noProof="0" dirty="0">
                <a:ln>
                  <a:noFill/>
                </a:ln>
                <a:solidFill>
                  <a:srgbClr val="005EB8"/>
                </a:solidFill>
                <a:effectLst/>
                <a:uLnTx/>
                <a:uFillTx/>
                <a:latin typeface="Calibri Light" panose="020F0302020204030204"/>
                <a:ea typeface="+mn-ea"/>
                <a:cs typeface="+mn-cs"/>
              </a:rPr>
              <a:t>Independent hotels </a:t>
            </a:r>
            <a:br>
              <a:rPr kumimoji="0" lang="en-GB" sz="1600" b="0" i="0" u="none" strike="noStrike" kern="1200" cap="none" spc="0" normalizeH="0" baseline="0" noProof="0" dirty="0">
                <a:ln>
                  <a:noFill/>
                </a:ln>
                <a:solidFill>
                  <a:srgbClr val="005EB8"/>
                </a:solidFill>
                <a:effectLst/>
                <a:uLnTx/>
                <a:uFillTx/>
                <a:latin typeface="Calibri Light" panose="020F0302020204030204"/>
                <a:ea typeface="+mn-ea"/>
                <a:cs typeface="+mn-cs"/>
              </a:rPr>
            </a:br>
            <a:r>
              <a:rPr kumimoji="0" lang="en-GB" sz="1600" b="0" i="0" u="none" strike="noStrike" kern="1200" cap="none" spc="0" normalizeH="0" baseline="0" noProof="0" dirty="0">
                <a:ln>
                  <a:noFill/>
                </a:ln>
                <a:solidFill>
                  <a:srgbClr val="005EB8"/>
                </a:solidFill>
                <a:effectLst/>
                <a:uLnTx/>
                <a:uFillTx/>
                <a:latin typeface="Calibri Light" panose="020F0302020204030204"/>
                <a:ea typeface="+mn-ea"/>
                <a:cs typeface="+mn-cs"/>
              </a:rPr>
              <a:t>&amp; small groups</a:t>
            </a:r>
          </a:p>
        </p:txBody>
      </p:sp>
      <p:pic>
        <p:nvPicPr>
          <p:cNvPr id="68" name="Imagen 39"/>
          <p:cNvPicPr>
            <a:picLocks noChangeAspect="1"/>
          </p:cNvPicPr>
          <p:nvPr/>
        </p:nvPicPr>
        <p:blipFill>
          <a:blip r:embed="rId35"/>
          <a:stretch>
            <a:fillRect/>
          </a:stretch>
        </p:blipFill>
        <p:spPr>
          <a:xfrm>
            <a:off x="2632839" y="5749612"/>
            <a:ext cx="696692" cy="696692"/>
          </a:xfrm>
          <a:prstGeom prst="rect">
            <a:avLst/>
          </a:prstGeom>
        </p:spPr>
      </p:pic>
      <p:cxnSp>
        <p:nvCxnSpPr>
          <p:cNvPr id="69" name="Conector recto 46"/>
          <p:cNvCxnSpPr>
            <a:endCxn id="62" idx="2"/>
          </p:cNvCxnSpPr>
          <p:nvPr/>
        </p:nvCxnSpPr>
        <p:spPr>
          <a:xfrm>
            <a:off x="1859552" y="5122123"/>
            <a:ext cx="311485" cy="0"/>
          </a:xfrm>
          <a:prstGeom prst="line">
            <a:avLst/>
          </a:prstGeom>
          <a:ln w="19050" cmpd="sng">
            <a:solidFill>
              <a:schemeClr val="accent1"/>
            </a:solidFill>
            <a:headEnd type="oval"/>
          </a:ln>
        </p:spPr>
        <p:style>
          <a:lnRef idx="2">
            <a:schemeClr val="accent1"/>
          </a:lnRef>
          <a:fillRef idx="0">
            <a:schemeClr val="accent1"/>
          </a:fillRef>
          <a:effectRef idx="1">
            <a:schemeClr val="accent1"/>
          </a:effectRef>
          <a:fontRef idx="minor">
            <a:schemeClr val="tx1"/>
          </a:fontRef>
        </p:style>
      </p:cxnSp>
      <p:pic>
        <p:nvPicPr>
          <p:cNvPr id="70" name="Imagen 71" descr="Xenia logo.jpe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2397831" y="5088872"/>
            <a:ext cx="409163" cy="337969"/>
          </a:xfrm>
          <a:prstGeom prst="rect">
            <a:avLst/>
          </a:prstGeom>
        </p:spPr>
      </p:pic>
      <p:pic>
        <p:nvPicPr>
          <p:cNvPr id="71" name="Imagen 72" descr="abba hotels.jpeg"/>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270307" y="4806479"/>
            <a:ext cx="395244" cy="395244"/>
          </a:xfrm>
          <a:prstGeom prst="rect">
            <a:avLst/>
          </a:prstGeom>
        </p:spPr>
      </p:pic>
      <p:pic>
        <p:nvPicPr>
          <p:cNvPr id="72" name="Imagen 73" descr="balladins logo.png"/>
          <p:cNvPicPr>
            <a:picLocks noChangeAspect="1"/>
          </p:cNvPicPr>
          <p:nvPr/>
        </p:nvPicPr>
        <p:blipFill>
          <a:blip r:embed="rId38" cstate="hqprint">
            <a:extLst>
              <a:ext uri="{28A0092B-C50C-407E-A947-70E740481C1C}">
                <a14:useLocalDpi xmlns:a14="http://schemas.microsoft.com/office/drawing/2010/main" val="0"/>
              </a:ext>
            </a:extLst>
          </a:blip>
          <a:stretch>
            <a:fillRect/>
          </a:stretch>
        </p:blipFill>
        <p:spPr>
          <a:xfrm>
            <a:off x="2518181" y="5442627"/>
            <a:ext cx="861642" cy="242203"/>
          </a:xfrm>
          <a:prstGeom prst="rect">
            <a:avLst/>
          </a:prstGeom>
        </p:spPr>
      </p:pic>
      <p:pic>
        <p:nvPicPr>
          <p:cNvPr id="73" name="Imagen 74" descr="hotelnet logo.png"/>
          <p:cNvPicPr>
            <a:picLocks noChangeAspect="1"/>
          </p:cNvPicPr>
          <p:nvPr/>
        </p:nvPicPr>
        <p:blipFill rotWithShape="1">
          <a:blip r:embed="rId39">
            <a:extLst>
              <a:ext uri="{28A0092B-C50C-407E-A947-70E740481C1C}">
                <a14:useLocalDpi xmlns:a14="http://schemas.microsoft.com/office/drawing/2010/main" val="0"/>
              </a:ext>
            </a:extLst>
          </a:blip>
          <a:srcRect t="29536"/>
          <a:stretch/>
        </p:blipFill>
        <p:spPr>
          <a:xfrm>
            <a:off x="2246308" y="4817724"/>
            <a:ext cx="1023999" cy="257699"/>
          </a:xfrm>
          <a:prstGeom prst="rect">
            <a:avLst/>
          </a:prstGeom>
        </p:spPr>
      </p:pic>
      <p:pic>
        <p:nvPicPr>
          <p:cNvPr id="74" name="Imagen 76" descr="The Lido group logo.jpg"/>
          <p:cNvPicPr>
            <a:picLocks noChangeAspect="1"/>
          </p:cNvPicPr>
          <p:nvPr/>
        </p:nvPicPr>
        <p:blipFill rotWithShape="1">
          <a:blip r:embed="rId40" cstate="print">
            <a:extLst>
              <a:ext uri="{28A0092B-C50C-407E-A947-70E740481C1C}">
                <a14:useLocalDpi xmlns:a14="http://schemas.microsoft.com/office/drawing/2010/main" val="0"/>
              </a:ext>
            </a:extLst>
          </a:blip>
          <a:srcRect l="2201" t="4450" r="1759" b="5011"/>
          <a:stretch/>
        </p:blipFill>
        <p:spPr>
          <a:xfrm>
            <a:off x="2856308" y="5200046"/>
            <a:ext cx="866017" cy="232704"/>
          </a:xfrm>
          <a:prstGeom prst="rect">
            <a:avLst/>
          </a:prstGeom>
        </p:spPr>
      </p:pic>
      <p:cxnSp>
        <p:nvCxnSpPr>
          <p:cNvPr id="75" name="Conector recto 21"/>
          <p:cNvCxnSpPr>
            <a:stCxn id="17" idx="3"/>
            <a:endCxn id="62" idx="5"/>
          </p:cNvCxnSpPr>
          <p:nvPr/>
        </p:nvCxnSpPr>
        <p:spPr>
          <a:xfrm flipH="1" flipV="1">
            <a:off x="3581773" y="5706469"/>
            <a:ext cx="1521531" cy="23125"/>
          </a:xfrm>
          <a:prstGeom prst="lin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34788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stricted_PPT_template widescreen">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ppt_template_MASTER_ok.pptx" id="{2FEE1A51-830D-4CAC-AFC8-D4B8053913B9}" vid="{3BC59CB4-A0FA-498F-9920-7D0EA8639AE2}"/>
    </a:ext>
  </a:extLst>
</a:theme>
</file>

<file path=ppt/theme/theme2.xml><?xml version="1.0" encoding="utf-8"?>
<a:theme xmlns:a="http://schemas.openxmlformats.org/drawingml/2006/main" name="1_Restricted_PPT_template widescreen">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ppt_template_MASTER_ok.pptx" id="{2FEE1A51-830D-4CAC-AFC8-D4B8053913B9}" vid="{3BC59CB4-A0FA-498F-9920-7D0EA8639AE2}"/>
    </a:ext>
  </a:extLst>
</a:theme>
</file>

<file path=ppt/theme/theme3.xml><?xml version="1.0" encoding="utf-8"?>
<a:theme xmlns:a="http://schemas.openxmlformats.org/drawingml/2006/main" name="2_Restricted_PPT_template widescreen">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ppt_template_MASTER_ok.pptx" id="{2FEE1A51-830D-4CAC-AFC8-D4B8053913B9}" vid="{3BC59CB4-A0FA-498F-9920-7D0EA8639AE2}"/>
    </a:ext>
  </a:extLst>
</a:theme>
</file>

<file path=ppt/theme/theme4.xml><?xml version="1.0" encoding="utf-8"?>
<a:theme xmlns:a="http://schemas.openxmlformats.org/drawingml/2006/main" name="3_Restricted_PPT_template widescreen">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ppt_template_MASTER_ok.pptx" id="{2FEE1A51-830D-4CAC-AFC8-D4B8053913B9}" vid="{3BC59CB4-A0FA-498F-9920-7D0EA8639AE2}"/>
    </a:ext>
  </a:extLst>
</a:theme>
</file>

<file path=ppt/theme/theme5.xml><?xml version="1.0" encoding="utf-8"?>
<a:theme xmlns:a="http://schemas.openxmlformats.org/drawingml/2006/main" name="4_Restricted_PPT_template widescreen">
  <a:themeElements>
    <a:clrScheme name="Custom 7">
      <a:dk1>
        <a:srgbClr val="005EB8"/>
      </a:dk1>
      <a:lt1>
        <a:srgbClr val="FFFFFF"/>
      </a:lt1>
      <a:dk2>
        <a:srgbClr val="005EB8"/>
      </a:dk2>
      <a:lt2>
        <a:srgbClr val="FFFFFF"/>
      </a:lt2>
      <a:accent1>
        <a:srgbClr val="005EB8"/>
      </a:accent1>
      <a:accent2>
        <a:srgbClr val="00A9E0"/>
      </a:accent2>
      <a:accent3>
        <a:srgbClr val="9BCAEC"/>
      </a:accent3>
      <a:accent4>
        <a:srgbClr val="D3E8F8"/>
      </a:accent4>
      <a:accent5>
        <a:srgbClr val="41388D"/>
      </a:accent5>
      <a:accent6>
        <a:srgbClr val="CE0058"/>
      </a:accent6>
      <a:hlink>
        <a:srgbClr val="005EB8"/>
      </a:hlink>
      <a:folHlink>
        <a:srgbClr val="00A9E0"/>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ppt_template_MASTER_ok.pptx" id="{2FEE1A51-830D-4CAC-AFC8-D4B8053913B9}" vid="{3BC59CB4-A0FA-498F-9920-7D0EA8639AE2}"/>
    </a:ext>
  </a:extLst>
</a:theme>
</file>

<file path=ppt/theme/theme6.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madeus Blue">
      <a:srgbClr val="005EB8"/>
    </a:custClr>
    <a:custClr name="Amadeus Light Blue">
      <a:srgbClr val="00A9E0"/>
    </a:custClr>
    <a:custClr name="Amadeus Pale Blue">
      <a:srgbClr val="9BCA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Cherry">
      <a:srgbClr val="CE0058"/>
    </a:custClr>
    <a:custClr name="Purple">
      <a:srgbClr val="6F2B8D"/>
    </a:custClr>
    <a:custClr name="Deep orange">
      <a:srgbClr val="E95326"/>
    </a:custClr>
    <a:custClr name="Orange">
      <a:srgbClr val="F7A827"/>
    </a:custClr>
    <a:custClr name="Yellow">
      <a:srgbClr val="FEEB3D"/>
    </a:custClr>
    <a:custClr name="Green">
      <a:srgbClr val="00A34E"/>
    </a:custClr>
    <a:custClr>
      <a:srgbClr val="FFFFFF"/>
    </a:custClr>
    <a:custClr>
      <a:srgbClr val="FFFFFF"/>
    </a:custClr>
    <a:custClr>
      <a:srgbClr val="FFFFFF"/>
    </a:custClr>
    <a:custClr>
      <a:srgbClr val="FFFFFF"/>
    </a:custClr>
    <a:custClr name="Gray 1">
      <a:srgbClr val="787875"/>
    </a:custClr>
    <a:custClr name="Gray 2">
      <a:srgbClr val="A6A6A8"/>
    </a:custClr>
    <a:custClr name="Gray 3">
      <a:srgbClr val="C7C9C7"/>
    </a:custClr>
    <a:custClr name="Gray 4">
      <a:srgbClr val="E5E5E5"/>
    </a:custClr>
    <a:custClr name="Gray 5">
      <a:srgbClr val="F7F7FA"/>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159739C9F95148BFA1E55A817BFDE9" ma:contentTypeVersion="4" ma:contentTypeDescription="Create a new document." ma:contentTypeScope="" ma:versionID="39da099934df15875e0044fa27b68c24">
  <xsd:schema xmlns:xsd="http://www.w3.org/2001/XMLSchema" xmlns:xs="http://www.w3.org/2001/XMLSchema" xmlns:p="http://schemas.microsoft.com/office/2006/metadata/properties" xmlns:ns2="46f64c67-1137-4c60-b7fd-5ae15622d12b" xmlns:ns3="45e8b689-afb9-45b1-999c-361fdd7f8dab" targetNamespace="http://schemas.microsoft.com/office/2006/metadata/properties" ma:root="true" ma:fieldsID="42468d71a3aa02bb9615484c2824ff31" ns2:_="" ns3:_="">
    <xsd:import namespace="46f64c67-1137-4c60-b7fd-5ae15622d12b"/>
    <xsd:import namespace="45e8b689-afb9-45b1-999c-361fdd7f8dab"/>
    <xsd:element name="properties">
      <xsd:complexType>
        <xsd:sequence>
          <xsd:element name="documentManagement">
            <xsd:complexType>
              <xsd:all>
                <xsd:element ref="ns2:amaProposedKC" minOccurs="0"/>
                <xsd:element ref="ns3:Category"/>
                <xsd:element ref="ns3:Material"/>
                <xsd:element ref="ns3:Description0" minOccurs="0"/>
                <xsd:element ref="ns3:Target_x0020_view"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f64c67-1137-4c60-b7fd-5ae15622d12b" elementFormDefault="qualified">
    <xsd:import namespace="http://schemas.microsoft.com/office/2006/documentManagement/types"/>
    <xsd:import namespace="http://schemas.microsoft.com/office/infopath/2007/PartnerControls"/>
    <xsd:element name="amaProposedKC" ma:index="8" nillable="true" ma:displayName="Published to KC" ma:internalName="amaProposedKC">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5e8b689-afb9-45b1-999c-361fdd7f8dab" elementFormDefault="qualified">
    <xsd:import namespace="http://schemas.microsoft.com/office/2006/documentManagement/types"/>
    <xsd:import namespace="http://schemas.microsoft.com/office/infopath/2007/PartnerControls"/>
    <xsd:element name="Category" ma:index="9" ma:displayName="Category" ma:default="Story Pack" ma:format="Dropdown" ma:internalName="Category">
      <xsd:simpleType>
        <xsd:union memberTypes="dms:Text">
          <xsd:simpleType>
            <xsd:restriction base="dms:Choice">
              <xsd:enumeration value="Story Pack"/>
              <xsd:enumeration value="Visuals"/>
              <xsd:enumeration value="Templates"/>
              <xsd:enumeration value="Ideas toolkit"/>
              <xsd:enumeration value="Audiovisual materials"/>
              <xsd:enumeration value="Offline Materials"/>
            </xsd:restriction>
          </xsd:simpleType>
        </xsd:union>
      </xsd:simpleType>
    </xsd:element>
    <xsd:element name="Material" ma:index="10" ma:displayName="Material" ma:default="Storyline" ma:format="Dropdown" ma:internalName="Material">
      <xsd:simpleType>
        <xsd:union memberTypes="dms:Text">
          <xsd:simpleType>
            <xsd:restriction base="dms:Choice">
              <xsd:enumeration value="Storyline"/>
              <xsd:enumeration value="Internal Presentation"/>
              <xsd:enumeration value="External Presentation"/>
              <xsd:enumeration value="Q&amp;A"/>
              <xsd:enumeration value="Artworks"/>
              <xsd:enumeration value="Imagery"/>
              <xsd:enumeration value="Flow"/>
              <xsd:enumeration value="Elevator Pitch"/>
              <xsd:enumeration value="Infographic"/>
              <xsd:enumeration value="Adverts"/>
              <xsd:enumeration value="E-mail signature"/>
              <xsd:enumeration value="E-mail template"/>
              <xsd:enumeration value="PPT templates"/>
              <xsd:enumeration value="Word templates"/>
              <xsd:enumeration value="Brand Guidelines"/>
              <xsd:enumeration value="Merchandising"/>
              <xsd:enumeration value="Office Branding"/>
              <xsd:enumeration value="Video"/>
              <xsd:enumeration value="Leaflet"/>
              <xsd:enumeration value="Induction Pack"/>
              <xsd:enumeration value="Messages Deck"/>
              <xsd:enumeration value="Jingle"/>
              <xsd:enumeration value="Posters"/>
            </xsd:restriction>
          </xsd:simpleType>
        </xsd:union>
      </xsd:simpleType>
    </xsd:element>
    <xsd:element name="Description0" ma:index="11" nillable="true" ma:displayName="Description" ma:internalName="Description0">
      <xsd:simpleType>
        <xsd:restriction base="dms:Note">
          <xsd:maxLength value="255"/>
        </xsd:restriction>
      </xsd:simpleType>
    </xsd:element>
    <xsd:element name="Target_x0020_view" ma:index="12" nillable="true" ma:displayName="Target view" ma:internalName="Target_x0020_view">
      <xsd:complexType>
        <xsd:complexContent>
          <xsd:extension base="dms:MultiChoice">
            <xsd:sequence>
              <xsd:element name="Value" maxOccurs="unbounded" minOccurs="0" nillable="true">
                <xsd:simpleType>
                  <xsd:restriction base="dms:Choice">
                    <xsd:enumeration value="Audiovisual"/>
                    <xsd:enumeration value="Ideas Toolkit"/>
                    <xsd:enumeration value="Materials in ES, FR, IT, DE"/>
                    <xsd:enumeration value="Offline"/>
                    <xsd:enumeration value="Story Pack"/>
                    <xsd:enumeration value="Templates"/>
                    <xsd:enumeration value="Visuals"/>
                  </xsd:restriction>
                </xsd:simple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maProposedKC xmlns="46f64c67-1137-4c60-b7fd-5ae15622d12b">
      <Url xsi:nil="true"/>
      <Description xsi:nil="true"/>
    </amaProposedKC>
    <Category xmlns="45e8b689-afb9-45b1-999c-361fdd7f8dab">Ideas toolkit</Category>
    <Material xmlns="45e8b689-afb9-45b1-999c-361fdd7f8dab">External Presentation</Material>
    <Description0 xmlns="45e8b689-afb9-45b1-999c-361fdd7f8dab" xsi:nil="true"/>
    <Target_x0020_view xmlns="45e8b689-afb9-45b1-999c-361fdd7f8dab">
      <Value>Templates</Value>
    </Target_x0020_view>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731EF9F-9A47-4A98-A447-302C04E74D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f64c67-1137-4c60-b7fd-5ae15622d12b"/>
    <ds:schemaRef ds:uri="45e8b689-afb9-45b1-999c-361fdd7f8d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FB2908-48A8-4D33-8CB4-427060D49F3E}">
  <ds:schemaRefs>
    <ds:schemaRef ds:uri="http://schemas.microsoft.com/office/2006/metadata/properties"/>
    <ds:schemaRef ds:uri="http://purl.org/dc/elements/1.1/"/>
    <ds:schemaRef ds:uri="45e8b689-afb9-45b1-999c-361fdd7f8dab"/>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46f64c67-1137-4c60-b7fd-5ae15622d12b"/>
    <ds:schemaRef ds:uri="http://www.w3.org/XML/1998/namespace"/>
    <ds:schemaRef ds:uri="http://purl.org/dc/dcmitype/"/>
  </ds:schemaRefs>
</ds:datastoreItem>
</file>

<file path=customXml/itemProps3.xml><?xml version="1.0" encoding="utf-8"?>
<ds:datastoreItem xmlns:ds="http://schemas.openxmlformats.org/officeDocument/2006/customXml" ds:itemID="{D4C9B634-EA81-4025-9351-8D8AB7720C9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template_MASTER_ok</Template>
  <TotalTime>0</TotalTime>
  <Words>922</Words>
  <Application>Microsoft Office PowerPoint</Application>
  <PresentationFormat>Widescreen</PresentationFormat>
  <Paragraphs>159</Paragraphs>
  <Slides>18</Slides>
  <Notes>11</Notes>
  <HiddenSlides>1</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28" baseType="lpstr">
      <vt:lpstr>Arial</vt:lpstr>
      <vt:lpstr>Calibri</vt:lpstr>
      <vt:lpstr>Calibri Light</vt:lpstr>
      <vt:lpstr>Lucida Grande</vt:lpstr>
      <vt:lpstr>Restricted_PPT_template widescreen</vt:lpstr>
      <vt:lpstr>1_Restricted_PPT_template widescreen</vt:lpstr>
      <vt:lpstr>2_Restricted_PPT_template widescreen</vt:lpstr>
      <vt:lpstr>3_Restricted_PPT_template widescreen</vt:lpstr>
      <vt:lpstr>4_Restricted_PPT_template widescreen</vt:lpstr>
      <vt:lpstr>think-cell Slide</vt:lpstr>
      <vt:lpstr>A short Video of Hospitality &amp; Ground Transportation </vt:lpstr>
      <vt:lpstr>PowerPoint Presentation</vt:lpstr>
      <vt:lpstr>Challenges: Traveller</vt:lpstr>
      <vt:lpstr>PowerPoint Presentation</vt:lpstr>
      <vt:lpstr>PowerPoint Presentation</vt:lpstr>
      <vt:lpstr>Our Value proposition in a nutshell</vt:lpstr>
      <vt:lpstr>Our Value proposition in a nutshell</vt:lpstr>
      <vt:lpstr>Our Value proposition in a nutshell</vt:lpstr>
      <vt:lpstr>Our Value proposition in a nutshell</vt:lpstr>
      <vt:lpstr>PowerPoint Presentation</vt:lpstr>
      <vt:lpstr>PowerPoint Presentation</vt:lpstr>
      <vt:lpstr>PowerPoint Presentation</vt:lpstr>
      <vt:lpstr>PowerPoint Presentation</vt:lpstr>
      <vt:lpstr>PowerPoint Presentation</vt:lpstr>
      <vt:lpstr>Always connected and updated </vt:lpstr>
      <vt:lpstr>One Stop Shop</vt:lpstr>
      <vt:lpstr>PowerPoint Presentation</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way to get value from hospitality</dc:title>
  <dc:creator/>
  <cp:keywords>NECSE, HGT,</cp:keywords>
  <cp:lastModifiedBy/>
  <cp:revision>1</cp:revision>
  <dcterms:created xsi:type="dcterms:W3CDTF">2018-04-19T16:33:33Z</dcterms:created>
  <dcterms:modified xsi:type="dcterms:W3CDTF">2019-03-17T07:04:51Z</dcterms:modified>
  <cp:category>HG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ba57290e-35d0-4302-8d1c-6187cc22d04d</vt:lpwstr>
  </property>
  <property fmtid="{D5CDD505-2E9C-101B-9397-08002B2CF9AE}" pid="3" name="OriginatingUser">
    <vt:lpwstr>lpittier</vt:lpwstr>
  </property>
  <property fmtid="{D5CDD505-2E9C-101B-9397-08002B2CF9AE}" pid="4" name="CLASSIFICATION">
    <vt:lpwstr>RESTRICTED</vt:lpwstr>
  </property>
  <property fmtid="{D5CDD505-2E9C-101B-9397-08002B2CF9AE}" pid="5" name="ContentTypeId">
    <vt:lpwstr>0x0101006B159739C9F95148BFA1E55A817BFDE9</vt:lpwstr>
  </property>
  <property fmtid="{D5CDD505-2E9C-101B-9397-08002B2CF9AE}" pid="6" name="MSIP_Label_d2db9220-a04a-4f06-aab9-80cbe5287fb3_Enabled">
    <vt:lpwstr>True</vt:lpwstr>
  </property>
  <property fmtid="{D5CDD505-2E9C-101B-9397-08002B2CF9AE}" pid="7" name="MSIP_Label_d2db9220-a04a-4f06-aab9-80cbe5287fb3_SiteId">
    <vt:lpwstr>b3f4f7c2-72ce-4192-aba4-d6c7719b5766</vt:lpwstr>
  </property>
  <property fmtid="{D5CDD505-2E9C-101B-9397-08002B2CF9AE}" pid="8" name="MSIP_Label_d2db9220-a04a-4f06-aab9-80cbe5287fb3_Owner">
    <vt:lpwstr>sandra.perez@amadeus.com</vt:lpwstr>
  </property>
  <property fmtid="{D5CDD505-2E9C-101B-9397-08002B2CF9AE}" pid="9" name="MSIP_Label_d2db9220-a04a-4f06-aab9-80cbe5287fb3_SetDate">
    <vt:lpwstr>2018-09-03T08:49:03.9781283Z</vt:lpwstr>
  </property>
  <property fmtid="{D5CDD505-2E9C-101B-9397-08002B2CF9AE}" pid="10" name="MSIP_Label_d2db9220-a04a-4f06-aab9-80cbe5287fb3_Name">
    <vt:lpwstr>Restricted</vt:lpwstr>
  </property>
  <property fmtid="{D5CDD505-2E9C-101B-9397-08002B2CF9AE}" pid="11" name="MSIP_Label_d2db9220-a04a-4f06-aab9-80cbe5287fb3_Application">
    <vt:lpwstr>Microsoft Azure Information Protection</vt:lpwstr>
  </property>
  <property fmtid="{D5CDD505-2E9C-101B-9397-08002B2CF9AE}" pid="12" name="MSIP_Label_d2db9220-a04a-4f06-aab9-80cbe5287fb3_Extended_MSFT_Method">
    <vt:lpwstr>Manual</vt:lpwstr>
  </property>
  <property fmtid="{D5CDD505-2E9C-101B-9397-08002B2CF9AE}" pid="13" name="Sensitivity">
    <vt:lpwstr>Restricted</vt:lpwstr>
  </property>
  <property fmtid="{D5CDD505-2E9C-101B-9397-08002B2CF9AE}" pid="14" name="Order">
    <vt:r8>6900</vt:r8>
  </property>
</Properties>
</file>